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94.jpg" ContentType="image/jpg"/>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0.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81" r:id="rId4"/>
    <p:sldMasterId id="2147483875" r:id="rId5"/>
    <p:sldMasterId id="2147483905" r:id="rId6"/>
  </p:sldMasterIdLst>
  <p:notesMasterIdLst>
    <p:notesMasterId r:id="rId55"/>
  </p:notesMasterIdLst>
  <p:handoutMasterIdLst>
    <p:handoutMasterId r:id="rId56"/>
  </p:handoutMasterIdLst>
  <p:sldIdLst>
    <p:sldId id="2147483636" r:id="rId7"/>
    <p:sldId id="2147483637" r:id="rId8"/>
    <p:sldId id="318" r:id="rId9"/>
    <p:sldId id="2147474829" r:id="rId10"/>
    <p:sldId id="2147483638" r:id="rId11"/>
    <p:sldId id="2147483634" r:id="rId12"/>
    <p:sldId id="2147483635" r:id="rId13"/>
    <p:sldId id="2147474834" r:id="rId14"/>
    <p:sldId id="2147474838" r:id="rId15"/>
    <p:sldId id="322" r:id="rId16"/>
    <p:sldId id="2147474837" r:id="rId17"/>
    <p:sldId id="2147474835" r:id="rId18"/>
    <p:sldId id="2147483640" r:id="rId19"/>
    <p:sldId id="2147483641" r:id="rId20"/>
    <p:sldId id="264" r:id="rId21"/>
    <p:sldId id="2147483647" r:id="rId22"/>
    <p:sldId id="256" r:id="rId23"/>
    <p:sldId id="259" r:id="rId24"/>
    <p:sldId id="262" r:id="rId25"/>
    <p:sldId id="261" r:id="rId26"/>
    <p:sldId id="263" r:id="rId27"/>
    <p:sldId id="257" r:id="rId28"/>
    <p:sldId id="2145708667" r:id="rId29"/>
    <p:sldId id="2145708720" r:id="rId30"/>
    <p:sldId id="2147481542" r:id="rId31"/>
    <p:sldId id="2145708702" r:id="rId32"/>
    <p:sldId id="2145708673" r:id="rId33"/>
    <p:sldId id="2147481482" r:id="rId34"/>
    <p:sldId id="2145708704" r:id="rId35"/>
    <p:sldId id="2147481481" r:id="rId36"/>
    <p:sldId id="2147481565" r:id="rId37"/>
    <p:sldId id="2147481543" r:id="rId38"/>
    <p:sldId id="2147481558" r:id="rId39"/>
    <p:sldId id="2145708696" r:id="rId40"/>
    <p:sldId id="2145708708" r:id="rId41"/>
    <p:sldId id="2147481568" r:id="rId42"/>
    <p:sldId id="2145708726" r:id="rId43"/>
    <p:sldId id="2147481485" r:id="rId44"/>
    <p:sldId id="2145708327" r:id="rId45"/>
    <p:sldId id="2147481478" r:id="rId46"/>
    <p:sldId id="2147481473" r:id="rId47"/>
    <p:sldId id="2147481475" r:id="rId48"/>
    <p:sldId id="2145708717" r:id="rId49"/>
    <p:sldId id="2145708711" r:id="rId50"/>
    <p:sldId id="2147483639" r:id="rId51"/>
    <p:sldId id="2147483644" r:id="rId52"/>
    <p:sldId id="2147483642" r:id="rId53"/>
    <p:sldId id="258" r:id="rId54"/>
  </p:sldIdLst>
  <p:sldSz cx="12192000" cy="6858000"/>
  <p:notesSz cx="6858000" cy="9144000"/>
  <p:defaultText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8B4D0C-01BA-053C-CBD5-19D03C5F0FFE}" name="Kangas Anna-Mari" initials="AK" userId="S::annamari.kangas@vantaa.fi::38eea830-f215-4b13-b0d6-32952199ea9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2A5"/>
    <a:srgbClr val="3C8FDE"/>
    <a:srgbClr val="84CCF8"/>
    <a:srgbClr val="54A1EA"/>
    <a:srgbClr val="AADAF8"/>
    <a:srgbClr val="D9D9D6"/>
    <a:srgbClr val="75787B"/>
    <a:srgbClr val="000000"/>
    <a:srgbClr val="C2A6E3"/>
    <a:srgbClr val="753BBD"/>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1E4AEA4-8DFA-4A89-87EB-49C32662AFE0}">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192" autoAdjust="0"/>
  </p:normalViewPr>
  <p:slideViewPr>
    <p:cSldViewPr snapToGrid="0">
      <p:cViewPr varScale="1">
        <p:scale>
          <a:sx n="111" d="100"/>
          <a:sy n="111" d="100"/>
        </p:scale>
        <p:origin x="342" y="31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notesMaster" Target="notesMasters/notesMaster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presProps" Target="pres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4454D6-89D0-4554-8D71-5E326B77B13D}"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fi-FI"/>
        </a:p>
      </dgm:t>
    </dgm:pt>
    <dgm:pt modelId="{17A102E2-58B2-438A-9C94-7A0FC993BC65}">
      <dgm:prSet phldrT="[Teksti]" phldr="0" custT="1"/>
      <dgm:spPr/>
      <dgm:t>
        <a:bodyPr/>
        <a:lstStyle/>
        <a:p>
          <a:r>
            <a:rPr lang="fi-FI" sz="1600" dirty="0"/>
            <a:t>Käynnistyspäätös 2/2026</a:t>
          </a:r>
        </a:p>
      </dgm:t>
    </dgm:pt>
    <dgm:pt modelId="{30E21843-A393-4497-851E-E92D23A1D3BD}" type="parTrans" cxnId="{F6ED00E5-42B3-4659-BDB5-7C4CCA6ED3D2}">
      <dgm:prSet/>
      <dgm:spPr/>
      <dgm:t>
        <a:bodyPr/>
        <a:lstStyle/>
        <a:p>
          <a:endParaRPr lang="fi-FI"/>
        </a:p>
      </dgm:t>
    </dgm:pt>
    <dgm:pt modelId="{828EE4E6-62AC-41D8-8F0B-9C3A99B2FC12}" type="sibTrans" cxnId="{F6ED00E5-42B3-4659-BDB5-7C4CCA6ED3D2}">
      <dgm:prSet/>
      <dgm:spPr/>
      <dgm:t>
        <a:bodyPr/>
        <a:lstStyle/>
        <a:p>
          <a:endParaRPr lang="fi-FI"/>
        </a:p>
      </dgm:t>
    </dgm:pt>
    <dgm:pt modelId="{C213376F-1760-47CD-B2AD-CA7094496A3E}">
      <dgm:prSet phldrT="[Teksti]" phldr="0" custT="1"/>
      <dgm:spPr/>
      <dgm:t>
        <a:bodyPr/>
        <a:lstStyle/>
        <a:p>
          <a:r>
            <a:rPr lang="fi-FI" sz="1600" dirty="0"/>
            <a:t>Osallistumis- ja arviointisuunnitelma 4/2026</a:t>
          </a:r>
        </a:p>
      </dgm:t>
    </dgm:pt>
    <dgm:pt modelId="{4C3A571D-AF60-427C-81DC-96D6195B0D29}" type="parTrans" cxnId="{6F62A613-8902-4C5B-9DB5-20D5EBF8A393}">
      <dgm:prSet/>
      <dgm:spPr/>
      <dgm:t>
        <a:bodyPr/>
        <a:lstStyle/>
        <a:p>
          <a:endParaRPr lang="fi-FI"/>
        </a:p>
      </dgm:t>
    </dgm:pt>
    <dgm:pt modelId="{AFC5BB84-AC4B-415A-8105-E430DEC47D52}" type="sibTrans" cxnId="{6F62A613-8902-4C5B-9DB5-20D5EBF8A393}">
      <dgm:prSet/>
      <dgm:spPr/>
      <dgm:t>
        <a:bodyPr/>
        <a:lstStyle/>
        <a:p>
          <a:endParaRPr lang="fi-FI"/>
        </a:p>
      </dgm:t>
    </dgm:pt>
    <dgm:pt modelId="{23BB6178-FCA8-4B74-9FC5-A3920945C522}">
      <dgm:prSet phldrT="[Teksti]" phldr="0"/>
      <dgm:spPr/>
      <dgm:t>
        <a:bodyPr/>
        <a:lstStyle/>
        <a:p>
          <a:r>
            <a:rPr lang="fi-FI" dirty="0"/>
            <a:t>Kaavaluonnos 6/2026</a:t>
          </a:r>
        </a:p>
      </dgm:t>
    </dgm:pt>
    <dgm:pt modelId="{D0626186-6335-4698-9590-275863CA8BF1}" type="parTrans" cxnId="{D5604C87-1E12-4CE2-8018-DA401F5CA3A8}">
      <dgm:prSet/>
      <dgm:spPr/>
      <dgm:t>
        <a:bodyPr/>
        <a:lstStyle/>
        <a:p>
          <a:endParaRPr lang="fi-FI"/>
        </a:p>
      </dgm:t>
    </dgm:pt>
    <dgm:pt modelId="{87B94B03-D60D-485C-9585-FFE185FF4CE3}" type="sibTrans" cxnId="{D5604C87-1E12-4CE2-8018-DA401F5CA3A8}">
      <dgm:prSet/>
      <dgm:spPr/>
      <dgm:t>
        <a:bodyPr/>
        <a:lstStyle/>
        <a:p>
          <a:endParaRPr lang="fi-FI"/>
        </a:p>
      </dgm:t>
    </dgm:pt>
    <dgm:pt modelId="{135F1F33-6144-423A-B34D-D798D78A2510}">
      <dgm:prSet phldrT="[Teksti]" phldr="0"/>
      <dgm:spPr/>
      <dgm:t>
        <a:bodyPr/>
        <a:lstStyle/>
        <a:p>
          <a:r>
            <a:rPr lang="fi-FI" dirty="0"/>
            <a:t>Kaavaehdotus </a:t>
          </a:r>
          <a:br>
            <a:rPr lang="fi-FI" dirty="0"/>
          </a:br>
          <a:r>
            <a:rPr lang="fi-FI" dirty="0"/>
            <a:t>kevät 2027</a:t>
          </a:r>
        </a:p>
      </dgm:t>
    </dgm:pt>
    <dgm:pt modelId="{A0C02026-D359-4E10-B18C-89D9748123AE}" type="parTrans" cxnId="{C5A67722-C5C9-4B53-A70C-42BB359F2912}">
      <dgm:prSet/>
      <dgm:spPr/>
      <dgm:t>
        <a:bodyPr/>
        <a:lstStyle/>
        <a:p>
          <a:endParaRPr lang="fi-FI"/>
        </a:p>
      </dgm:t>
    </dgm:pt>
    <dgm:pt modelId="{5B9E30E9-7F73-40FD-BA65-79235ADEC430}" type="sibTrans" cxnId="{C5A67722-C5C9-4B53-A70C-42BB359F2912}">
      <dgm:prSet/>
      <dgm:spPr/>
      <dgm:t>
        <a:bodyPr/>
        <a:lstStyle/>
        <a:p>
          <a:endParaRPr lang="fi-FI"/>
        </a:p>
      </dgm:t>
    </dgm:pt>
    <dgm:pt modelId="{FE091980-BE89-4EF5-849B-3A57DE176B6D}">
      <dgm:prSet phldrT="[Teksti]" phldr="0"/>
      <dgm:spPr/>
      <dgm:t>
        <a:bodyPr/>
        <a:lstStyle/>
        <a:p>
          <a:r>
            <a:rPr lang="fi-FI" dirty="0"/>
            <a:t>Hyväksyminen </a:t>
          </a:r>
          <a:br>
            <a:rPr lang="fi-FI" dirty="0"/>
          </a:br>
          <a:r>
            <a:rPr lang="fi-FI" dirty="0"/>
            <a:t>2027 aikana</a:t>
          </a:r>
        </a:p>
      </dgm:t>
    </dgm:pt>
    <dgm:pt modelId="{0F6A5AC8-6805-4198-BCF0-5F56D95C8C5D}" type="parTrans" cxnId="{3D545DE3-98E3-4EF9-BB9C-A165F85EDC05}">
      <dgm:prSet/>
      <dgm:spPr/>
      <dgm:t>
        <a:bodyPr/>
        <a:lstStyle/>
        <a:p>
          <a:endParaRPr lang="fi-FI"/>
        </a:p>
      </dgm:t>
    </dgm:pt>
    <dgm:pt modelId="{B8E0B337-D327-4DD5-92C6-C2EC5F2B02E4}" type="sibTrans" cxnId="{3D545DE3-98E3-4EF9-BB9C-A165F85EDC05}">
      <dgm:prSet/>
      <dgm:spPr/>
      <dgm:t>
        <a:bodyPr/>
        <a:lstStyle/>
        <a:p>
          <a:endParaRPr lang="fi-FI"/>
        </a:p>
      </dgm:t>
    </dgm:pt>
    <dgm:pt modelId="{06491E41-40DE-414A-9FE9-DA4AD9D8A133}" type="pres">
      <dgm:prSet presAssocID="{984454D6-89D0-4554-8D71-5E326B77B13D}" presName="CompostProcess" presStyleCnt="0">
        <dgm:presLayoutVars>
          <dgm:dir/>
          <dgm:resizeHandles val="exact"/>
        </dgm:presLayoutVars>
      </dgm:prSet>
      <dgm:spPr/>
    </dgm:pt>
    <dgm:pt modelId="{809CED8B-3ACB-45D3-90D0-AD237EEE902F}" type="pres">
      <dgm:prSet presAssocID="{984454D6-89D0-4554-8D71-5E326B77B13D}" presName="arrow" presStyleLbl="bgShp" presStyleIdx="0" presStyleCnt="1"/>
      <dgm:spPr/>
    </dgm:pt>
    <dgm:pt modelId="{E5D1CC78-5235-456D-B191-3381B49C44FC}" type="pres">
      <dgm:prSet presAssocID="{984454D6-89D0-4554-8D71-5E326B77B13D}" presName="linearProcess" presStyleCnt="0"/>
      <dgm:spPr/>
    </dgm:pt>
    <dgm:pt modelId="{A048C815-A52F-4A87-8CA8-2A83E92FDF3E}" type="pres">
      <dgm:prSet presAssocID="{17A102E2-58B2-438A-9C94-7A0FC993BC65}" presName="textNode" presStyleLbl="node1" presStyleIdx="0" presStyleCnt="5">
        <dgm:presLayoutVars>
          <dgm:bulletEnabled val="1"/>
        </dgm:presLayoutVars>
      </dgm:prSet>
      <dgm:spPr/>
    </dgm:pt>
    <dgm:pt modelId="{482DE9D6-223D-47C6-9B6D-751EFBBA84F8}" type="pres">
      <dgm:prSet presAssocID="{828EE4E6-62AC-41D8-8F0B-9C3A99B2FC12}" presName="sibTrans" presStyleCnt="0"/>
      <dgm:spPr/>
    </dgm:pt>
    <dgm:pt modelId="{506B4BDF-E369-400F-9AD0-C89B94D8CC60}" type="pres">
      <dgm:prSet presAssocID="{C213376F-1760-47CD-B2AD-CA7094496A3E}" presName="textNode" presStyleLbl="node1" presStyleIdx="1" presStyleCnt="5">
        <dgm:presLayoutVars>
          <dgm:bulletEnabled val="1"/>
        </dgm:presLayoutVars>
      </dgm:prSet>
      <dgm:spPr/>
    </dgm:pt>
    <dgm:pt modelId="{2BAC9B74-219F-4CE4-83AB-BE0F6B95336F}" type="pres">
      <dgm:prSet presAssocID="{AFC5BB84-AC4B-415A-8105-E430DEC47D52}" presName="sibTrans" presStyleCnt="0"/>
      <dgm:spPr/>
    </dgm:pt>
    <dgm:pt modelId="{FDEA83A6-65B3-49E0-99D5-F6DAEFA2F0D1}" type="pres">
      <dgm:prSet presAssocID="{23BB6178-FCA8-4B74-9FC5-A3920945C522}" presName="textNode" presStyleLbl="node1" presStyleIdx="2" presStyleCnt="5">
        <dgm:presLayoutVars>
          <dgm:bulletEnabled val="1"/>
        </dgm:presLayoutVars>
      </dgm:prSet>
      <dgm:spPr/>
    </dgm:pt>
    <dgm:pt modelId="{D3313C0B-8EFE-4F5F-B6BD-DE9BAB2B1452}" type="pres">
      <dgm:prSet presAssocID="{87B94B03-D60D-485C-9585-FFE185FF4CE3}" presName="sibTrans" presStyleCnt="0"/>
      <dgm:spPr/>
    </dgm:pt>
    <dgm:pt modelId="{FA8B4338-3492-44C2-9D3D-44756F09098C}" type="pres">
      <dgm:prSet presAssocID="{135F1F33-6144-423A-B34D-D798D78A2510}" presName="textNode" presStyleLbl="node1" presStyleIdx="3" presStyleCnt="5">
        <dgm:presLayoutVars>
          <dgm:bulletEnabled val="1"/>
        </dgm:presLayoutVars>
      </dgm:prSet>
      <dgm:spPr/>
    </dgm:pt>
    <dgm:pt modelId="{99A3C920-C445-4634-8478-5439DE977FC7}" type="pres">
      <dgm:prSet presAssocID="{5B9E30E9-7F73-40FD-BA65-79235ADEC430}" presName="sibTrans" presStyleCnt="0"/>
      <dgm:spPr/>
    </dgm:pt>
    <dgm:pt modelId="{B6A9C35D-4374-487B-B9C3-F63B2E79060C}" type="pres">
      <dgm:prSet presAssocID="{FE091980-BE89-4EF5-849B-3A57DE176B6D}" presName="textNode" presStyleLbl="node1" presStyleIdx="4" presStyleCnt="5">
        <dgm:presLayoutVars>
          <dgm:bulletEnabled val="1"/>
        </dgm:presLayoutVars>
      </dgm:prSet>
      <dgm:spPr/>
    </dgm:pt>
  </dgm:ptLst>
  <dgm:cxnLst>
    <dgm:cxn modelId="{6F62A613-8902-4C5B-9DB5-20D5EBF8A393}" srcId="{984454D6-89D0-4554-8D71-5E326B77B13D}" destId="{C213376F-1760-47CD-B2AD-CA7094496A3E}" srcOrd="1" destOrd="0" parTransId="{4C3A571D-AF60-427C-81DC-96D6195B0D29}" sibTransId="{AFC5BB84-AC4B-415A-8105-E430DEC47D52}"/>
    <dgm:cxn modelId="{C5A67722-C5C9-4B53-A70C-42BB359F2912}" srcId="{984454D6-89D0-4554-8D71-5E326B77B13D}" destId="{135F1F33-6144-423A-B34D-D798D78A2510}" srcOrd="3" destOrd="0" parTransId="{A0C02026-D359-4E10-B18C-89D9748123AE}" sibTransId="{5B9E30E9-7F73-40FD-BA65-79235ADEC430}"/>
    <dgm:cxn modelId="{BAAEEE3A-E2A9-4B65-8159-33E0EA593C21}" type="presOf" srcId="{17A102E2-58B2-438A-9C94-7A0FC993BC65}" destId="{A048C815-A52F-4A87-8CA8-2A83E92FDF3E}" srcOrd="0" destOrd="0" presId="urn:microsoft.com/office/officeart/2005/8/layout/hProcess9"/>
    <dgm:cxn modelId="{FEFA5877-9FD3-4FDD-B7A9-C79A32A2D51B}" type="presOf" srcId="{23BB6178-FCA8-4B74-9FC5-A3920945C522}" destId="{FDEA83A6-65B3-49E0-99D5-F6DAEFA2F0D1}" srcOrd="0" destOrd="0" presId="urn:microsoft.com/office/officeart/2005/8/layout/hProcess9"/>
    <dgm:cxn modelId="{D5604C87-1E12-4CE2-8018-DA401F5CA3A8}" srcId="{984454D6-89D0-4554-8D71-5E326B77B13D}" destId="{23BB6178-FCA8-4B74-9FC5-A3920945C522}" srcOrd="2" destOrd="0" parTransId="{D0626186-6335-4698-9590-275863CA8BF1}" sibTransId="{87B94B03-D60D-485C-9585-FFE185FF4CE3}"/>
    <dgm:cxn modelId="{157BC0A8-3385-4BEF-9BE8-8F23C874320C}" type="presOf" srcId="{FE091980-BE89-4EF5-849B-3A57DE176B6D}" destId="{B6A9C35D-4374-487B-B9C3-F63B2E79060C}" srcOrd="0" destOrd="0" presId="urn:microsoft.com/office/officeart/2005/8/layout/hProcess9"/>
    <dgm:cxn modelId="{D3CE8CB3-C651-49A3-BF01-40EE647B886F}" type="presOf" srcId="{C213376F-1760-47CD-B2AD-CA7094496A3E}" destId="{506B4BDF-E369-400F-9AD0-C89B94D8CC60}" srcOrd="0" destOrd="0" presId="urn:microsoft.com/office/officeart/2005/8/layout/hProcess9"/>
    <dgm:cxn modelId="{2DCFCED7-7DF8-45F3-89A5-03C220AA830A}" type="presOf" srcId="{135F1F33-6144-423A-B34D-D798D78A2510}" destId="{FA8B4338-3492-44C2-9D3D-44756F09098C}" srcOrd="0" destOrd="0" presId="urn:microsoft.com/office/officeart/2005/8/layout/hProcess9"/>
    <dgm:cxn modelId="{3D545DE3-98E3-4EF9-BB9C-A165F85EDC05}" srcId="{984454D6-89D0-4554-8D71-5E326B77B13D}" destId="{FE091980-BE89-4EF5-849B-3A57DE176B6D}" srcOrd="4" destOrd="0" parTransId="{0F6A5AC8-6805-4198-BCF0-5F56D95C8C5D}" sibTransId="{B8E0B337-D327-4DD5-92C6-C2EC5F2B02E4}"/>
    <dgm:cxn modelId="{F6ED00E5-42B3-4659-BDB5-7C4CCA6ED3D2}" srcId="{984454D6-89D0-4554-8D71-5E326B77B13D}" destId="{17A102E2-58B2-438A-9C94-7A0FC993BC65}" srcOrd="0" destOrd="0" parTransId="{30E21843-A393-4497-851E-E92D23A1D3BD}" sibTransId="{828EE4E6-62AC-41D8-8F0B-9C3A99B2FC12}"/>
    <dgm:cxn modelId="{454B2EF3-78E6-4511-BCAD-C4E99E081EC5}" type="presOf" srcId="{984454D6-89D0-4554-8D71-5E326B77B13D}" destId="{06491E41-40DE-414A-9FE9-DA4AD9D8A133}" srcOrd="0" destOrd="0" presId="urn:microsoft.com/office/officeart/2005/8/layout/hProcess9"/>
    <dgm:cxn modelId="{9472B934-2282-4E2D-9F83-34B494A8EA8E}" type="presParOf" srcId="{06491E41-40DE-414A-9FE9-DA4AD9D8A133}" destId="{809CED8B-3ACB-45D3-90D0-AD237EEE902F}" srcOrd="0" destOrd="0" presId="urn:microsoft.com/office/officeart/2005/8/layout/hProcess9"/>
    <dgm:cxn modelId="{FCC8FB5E-8051-4469-8CDA-8C05DAD59920}" type="presParOf" srcId="{06491E41-40DE-414A-9FE9-DA4AD9D8A133}" destId="{E5D1CC78-5235-456D-B191-3381B49C44FC}" srcOrd="1" destOrd="0" presId="urn:microsoft.com/office/officeart/2005/8/layout/hProcess9"/>
    <dgm:cxn modelId="{E23069E7-5A59-447C-B41E-D9442E6AF139}" type="presParOf" srcId="{E5D1CC78-5235-456D-B191-3381B49C44FC}" destId="{A048C815-A52F-4A87-8CA8-2A83E92FDF3E}" srcOrd="0" destOrd="0" presId="urn:microsoft.com/office/officeart/2005/8/layout/hProcess9"/>
    <dgm:cxn modelId="{555E8A97-8FC9-4805-920B-D8CAEFAD861D}" type="presParOf" srcId="{E5D1CC78-5235-456D-B191-3381B49C44FC}" destId="{482DE9D6-223D-47C6-9B6D-751EFBBA84F8}" srcOrd="1" destOrd="0" presId="urn:microsoft.com/office/officeart/2005/8/layout/hProcess9"/>
    <dgm:cxn modelId="{ADD9A588-6B0E-4B9A-81B9-7C7787C62F3B}" type="presParOf" srcId="{E5D1CC78-5235-456D-B191-3381B49C44FC}" destId="{506B4BDF-E369-400F-9AD0-C89B94D8CC60}" srcOrd="2" destOrd="0" presId="urn:microsoft.com/office/officeart/2005/8/layout/hProcess9"/>
    <dgm:cxn modelId="{7FAA105D-B8B0-4848-8E4F-65A93E002CE9}" type="presParOf" srcId="{E5D1CC78-5235-456D-B191-3381B49C44FC}" destId="{2BAC9B74-219F-4CE4-83AB-BE0F6B95336F}" srcOrd="3" destOrd="0" presId="urn:microsoft.com/office/officeart/2005/8/layout/hProcess9"/>
    <dgm:cxn modelId="{F3DE34F1-EADB-44C2-A8E5-E5B09E936C8C}" type="presParOf" srcId="{E5D1CC78-5235-456D-B191-3381B49C44FC}" destId="{FDEA83A6-65B3-49E0-99D5-F6DAEFA2F0D1}" srcOrd="4" destOrd="0" presId="urn:microsoft.com/office/officeart/2005/8/layout/hProcess9"/>
    <dgm:cxn modelId="{C8F470F9-B638-4A76-A6C2-C17F65239823}" type="presParOf" srcId="{E5D1CC78-5235-456D-B191-3381B49C44FC}" destId="{D3313C0B-8EFE-4F5F-B6BD-DE9BAB2B1452}" srcOrd="5" destOrd="0" presId="urn:microsoft.com/office/officeart/2005/8/layout/hProcess9"/>
    <dgm:cxn modelId="{6C85C2FB-8BAA-477D-B7B2-AE38CC8A6CA3}" type="presParOf" srcId="{E5D1CC78-5235-456D-B191-3381B49C44FC}" destId="{FA8B4338-3492-44C2-9D3D-44756F09098C}" srcOrd="6" destOrd="0" presId="urn:microsoft.com/office/officeart/2005/8/layout/hProcess9"/>
    <dgm:cxn modelId="{2E385E76-1455-4F1F-8688-0D90B24C3503}" type="presParOf" srcId="{E5D1CC78-5235-456D-B191-3381B49C44FC}" destId="{99A3C920-C445-4634-8478-5439DE977FC7}" srcOrd="7" destOrd="0" presId="urn:microsoft.com/office/officeart/2005/8/layout/hProcess9"/>
    <dgm:cxn modelId="{1FB3F2D0-97FE-40DE-8449-8D59FE2201C3}" type="presParOf" srcId="{E5D1CC78-5235-456D-B191-3381B49C44FC}" destId="{B6A9C35D-4374-487B-B9C3-F63B2E79060C}"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9CED8B-3ACB-45D3-90D0-AD237EEE902F}">
      <dsp:nvSpPr>
        <dsp:cNvPr id="0" name=""/>
        <dsp:cNvSpPr/>
      </dsp:nvSpPr>
      <dsp:spPr>
        <a:xfrm>
          <a:off x="852231" y="0"/>
          <a:ext cx="9658629" cy="440879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048C815-A52F-4A87-8CA8-2A83E92FDF3E}">
      <dsp:nvSpPr>
        <dsp:cNvPr id="0" name=""/>
        <dsp:cNvSpPr/>
      </dsp:nvSpPr>
      <dsp:spPr>
        <a:xfrm>
          <a:off x="2886" y="1322637"/>
          <a:ext cx="2171481" cy="1763516"/>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i-FI" sz="1600" kern="1200" dirty="0"/>
            <a:t>Käynnistyspäätös 2/2026</a:t>
          </a:r>
        </a:p>
      </dsp:txBody>
      <dsp:txXfrm>
        <a:off x="88974" y="1408725"/>
        <a:ext cx="1999305" cy="1591340"/>
      </dsp:txXfrm>
    </dsp:sp>
    <dsp:sp modelId="{506B4BDF-E369-400F-9AD0-C89B94D8CC60}">
      <dsp:nvSpPr>
        <dsp:cNvPr id="0" name=""/>
        <dsp:cNvSpPr/>
      </dsp:nvSpPr>
      <dsp:spPr>
        <a:xfrm>
          <a:off x="2299346" y="1322637"/>
          <a:ext cx="2171481" cy="1763516"/>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i-FI" sz="1600" kern="1200" dirty="0"/>
            <a:t>Osallistumis- ja arviointisuunnitelma 4/2026</a:t>
          </a:r>
        </a:p>
      </dsp:txBody>
      <dsp:txXfrm>
        <a:off x="2385434" y="1408725"/>
        <a:ext cx="1999305" cy="1591340"/>
      </dsp:txXfrm>
    </dsp:sp>
    <dsp:sp modelId="{FDEA83A6-65B3-49E0-99D5-F6DAEFA2F0D1}">
      <dsp:nvSpPr>
        <dsp:cNvPr id="0" name=""/>
        <dsp:cNvSpPr/>
      </dsp:nvSpPr>
      <dsp:spPr>
        <a:xfrm>
          <a:off x="4595805" y="1322637"/>
          <a:ext cx="2171481" cy="1763516"/>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i-FI" sz="1900" kern="1200" dirty="0"/>
            <a:t>Kaavaluonnos 6/2026</a:t>
          </a:r>
        </a:p>
      </dsp:txBody>
      <dsp:txXfrm>
        <a:off x="4681893" y="1408725"/>
        <a:ext cx="1999305" cy="1591340"/>
      </dsp:txXfrm>
    </dsp:sp>
    <dsp:sp modelId="{FA8B4338-3492-44C2-9D3D-44756F09098C}">
      <dsp:nvSpPr>
        <dsp:cNvPr id="0" name=""/>
        <dsp:cNvSpPr/>
      </dsp:nvSpPr>
      <dsp:spPr>
        <a:xfrm>
          <a:off x="6892264" y="1322637"/>
          <a:ext cx="2171481" cy="1763516"/>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i-FI" sz="1900" kern="1200" dirty="0"/>
            <a:t>Kaavaehdotus </a:t>
          </a:r>
          <a:br>
            <a:rPr lang="fi-FI" sz="1900" kern="1200" dirty="0"/>
          </a:br>
          <a:r>
            <a:rPr lang="fi-FI" sz="1900" kern="1200" dirty="0"/>
            <a:t>kevät 2027</a:t>
          </a:r>
        </a:p>
      </dsp:txBody>
      <dsp:txXfrm>
        <a:off x="6978352" y="1408725"/>
        <a:ext cx="1999305" cy="1591340"/>
      </dsp:txXfrm>
    </dsp:sp>
    <dsp:sp modelId="{B6A9C35D-4374-487B-B9C3-F63B2E79060C}">
      <dsp:nvSpPr>
        <dsp:cNvPr id="0" name=""/>
        <dsp:cNvSpPr/>
      </dsp:nvSpPr>
      <dsp:spPr>
        <a:xfrm>
          <a:off x="9188724" y="1322637"/>
          <a:ext cx="2171481" cy="1763516"/>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i-FI" sz="1900" kern="1200" dirty="0"/>
            <a:t>Hyväksyminen </a:t>
          </a:r>
          <a:br>
            <a:rPr lang="fi-FI" sz="1900" kern="1200" dirty="0"/>
          </a:br>
          <a:r>
            <a:rPr lang="fi-FI" sz="1900" kern="1200" dirty="0"/>
            <a:t>2027 aikana</a:t>
          </a:r>
        </a:p>
      </dsp:txBody>
      <dsp:txXfrm>
        <a:off x="9274812" y="1408725"/>
        <a:ext cx="1999305" cy="159134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6BFA16A-E32D-6E41-8D9B-08052C65D8BE}" type="datetimeFigureOut">
              <a:rPr lang="en-US" smtClean="0"/>
              <a:t>5/21/202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51F5C7A-6A00-F94D-BFFF-36F3ABD47BB7}" type="slidenum">
              <a:rPr lang="en-US" smtClean="0"/>
              <a:t>‹#›</a:t>
            </a:fld>
            <a:endParaRPr lang="en-US"/>
          </a:p>
        </p:txBody>
      </p:sp>
    </p:spTree>
    <p:extLst>
      <p:ext uri="{BB962C8B-B14F-4D97-AF65-F5344CB8AC3E}">
        <p14:creationId xmlns:p14="http://schemas.microsoft.com/office/powerpoint/2010/main" val="5300331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80F8A7-F7DD-4CDE-9BE7-B144424B8B86}" type="datetimeFigureOut">
              <a:rPr lang="fi-FI" smtClean="0"/>
              <a:t>21.5.2026</a:t>
            </a:fld>
            <a:endParaRPr lang="fi-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B72168-63E2-426B-BB82-DF02CD5CE14B}" type="slidenum">
              <a:rPr lang="fi-FI" smtClean="0"/>
              <a:t>‹#›</a:t>
            </a:fld>
            <a:endParaRPr lang="fi-FI"/>
          </a:p>
        </p:txBody>
      </p:sp>
    </p:spTree>
    <p:extLst>
      <p:ext uri="{BB962C8B-B14F-4D97-AF65-F5344CB8AC3E}">
        <p14:creationId xmlns:p14="http://schemas.microsoft.com/office/powerpoint/2010/main" val="9044598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dirty="0">
                <a:ea typeface="Calibri"/>
                <a:cs typeface="Calibri"/>
              </a:rPr>
              <a:t>Osana yleissuunnittelua Lentoradan linjausta on muutettu (2025)</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dirty="0">
                <a:ea typeface="Calibri"/>
                <a:cs typeface="Calibri"/>
              </a:rPr>
              <a:t>Vaiheyleiskaavatyö on kaavoitussuunnitelmassa ja sen käynnistämisestä on päätetty (</a:t>
            </a:r>
            <a:r>
              <a:rPr lang="fi-FI" dirty="0"/>
              <a:t>Kaupunginhallitus 23.02.2026 § 16)</a:t>
            </a:r>
            <a:endParaRPr lang="fi-FI" sz="1200" dirty="0">
              <a:ea typeface="Calibri"/>
              <a:cs typeface="Calibri"/>
            </a:endParaRPr>
          </a:p>
          <a:p>
            <a:endParaRPr lang="fi-FI" dirty="0"/>
          </a:p>
        </p:txBody>
      </p:sp>
      <p:sp>
        <p:nvSpPr>
          <p:cNvPr id="4" name="Dian numeron paikkamerkki 3"/>
          <p:cNvSpPr>
            <a:spLocks noGrp="1"/>
          </p:cNvSpPr>
          <p:nvPr>
            <p:ph type="sldNum" sz="quarter" idx="5"/>
          </p:nvPr>
        </p:nvSpPr>
        <p:spPr/>
        <p:txBody>
          <a:bodyPr/>
          <a:lstStyle/>
          <a:p>
            <a:fld id="{FFB72168-63E2-426B-BB82-DF02CD5CE14B}" type="slidenum">
              <a:rPr lang="fi-FI" smtClean="0"/>
              <a:t>4</a:t>
            </a:fld>
            <a:endParaRPr lang="fi-FI"/>
          </a:p>
        </p:txBody>
      </p:sp>
    </p:spTree>
    <p:extLst>
      <p:ext uri="{BB962C8B-B14F-4D97-AF65-F5344CB8AC3E}">
        <p14:creationId xmlns:p14="http://schemas.microsoft.com/office/powerpoint/2010/main" val="2676337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FFB72168-63E2-426B-BB82-DF02CD5CE14B}" type="slidenum">
              <a:rPr lang="fi-FI" smtClean="0"/>
              <a:t>6</a:t>
            </a:fld>
            <a:endParaRPr lang="fi-FI"/>
          </a:p>
        </p:txBody>
      </p:sp>
    </p:spTree>
    <p:extLst>
      <p:ext uri="{BB962C8B-B14F-4D97-AF65-F5344CB8AC3E}">
        <p14:creationId xmlns:p14="http://schemas.microsoft.com/office/powerpoint/2010/main" val="899023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C6698-B831-41F6-8865-6CD51DE9C351}" type="slidenum">
              <a:rPr kumimoji="0" lang="fi-FI"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i-FI"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527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C6698-B831-41F6-8865-6CD51DE9C351}" type="slidenum">
              <a:rPr kumimoji="0" lang="fi-FI"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i-FI"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11014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C6698-B831-41F6-8865-6CD51DE9C351}" type="slidenum">
              <a:rPr kumimoji="0" lang="fi-FI"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i-FI"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981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197A7-FCEC-EDFC-01C9-946B9493E2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1C7814-DA4A-378B-D0EC-631A284AFD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C93A8A-C9A0-2980-3EFF-02CB5D812FFF}"/>
              </a:ext>
            </a:extLst>
          </p:cNvPr>
          <p:cNvSpPr>
            <a:spLocks noGrp="1"/>
          </p:cNvSpPr>
          <p:nvPr>
            <p:ph type="body" idx="1"/>
          </p:nvPr>
        </p:nvSpPr>
        <p:spPr/>
        <p:txBody>
          <a:bodyPr/>
          <a:lstStyle/>
          <a:p>
            <a:r>
              <a:rPr lang="fi-FI"/>
              <a:t>Merkittävimpiä vaikutuksia YVA-selostuksen mukaan:</a:t>
            </a:r>
          </a:p>
          <a:p>
            <a:pPr marL="171486" indent="-171486">
              <a:buFont typeface="Arial" panose="020B0604020202020204" pitchFamily="34" charset="0"/>
              <a:buChar char="•"/>
            </a:pPr>
            <a:r>
              <a:rPr lang="fi-FI"/>
              <a:t>Runkomelu: tunnelissa junaliikenteestä aiheutuva runkomelu</a:t>
            </a:r>
          </a:p>
          <a:p>
            <a:pPr marL="171486" indent="-171486">
              <a:buFont typeface="Arial" panose="020B0604020202020204" pitchFamily="34" charset="0"/>
              <a:buChar char="•"/>
            </a:pPr>
            <a:r>
              <a:rPr lang="fi-FI"/>
              <a:t>Pohjavedet: rakentamisen aikaiset riskit pohjaveden pilaantumiselle</a:t>
            </a:r>
          </a:p>
          <a:p>
            <a:pPr marL="171486" indent="-171486">
              <a:buFont typeface="Arial" panose="020B0604020202020204" pitchFamily="34" charset="0"/>
              <a:buChar char="•"/>
            </a:pPr>
            <a:r>
              <a:rPr lang="fi-FI"/>
              <a:t>Rakentamisen aikaiset tilapäinen ympäristöhäiriö tunnelin suuaukoilla: pöly, tärinä, melu, liikennevaikutukset/kulkuyhteydet</a:t>
            </a:r>
          </a:p>
          <a:p>
            <a:pPr marL="171486" indent="-171486">
              <a:buFont typeface="Arial" panose="020B0604020202020204" pitchFamily="34" charset="0"/>
              <a:buChar char="•"/>
            </a:pPr>
            <a:r>
              <a:rPr lang="fi-FI"/>
              <a:t>Tunnelin rakentamisesta syntyvä kiviaines ja sen hyödyntäminen</a:t>
            </a:r>
          </a:p>
          <a:p>
            <a:r>
              <a:rPr lang="fi-FI"/>
              <a:t>Perustellun päätelmän evästykset:</a:t>
            </a:r>
          </a:p>
          <a:p>
            <a:pPr marL="171486" indent="-171486">
              <a:buFont typeface="Arial" panose="020B0604020202020204" pitchFamily="34" charset="0"/>
              <a:buChar char="•"/>
            </a:pPr>
            <a:r>
              <a:rPr lang="fi-FI"/>
              <a:t>Tulee suunnitella riittävässä määrin haitallisten vaikutusten ehkäisy- ja lievennystoimet</a:t>
            </a:r>
          </a:p>
          <a:p>
            <a:pPr marL="171486" indent="-171486">
              <a:buFont typeface="Arial" panose="020B0604020202020204" pitchFamily="34" charset="0"/>
              <a:buChar char="•"/>
            </a:pPr>
            <a:r>
              <a:rPr lang="fi-FI"/>
              <a:t>Tulee tehdä tarvittavat lisäselvitykset</a:t>
            </a:r>
          </a:p>
          <a:p>
            <a:pPr marL="171486" indent="-171486">
              <a:buFont typeface="Arial" panose="020B0604020202020204" pitchFamily="34" charset="0"/>
              <a:buChar char="•"/>
            </a:pPr>
            <a:r>
              <a:rPr lang="fi-FI"/>
              <a:t>Tulee selvittää lupatarpeet</a:t>
            </a:r>
          </a:p>
        </p:txBody>
      </p:sp>
      <p:sp>
        <p:nvSpPr>
          <p:cNvPr id="4" name="Slide Number Placeholder 3">
            <a:extLst>
              <a:ext uri="{FF2B5EF4-FFF2-40B4-BE49-F238E27FC236}">
                <a16:creationId xmlns:a16="http://schemas.microsoft.com/office/drawing/2014/main" id="{6D00A77F-3CCA-259C-8754-E5B2DF267E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C6698-B831-41F6-8865-6CD51DE9C351}" type="slidenum">
              <a:rPr kumimoji="0" lang="fi-FI"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i-FI"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98216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9.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8.emf"/><Relationship Id="rId5" Type="http://schemas.openxmlformats.org/officeDocument/2006/relationships/oleObject" Target="../embeddings/oleObject4.bin"/><Relationship Id="rId4" Type="http://schemas.openxmlformats.org/officeDocument/2006/relationships/image" Target="../media/image57.jpeg"/></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9.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8.emf"/><Relationship Id="rId5" Type="http://schemas.openxmlformats.org/officeDocument/2006/relationships/oleObject" Target="../embeddings/oleObject4.bin"/><Relationship Id="rId4" Type="http://schemas.openxmlformats.org/officeDocument/2006/relationships/image" Target="../media/image60.jpeg"/></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61.png"/><Relationship Id="rId4" Type="http://schemas.openxmlformats.org/officeDocument/2006/relationships/image" Target="../media/image51.emf"/></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61.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61.png"/><Relationship Id="rId4" Type="http://schemas.openxmlformats.org/officeDocument/2006/relationships/image" Target="../media/image51.emf"/></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61.png"/><Relationship Id="rId4" Type="http://schemas.openxmlformats.org/officeDocument/2006/relationships/image" Target="../media/image51.e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61.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sv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61.png"/><Relationship Id="rId4" Type="http://schemas.openxmlformats.org/officeDocument/2006/relationships/image" Target="../media/image51.emf"/></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54.png"/><Relationship Id="rId4" Type="http://schemas.openxmlformats.org/officeDocument/2006/relationships/image" Target="../media/image5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4.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61.png"/><Relationship Id="rId5" Type="http://schemas.openxmlformats.org/officeDocument/2006/relationships/image" Target="../media/image58.emf"/><Relationship Id="rId4" Type="http://schemas.openxmlformats.org/officeDocument/2006/relationships/oleObject" Target="../embeddings/oleObject7.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5.jpe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1.png"/><Relationship Id="rId5" Type="http://schemas.openxmlformats.org/officeDocument/2006/relationships/image" Target="../media/image58.emf"/><Relationship Id="rId4" Type="http://schemas.openxmlformats.org/officeDocument/2006/relationships/oleObject" Target="../embeddings/oleObject7.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6.jpe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61.png"/><Relationship Id="rId5" Type="http://schemas.openxmlformats.org/officeDocument/2006/relationships/image" Target="../media/image58.emf"/><Relationship Id="rId4" Type="http://schemas.openxmlformats.org/officeDocument/2006/relationships/oleObject" Target="../embeddings/oleObject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7.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61.png"/><Relationship Id="rId5" Type="http://schemas.openxmlformats.org/officeDocument/2006/relationships/image" Target="../media/image58.emf"/><Relationship Id="rId4" Type="http://schemas.openxmlformats.org/officeDocument/2006/relationships/oleObject" Target="../embeddings/oleObject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1.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58.emf"/><Relationship Id="rId5" Type="http://schemas.openxmlformats.org/officeDocument/2006/relationships/oleObject" Target="../embeddings/oleObject8.bin"/><Relationship Id="rId4" Type="http://schemas.openxmlformats.org/officeDocument/2006/relationships/image" Target="../media/image68.jpeg"/></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1.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58.emf"/><Relationship Id="rId5" Type="http://schemas.openxmlformats.org/officeDocument/2006/relationships/oleObject" Target="../embeddings/oleObject8.bin"/><Relationship Id="rId4" Type="http://schemas.openxmlformats.org/officeDocument/2006/relationships/image" Target="../media/image69.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7.sv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facebook.com/people/Suomi-rata-Oy/100076165275566/" TargetMode="External"/><Relationship Id="rId13" Type="http://schemas.openxmlformats.org/officeDocument/2006/relationships/image" Target="../media/image72.jpeg"/><Relationship Id="rId3" Type="http://schemas.openxmlformats.org/officeDocument/2006/relationships/slideMaster" Target="../slideMasters/slideMaster2.xml"/><Relationship Id="rId7" Type="http://schemas.openxmlformats.org/officeDocument/2006/relationships/hyperlink" Target="http://twitter.com/suomirata" TargetMode="External"/><Relationship Id="rId12" Type="http://schemas.openxmlformats.org/officeDocument/2006/relationships/image" Target="../media/image71.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hyperlink" Target="https://www.linkedin.com/company/suomi-rata-oy/" TargetMode="External"/><Relationship Id="rId11" Type="http://schemas.openxmlformats.org/officeDocument/2006/relationships/image" Target="../media/image61.png"/><Relationship Id="rId5" Type="http://schemas.openxmlformats.org/officeDocument/2006/relationships/image" Target="../media/image58.emf"/><Relationship Id="rId10" Type="http://schemas.openxmlformats.org/officeDocument/2006/relationships/image" Target="../media/image70.png"/><Relationship Id="rId4" Type="http://schemas.openxmlformats.org/officeDocument/2006/relationships/oleObject" Target="../embeddings/oleObject9.bin"/><Relationship Id="rId9" Type="http://schemas.openxmlformats.org/officeDocument/2006/relationships/hyperlink" Target="https://www.instagram.com/suomirata/" TargetMode="External"/></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facebook.com/people/Suomi-rata-Oy/100076165275566/" TargetMode="External"/><Relationship Id="rId3" Type="http://schemas.openxmlformats.org/officeDocument/2006/relationships/slideMaster" Target="../slideMasters/slideMaster2.xml"/><Relationship Id="rId7" Type="http://schemas.openxmlformats.org/officeDocument/2006/relationships/hyperlink" Target="http://twitter.com/suomirata" TargetMode="External"/><Relationship Id="rId12" Type="http://schemas.openxmlformats.org/officeDocument/2006/relationships/image" Target="../media/image73.jpe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hyperlink" Target="https://www.linkedin.com/company/suomi-rata-oy/" TargetMode="External"/><Relationship Id="rId11" Type="http://schemas.openxmlformats.org/officeDocument/2006/relationships/image" Target="../media/image71.png"/><Relationship Id="rId5" Type="http://schemas.openxmlformats.org/officeDocument/2006/relationships/image" Target="../media/image58.emf"/><Relationship Id="rId10" Type="http://schemas.openxmlformats.org/officeDocument/2006/relationships/image" Target="../media/image70.png"/><Relationship Id="rId4" Type="http://schemas.openxmlformats.org/officeDocument/2006/relationships/oleObject" Target="../embeddings/oleObject9.bin"/><Relationship Id="rId9" Type="http://schemas.openxmlformats.org/officeDocument/2006/relationships/hyperlink" Target="https://www.instagram.com/suomirata/" TargetMode="External"/></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4.xml"/><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9.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58.emf"/><Relationship Id="rId5" Type="http://schemas.openxmlformats.org/officeDocument/2006/relationships/oleObject" Target="../embeddings/oleObject4.bin"/><Relationship Id="rId4" Type="http://schemas.openxmlformats.org/officeDocument/2006/relationships/image" Target="../media/image57.jpeg"/></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9.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8.emf"/><Relationship Id="rId5" Type="http://schemas.openxmlformats.org/officeDocument/2006/relationships/oleObject" Target="../embeddings/oleObject4.bin"/><Relationship Id="rId4" Type="http://schemas.openxmlformats.org/officeDocument/2006/relationships/image" Target="../media/image60.jpeg"/></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49.xml"/><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0.xml"/><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1.xml"/><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2.xml"/><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Master" Target="../slideMasters/slideMaster3.xml"/><Relationship Id="rId1" Type="http://schemas.openxmlformats.org/officeDocument/2006/relationships/tags" Target="../tags/tag53.xml"/><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8.sv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4.xml"/><Relationship Id="rId5" Type="http://schemas.openxmlformats.org/officeDocument/2006/relationships/image" Target="../media/image61.png"/><Relationship Id="rId4" Type="http://schemas.openxmlformats.org/officeDocument/2006/relationships/image" Target="../media/image51.emf"/></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slideMaster" Target="../slideMasters/slideMaster3.xml"/><Relationship Id="rId1" Type="http://schemas.openxmlformats.org/officeDocument/2006/relationships/tags" Target="../tags/tag55.xml"/><Relationship Id="rId6" Type="http://schemas.openxmlformats.org/officeDocument/2006/relationships/image" Target="../media/image61.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6.xml"/><Relationship Id="rId5" Type="http://schemas.openxmlformats.org/officeDocument/2006/relationships/image" Target="../media/image61.png"/><Relationship Id="rId4" Type="http://schemas.openxmlformats.org/officeDocument/2006/relationships/image" Target="../media/image51.emf"/></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Master" Target="../slideMasters/slideMaster3.xml"/><Relationship Id="rId1" Type="http://schemas.openxmlformats.org/officeDocument/2006/relationships/tags" Target="../tags/tag57.x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8.xml"/><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9.xml"/><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Master" Target="../slideMasters/slideMaster3.xml"/><Relationship Id="rId1" Type="http://schemas.openxmlformats.org/officeDocument/2006/relationships/tags" Target="../tags/tag60.xml"/><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1.xml"/><Relationship Id="rId5" Type="http://schemas.openxmlformats.org/officeDocument/2006/relationships/image" Target="../media/image61.png"/><Relationship Id="rId4" Type="http://schemas.openxmlformats.org/officeDocument/2006/relationships/image" Target="../media/image51.emf"/></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slideMaster" Target="../slideMasters/slideMaster3.xml"/><Relationship Id="rId1" Type="http://schemas.openxmlformats.org/officeDocument/2006/relationships/tags" Target="../tags/tag62.xml"/><Relationship Id="rId6" Type="http://schemas.openxmlformats.org/officeDocument/2006/relationships/image" Target="../media/image61.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3.xml"/><Relationship Id="rId5" Type="http://schemas.openxmlformats.org/officeDocument/2006/relationships/image" Target="../media/image61.png"/><Relationship Id="rId4" Type="http://schemas.openxmlformats.org/officeDocument/2006/relationships/image" Target="../media/image51.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9.sv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5.xml"/><Relationship Id="rId4" Type="http://schemas.openxmlformats.org/officeDocument/2006/relationships/image" Target="../media/image5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6.xml"/><Relationship Id="rId5" Type="http://schemas.openxmlformats.org/officeDocument/2006/relationships/image" Target="../media/image53.png"/><Relationship Id="rId4" Type="http://schemas.openxmlformats.org/officeDocument/2006/relationships/image" Target="../media/image51.emf"/></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4.jpe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61.png"/><Relationship Id="rId5" Type="http://schemas.openxmlformats.org/officeDocument/2006/relationships/image" Target="../media/image58.emf"/><Relationship Id="rId4" Type="http://schemas.openxmlformats.org/officeDocument/2006/relationships/oleObject" Target="../embeddings/oleObject7.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5.jpe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61.png"/><Relationship Id="rId5" Type="http://schemas.openxmlformats.org/officeDocument/2006/relationships/image" Target="../media/image58.emf"/><Relationship Id="rId4" Type="http://schemas.openxmlformats.org/officeDocument/2006/relationships/oleObject" Target="../embeddings/oleObject7.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6.jpe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61.png"/><Relationship Id="rId5" Type="http://schemas.openxmlformats.org/officeDocument/2006/relationships/image" Target="../media/image58.emf"/><Relationship Id="rId4" Type="http://schemas.openxmlformats.org/officeDocument/2006/relationships/oleObject" Target="../embeddings/oleObject7.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7.jpe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61.png"/><Relationship Id="rId5" Type="http://schemas.openxmlformats.org/officeDocument/2006/relationships/image" Target="../media/image58.emf"/><Relationship Id="rId4" Type="http://schemas.openxmlformats.org/officeDocument/2006/relationships/oleObject" Target="../embeddings/oleObject7.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1.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58.emf"/><Relationship Id="rId5" Type="http://schemas.openxmlformats.org/officeDocument/2006/relationships/oleObject" Target="../embeddings/oleObject8.bin"/><Relationship Id="rId4" Type="http://schemas.openxmlformats.org/officeDocument/2006/relationships/image" Target="../media/image68.jpe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8.emf"/><Relationship Id="rId5" Type="http://schemas.openxmlformats.org/officeDocument/2006/relationships/oleObject" Target="../embeddings/oleObject8.bin"/><Relationship Id="rId4" Type="http://schemas.openxmlformats.org/officeDocument/2006/relationships/image" Target="../media/image69.jpeg"/></Relationships>
</file>

<file path=ppt/slideLayouts/_rels/slideLayout169.xml.rels><?xml version="1.0" encoding="UTF-8" standalone="yes"?>
<Relationships xmlns="http://schemas.openxmlformats.org/package/2006/relationships"><Relationship Id="rId8" Type="http://schemas.openxmlformats.org/officeDocument/2006/relationships/hyperlink" Target="https://www.facebook.com/people/Suomi-rata-Oy/100076165275566/" TargetMode="External"/><Relationship Id="rId13" Type="http://schemas.openxmlformats.org/officeDocument/2006/relationships/image" Target="../media/image72.jpeg"/><Relationship Id="rId3" Type="http://schemas.openxmlformats.org/officeDocument/2006/relationships/slideMaster" Target="../slideMasters/slideMaster3.xml"/><Relationship Id="rId7" Type="http://schemas.openxmlformats.org/officeDocument/2006/relationships/hyperlink" Target="http://twitter.com/suomirata" TargetMode="External"/><Relationship Id="rId12" Type="http://schemas.openxmlformats.org/officeDocument/2006/relationships/image" Target="../media/image71.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hyperlink" Target="https://www.linkedin.com/company/suomi-rata-oy/" TargetMode="External"/><Relationship Id="rId11" Type="http://schemas.openxmlformats.org/officeDocument/2006/relationships/image" Target="../media/image61.png"/><Relationship Id="rId5" Type="http://schemas.openxmlformats.org/officeDocument/2006/relationships/image" Target="../media/image58.emf"/><Relationship Id="rId10" Type="http://schemas.openxmlformats.org/officeDocument/2006/relationships/image" Target="../media/image70.png"/><Relationship Id="rId4" Type="http://schemas.openxmlformats.org/officeDocument/2006/relationships/oleObject" Target="../embeddings/oleObject9.bin"/><Relationship Id="rId9" Type="http://schemas.openxmlformats.org/officeDocument/2006/relationships/hyperlink" Target="https://www.instagram.com/suomirata/"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9.sv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hyperlink" Target="https://www.facebook.com/people/Suomi-rata-Oy/100076165275566/" TargetMode="External"/><Relationship Id="rId13" Type="http://schemas.openxmlformats.org/officeDocument/2006/relationships/image" Target="../media/image73.jpeg"/><Relationship Id="rId3" Type="http://schemas.openxmlformats.org/officeDocument/2006/relationships/slideMaster" Target="../slideMasters/slideMaster3.xml"/><Relationship Id="rId7" Type="http://schemas.openxmlformats.org/officeDocument/2006/relationships/hyperlink" Target="http://twitter.com/suomirata" TargetMode="External"/><Relationship Id="rId12" Type="http://schemas.openxmlformats.org/officeDocument/2006/relationships/image" Target="../media/image71.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hyperlink" Target="https://www.linkedin.com/company/suomi-rata-oy/" TargetMode="External"/><Relationship Id="rId11" Type="http://schemas.openxmlformats.org/officeDocument/2006/relationships/image" Target="../media/image61.png"/><Relationship Id="rId5" Type="http://schemas.openxmlformats.org/officeDocument/2006/relationships/image" Target="../media/image58.emf"/><Relationship Id="rId10" Type="http://schemas.openxmlformats.org/officeDocument/2006/relationships/image" Target="../media/image70.png"/><Relationship Id="rId4" Type="http://schemas.openxmlformats.org/officeDocument/2006/relationships/oleObject" Target="../embeddings/oleObject9.bin"/><Relationship Id="rId9" Type="http://schemas.openxmlformats.org/officeDocument/2006/relationships/hyperlink" Target="https://www.instagram.com/suomirata/" TargetMode="External"/></Relationships>
</file>

<file path=ppt/slideLayouts/_rels/slideLayout171.xml.rels><?xml version="1.0" encoding="UTF-8" standalone="yes"?>
<Relationships xmlns="http://schemas.openxmlformats.org/package/2006/relationships"><Relationship Id="rId8" Type="http://schemas.openxmlformats.org/officeDocument/2006/relationships/hyperlink" Target="https://www.facebook.com/people/Suomi-rata-Oy/100076165275566/" TargetMode="External"/><Relationship Id="rId13" Type="http://schemas.openxmlformats.org/officeDocument/2006/relationships/image" Target="../media/image72.jpeg"/><Relationship Id="rId3" Type="http://schemas.openxmlformats.org/officeDocument/2006/relationships/slideMaster" Target="../slideMasters/slideMaster3.xml"/><Relationship Id="rId7" Type="http://schemas.openxmlformats.org/officeDocument/2006/relationships/hyperlink" Target="http://twitter.com/suomirata" TargetMode="External"/><Relationship Id="rId12" Type="http://schemas.openxmlformats.org/officeDocument/2006/relationships/image" Target="../media/image74.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hyperlink" Target="https://www.linkedin.com/company/suomi-rata-oy/" TargetMode="External"/><Relationship Id="rId11" Type="http://schemas.openxmlformats.org/officeDocument/2006/relationships/image" Target="../media/image61.png"/><Relationship Id="rId5" Type="http://schemas.openxmlformats.org/officeDocument/2006/relationships/image" Target="../media/image58.emf"/><Relationship Id="rId10" Type="http://schemas.openxmlformats.org/officeDocument/2006/relationships/image" Target="../media/image70.png"/><Relationship Id="rId4" Type="http://schemas.openxmlformats.org/officeDocument/2006/relationships/oleObject" Target="../embeddings/oleObject9.bin"/><Relationship Id="rId9" Type="http://schemas.openxmlformats.org/officeDocument/2006/relationships/hyperlink" Target="https://www.instagram.com/suomirata/" TargetMode="External"/></Relationships>
</file>

<file path=ppt/slideLayouts/_rels/slideLayout172.xml.rels><?xml version="1.0" encoding="UTF-8" standalone="yes"?>
<Relationships xmlns="http://schemas.openxmlformats.org/package/2006/relationships"><Relationship Id="rId8" Type="http://schemas.openxmlformats.org/officeDocument/2006/relationships/hyperlink" Target="https://www.facebook.com/people/Suomi-rata-Oy/100076165275566/" TargetMode="External"/><Relationship Id="rId13" Type="http://schemas.openxmlformats.org/officeDocument/2006/relationships/image" Target="../media/image74.png"/><Relationship Id="rId3" Type="http://schemas.openxmlformats.org/officeDocument/2006/relationships/slideMaster" Target="../slideMasters/slideMaster3.xml"/><Relationship Id="rId7" Type="http://schemas.openxmlformats.org/officeDocument/2006/relationships/hyperlink" Target="http://twitter.com/suomirata" TargetMode="External"/><Relationship Id="rId12" Type="http://schemas.openxmlformats.org/officeDocument/2006/relationships/image" Target="../media/image73.jpe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hyperlink" Target="https://www.linkedin.com/company/suomi-rata-oy/" TargetMode="External"/><Relationship Id="rId11" Type="http://schemas.openxmlformats.org/officeDocument/2006/relationships/image" Target="../media/image61.png"/><Relationship Id="rId5" Type="http://schemas.openxmlformats.org/officeDocument/2006/relationships/image" Target="../media/image58.emf"/><Relationship Id="rId10" Type="http://schemas.openxmlformats.org/officeDocument/2006/relationships/image" Target="../media/image70.png"/><Relationship Id="rId4" Type="http://schemas.openxmlformats.org/officeDocument/2006/relationships/oleObject" Target="../embeddings/oleObject9.bin"/><Relationship Id="rId9" Type="http://schemas.openxmlformats.org/officeDocument/2006/relationships/hyperlink" Target="https://www.instagram.com/suomirata/" TargetMode="Externa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6.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58.emf"/><Relationship Id="rId5" Type="http://schemas.openxmlformats.org/officeDocument/2006/relationships/oleObject" Target="../embeddings/oleObject7.bin"/><Relationship Id="rId4" Type="http://schemas.openxmlformats.org/officeDocument/2006/relationships/image" Target="../media/image75.jpe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0.sv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89.xml"/><Relationship Id="rId4" Type="http://schemas.openxmlformats.org/officeDocument/2006/relationships/image" Target="../media/image51.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0.sv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2.sv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sv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sv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3.sv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4.sv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sv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sv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9.sv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sv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3.sv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2.sv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3.sv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3.sv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4.sv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6.sv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sv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sv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39.sv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sv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2.sv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sv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sv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svg"/><Relationship Id="rId1" Type="http://schemas.openxmlformats.org/officeDocument/2006/relationships/slideMaster" Target="../slideMasters/slideMaster1.xml"/><Relationship Id="rId4" Type="http://schemas.openxmlformats.org/officeDocument/2006/relationships/image" Target="../media/image42.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xml"/><Relationship Id="rId5" Type="http://schemas.openxmlformats.org/officeDocument/2006/relationships/image" Target="../media/image46.svg"/><Relationship Id="rId4" Type="http://schemas.openxmlformats.org/officeDocument/2006/relationships/image" Target="../media/image45.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7.jpeg"/><Relationship Id="rId1" Type="http://schemas.openxmlformats.org/officeDocument/2006/relationships/slideMaster" Target="../slideMasters/slideMaster1.xml"/><Relationship Id="rId4" Type="http://schemas.openxmlformats.org/officeDocument/2006/relationships/image" Target="../media/image48.sv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9.sv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2.png"/><Relationship Id="rId4" Type="http://schemas.openxmlformats.org/officeDocument/2006/relationships/image" Target="../media/image5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55.jp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tsikkodia 1">
    <p:bg>
      <p:bgPr>
        <a:solidFill>
          <a:srgbClr val="A2E4B8">
            <a:alpha val="90000"/>
          </a:srgbClr>
        </a:solidFill>
        <a:effectLst/>
      </p:bgPr>
    </p:bg>
    <p:spTree>
      <p:nvGrpSpPr>
        <p:cNvPr id="1" name=""/>
        <p:cNvGrpSpPr/>
        <p:nvPr/>
      </p:nvGrpSpPr>
      <p:grpSpPr>
        <a:xfrm>
          <a:off x="0" y="0"/>
          <a:ext cx="0" cy="0"/>
          <a:chOff x="0" y="0"/>
          <a:chExt cx="0" cy="0"/>
        </a:xfrm>
      </p:grpSpPr>
      <p:pic>
        <p:nvPicPr>
          <p:cNvPr id="9" name="Graphic 3">
            <a:extLst>
              <a:ext uri="{FF2B5EF4-FFF2-40B4-BE49-F238E27FC236}">
                <a16:creationId xmlns:a16="http://schemas.microsoft.com/office/drawing/2014/main" id="{FEE2FBF6-3692-0773-00AB-230D978010B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087556" y="2111326"/>
            <a:ext cx="5446395" cy="5460728"/>
          </a:xfrm>
          <a:prstGeom prst="rect">
            <a:avLst/>
          </a:prstGeom>
        </p:spPr>
      </p:pic>
      <p:sp>
        <p:nvSpPr>
          <p:cNvPr id="2" name="Title 1">
            <a:extLst>
              <a:ext uri="{FF2B5EF4-FFF2-40B4-BE49-F238E27FC236}">
                <a16:creationId xmlns:a16="http://schemas.microsoft.com/office/drawing/2014/main" id="{AC8EB052-B17E-3830-21CB-B540D3D61CE6}"/>
              </a:ext>
            </a:extLst>
          </p:cNvPr>
          <p:cNvSpPr>
            <a:spLocks noGrp="1"/>
          </p:cNvSpPr>
          <p:nvPr>
            <p:ph type="ctrTitle"/>
          </p:nvPr>
        </p:nvSpPr>
        <p:spPr>
          <a:xfrm>
            <a:off x="669235" y="760288"/>
            <a:ext cx="7478172" cy="2978275"/>
          </a:xfrm>
        </p:spPr>
        <p:txBody>
          <a:bodyPr anchor="b">
            <a:noAutofit/>
          </a:bodyPr>
          <a:lstStyle>
            <a:lvl1pPr algn="l">
              <a:defRPr sz="6000" b="1" i="0">
                <a:solidFill>
                  <a:srgbClr val="152A96"/>
                </a:solidFill>
                <a:latin typeface="+mj-lt"/>
                <a:cs typeface="Poppins" pitchFamily="2" charset="77"/>
              </a:defRPr>
            </a:lvl1pPr>
          </a:lstStyle>
          <a:p>
            <a:r>
              <a:rPr lang="fi-FI"/>
              <a:t>Muokkaa ots. perustyyl. napsautt.</a:t>
            </a:r>
          </a:p>
        </p:txBody>
      </p:sp>
      <p:sp>
        <p:nvSpPr>
          <p:cNvPr id="3" name="Subtitle 2">
            <a:extLst>
              <a:ext uri="{FF2B5EF4-FFF2-40B4-BE49-F238E27FC236}">
                <a16:creationId xmlns:a16="http://schemas.microsoft.com/office/drawing/2014/main" id="{0905BA58-BA6B-770C-F048-D85FA5C4202A}"/>
              </a:ext>
            </a:extLst>
          </p:cNvPr>
          <p:cNvSpPr>
            <a:spLocks noGrp="1"/>
          </p:cNvSpPr>
          <p:nvPr>
            <p:ph type="subTitle" idx="1"/>
          </p:nvPr>
        </p:nvSpPr>
        <p:spPr>
          <a:xfrm>
            <a:off x="669235" y="3830638"/>
            <a:ext cx="6543223" cy="1655762"/>
          </a:xfrm>
        </p:spPr>
        <p:txBody>
          <a:bodyPr>
            <a:noAutofit/>
          </a:bodyPr>
          <a:lstStyle>
            <a:lvl1pPr marL="0" indent="0" algn="l">
              <a:buNone/>
              <a:defRPr sz="2400">
                <a:solidFill>
                  <a:sysClr val="windowText" lastClr="000000"/>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6" name="Graphic 9">
            <a:extLst>
              <a:ext uri="{FF2B5EF4-FFF2-40B4-BE49-F238E27FC236}">
                <a16:creationId xmlns:a16="http://schemas.microsoft.com/office/drawing/2014/main" id="{09483175-2EEA-6F8C-ED09-1AA3B1725BA5}"/>
              </a:ext>
            </a:extLst>
          </p:cNvPr>
          <p:cNvSpPr/>
          <p:nvPr/>
        </p:nvSpPr>
        <p:spPr>
          <a:xfrm rot="21135918">
            <a:off x="4040731" y="4616912"/>
            <a:ext cx="4110538" cy="2559747"/>
          </a:xfrm>
          <a:custGeom>
            <a:avLst/>
            <a:gdLst>
              <a:gd name="connsiteX0" fmla="*/ 4110539 w 4110538"/>
              <a:gd name="connsiteY0" fmla="*/ 130872 h 2559747"/>
              <a:gd name="connsiteX1" fmla="*/ 2844860 w 4110538"/>
              <a:gd name="connsiteY1" fmla="*/ 418813 h 2559747"/>
              <a:gd name="connsiteX2" fmla="*/ 2968698 w 4110538"/>
              <a:gd name="connsiteY2" fmla="*/ 828864 h 2559747"/>
              <a:gd name="connsiteX3" fmla="*/ 1190167 w 4110538"/>
              <a:gd name="connsiteY3" fmla="*/ 570641 h 2559747"/>
              <a:gd name="connsiteX4" fmla="*/ 1158589 w 4110538"/>
              <a:gd name="connsiteY4" fmla="*/ 1768029 h 2559747"/>
              <a:gd name="connsiteX5" fmla="*/ 72295 w 4110538"/>
              <a:gd name="connsiteY5" fmla="*/ 2086831 h 2559747"/>
              <a:gd name="connsiteX6" fmla="*/ 7808 w 4110538"/>
              <a:gd name="connsiteY6" fmla="*/ 2559747 h 255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0538" h="2559747">
                <a:moveTo>
                  <a:pt x="4110539" y="130872"/>
                </a:moveTo>
                <a:cubicBezTo>
                  <a:pt x="3684334" y="-104110"/>
                  <a:pt x="3128870" y="-31148"/>
                  <a:pt x="2844860" y="418813"/>
                </a:cubicBezTo>
                <a:cubicBezTo>
                  <a:pt x="2257723" y="1349120"/>
                  <a:pt x="3283905" y="1328355"/>
                  <a:pt x="2968698" y="828864"/>
                </a:cubicBezTo>
                <a:cubicBezTo>
                  <a:pt x="2585200" y="221074"/>
                  <a:pt x="1552930" y="165829"/>
                  <a:pt x="1190167" y="570641"/>
                </a:cubicBezTo>
                <a:cubicBezTo>
                  <a:pt x="793352" y="1013458"/>
                  <a:pt x="1158589" y="1768029"/>
                  <a:pt x="1158589" y="1768029"/>
                </a:cubicBezTo>
                <a:cubicBezTo>
                  <a:pt x="1158589" y="1768029"/>
                  <a:pt x="415750" y="1306638"/>
                  <a:pt x="72295" y="2086831"/>
                </a:cubicBezTo>
                <a:cubicBezTo>
                  <a:pt x="6476" y="2236278"/>
                  <a:pt x="-12642" y="2399346"/>
                  <a:pt x="7808" y="2559747"/>
                </a:cubicBezTo>
              </a:path>
            </a:pathLst>
          </a:custGeom>
          <a:noFill/>
          <a:ln w="38100" cap="rnd">
            <a:solidFill>
              <a:srgbClr val="152A96"/>
            </a:solidFill>
            <a:prstDash val="solid"/>
            <a:round/>
          </a:ln>
        </p:spPr>
        <p:txBody>
          <a:bodyPr rtlCol="0" anchor="ctr"/>
          <a:lstStyle/>
          <a:p>
            <a:endParaRPr lang="fi-FI"/>
          </a:p>
        </p:txBody>
      </p:sp>
      <p:pic>
        <p:nvPicPr>
          <p:cNvPr id="4" name="Graphic 3">
            <a:extLst>
              <a:ext uri="{FF2B5EF4-FFF2-40B4-BE49-F238E27FC236}">
                <a16:creationId xmlns:a16="http://schemas.microsoft.com/office/drawing/2014/main" id="{FD62E652-E316-B35D-FFF1-A768748CA83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087556" y="2111326"/>
            <a:ext cx="5446395" cy="5460728"/>
          </a:xfrm>
          <a:prstGeom prst="rect">
            <a:avLst/>
          </a:prstGeom>
        </p:spPr>
      </p:pic>
      <p:sp>
        <p:nvSpPr>
          <p:cNvPr id="5" name="Picture Placeholder 12">
            <a:extLst>
              <a:ext uri="{FF2B5EF4-FFF2-40B4-BE49-F238E27FC236}">
                <a16:creationId xmlns:a16="http://schemas.microsoft.com/office/drawing/2014/main" id="{2304B63D-4121-197B-CFD8-ADF473625157}"/>
              </a:ext>
            </a:extLst>
          </p:cNvPr>
          <p:cNvSpPr>
            <a:spLocks noGrp="1"/>
          </p:cNvSpPr>
          <p:nvPr>
            <p:ph type="pic" sz="quarter" idx="13"/>
          </p:nvPr>
        </p:nvSpPr>
        <p:spPr>
          <a:xfrm>
            <a:off x="7428216" y="2215608"/>
            <a:ext cx="5105735" cy="5185702"/>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pic>
        <p:nvPicPr>
          <p:cNvPr id="11" name="Graphic 18">
            <a:extLst>
              <a:ext uri="{FF2B5EF4-FFF2-40B4-BE49-F238E27FC236}">
                <a16:creationId xmlns:a16="http://schemas.microsoft.com/office/drawing/2014/main" id="{3B54C342-2EF4-C88F-963C-A87BD3EA2D7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6200000">
            <a:off x="10405322" y="1288658"/>
            <a:ext cx="2243871" cy="493762"/>
          </a:xfrm>
          <a:prstGeom prst="rect">
            <a:avLst/>
          </a:prstGeom>
        </p:spPr>
      </p:pic>
    </p:spTree>
    <p:extLst>
      <p:ext uri="{BB962C8B-B14F-4D97-AF65-F5344CB8AC3E}">
        <p14:creationId xmlns:p14="http://schemas.microsoft.com/office/powerpoint/2010/main" val="2706078420"/>
      </p:ext>
    </p:extLst>
  </p:cSld>
  <p:clrMapOvr>
    <a:masterClrMapping/>
  </p:clrMapOvr>
  <p:hf sldNum="0" hdr="0" dt="0"/>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tsikkodia kuva 1">
    <p:bg>
      <p:bgPr>
        <a:solidFill>
          <a:srgbClr val="152B96"/>
        </a:solidFill>
        <a:effectLst/>
      </p:bgPr>
    </p:bg>
    <p:spTree>
      <p:nvGrpSpPr>
        <p:cNvPr id="1" name=""/>
        <p:cNvGrpSpPr/>
        <p:nvPr/>
      </p:nvGrpSpPr>
      <p:grpSpPr>
        <a:xfrm>
          <a:off x="0" y="0"/>
          <a:ext cx="0" cy="0"/>
          <a:chOff x="0" y="0"/>
          <a:chExt cx="0" cy="0"/>
        </a:xfrm>
      </p:grpSpPr>
      <p:sp>
        <p:nvSpPr>
          <p:cNvPr id="7" name="Picture Placeholder 12">
            <a:extLst>
              <a:ext uri="{FF2B5EF4-FFF2-40B4-BE49-F238E27FC236}">
                <a16:creationId xmlns:a16="http://schemas.microsoft.com/office/drawing/2014/main" id="{BDD7D35C-46BB-6215-A264-AE4CC75BD653}"/>
              </a:ext>
            </a:extLst>
          </p:cNvPr>
          <p:cNvSpPr>
            <a:spLocks noGrp="1"/>
          </p:cNvSpPr>
          <p:nvPr>
            <p:ph type="pic" sz="quarter" idx="13"/>
          </p:nvPr>
        </p:nvSpPr>
        <p:spPr>
          <a:xfrm>
            <a:off x="-11150" y="-39842"/>
            <a:ext cx="12239969" cy="6931189"/>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 name="connsiteX0" fmla="*/ 2099 w 9695168"/>
              <a:gd name="connsiteY0" fmla="*/ 5426640 h 9784414"/>
              <a:gd name="connsiteX1" fmla="*/ 5149665 w 9695168"/>
              <a:gd name="connsiteY1" fmla="*/ 136 h 9784414"/>
              <a:gd name="connsiteX2" fmla="*/ 9695168 w 9695168"/>
              <a:gd name="connsiteY2" fmla="*/ 5362150 h 9784414"/>
              <a:gd name="connsiteX3" fmla="*/ 3402004 w 9695168"/>
              <a:gd name="connsiteY3" fmla="*/ 9782848 h 9784414"/>
              <a:gd name="connsiteX4" fmla="*/ 2714694 w 9695168"/>
              <a:gd name="connsiteY4" fmla="*/ 9281039 h 9784414"/>
              <a:gd name="connsiteX5" fmla="*/ 2099 w 9695168"/>
              <a:gd name="connsiteY5" fmla="*/ 5426640 h 9784414"/>
              <a:gd name="connsiteX0" fmla="*/ 27581 w 9720650"/>
              <a:gd name="connsiteY0" fmla="*/ 5426640 h 9782879"/>
              <a:gd name="connsiteX1" fmla="*/ 5175147 w 9720650"/>
              <a:gd name="connsiteY1" fmla="*/ 136 h 9782879"/>
              <a:gd name="connsiteX2" fmla="*/ 9720650 w 9720650"/>
              <a:gd name="connsiteY2" fmla="*/ 5362150 h 9782879"/>
              <a:gd name="connsiteX3" fmla="*/ 3427486 w 9720650"/>
              <a:gd name="connsiteY3" fmla="*/ 9782848 h 9782879"/>
              <a:gd name="connsiteX4" fmla="*/ 27581 w 9720650"/>
              <a:gd name="connsiteY4" fmla="*/ 5426640 h 9782879"/>
              <a:gd name="connsiteX0" fmla="*/ 34101 w 9746691"/>
              <a:gd name="connsiteY0" fmla="*/ 5426694 h 9249892"/>
              <a:gd name="connsiteX1" fmla="*/ 5181667 w 9746691"/>
              <a:gd name="connsiteY1" fmla="*/ 190 h 9249892"/>
              <a:gd name="connsiteX2" fmla="*/ 9727170 w 9746691"/>
              <a:gd name="connsiteY2" fmla="*/ 5362204 h 9249892"/>
              <a:gd name="connsiteX3" fmla="*/ 2983481 w 9746691"/>
              <a:gd name="connsiteY3" fmla="*/ 9249853 h 9249892"/>
              <a:gd name="connsiteX4" fmla="*/ 34101 w 9746691"/>
              <a:gd name="connsiteY4" fmla="*/ 5426694 h 9249892"/>
              <a:gd name="connsiteX0" fmla="*/ 34101 w 9746690"/>
              <a:gd name="connsiteY0" fmla="*/ 5426694 h 9249892"/>
              <a:gd name="connsiteX1" fmla="*/ 5181667 w 9746690"/>
              <a:gd name="connsiteY1" fmla="*/ 190 h 9249892"/>
              <a:gd name="connsiteX2" fmla="*/ 9727170 w 9746690"/>
              <a:gd name="connsiteY2" fmla="*/ 5362204 h 9249892"/>
              <a:gd name="connsiteX3" fmla="*/ 2983481 w 9746690"/>
              <a:gd name="connsiteY3" fmla="*/ 9249853 h 9249892"/>
              <a:gd name="connsiteX4" fmla="*/ 34101 w 9746690"/>
              <a:gd name="connsiteY4" fmla="*/ 5426694 h 9249892"/>
              <a:gd name="connsiteX0" fmla="*/ 34101 w 9746690"/>
              <a:gd name="connsiteY0" fmla="*/ 5426694 h 9249892"/>
              <a:gd name="connsiteX1" fmla="*/ 5181667 w 9746690"/>
              <a:gd name="connsiteY1" fmla="*/ 190 h 9249892"/>
              <a:gd name="connsiteX2" fmla="*/ 9727170 w 9746690"/>
              <a:gd name="connsiteY2" fmla="*/ 5362204 h 9249892"/>
              <a:gd name="connsiteX3" fmla="*/ 2983481 w 9746690"/>
              <a:gd name="connsiteY3" fmla="*/ 9249853 h 9249892"/>
              <a:gd name="connsiteX4" fmla="*/ 34101 w 9746690"/>
              <a:gd name="connsiteY4" fmla="*/ 5426694 h 9249892"/>
              <a:gd name="connsiteX0" fmla="*/ 34101 w 9746690"/>
              <a:gd name="connsiteY0" fmla="*/ 5426694 h 9249892"/>
              <a:gd name="connsiteX1" fmla="*/ 5181667 w 9746690"/>
              <a:gd name="connsiteY1" fmla="*/ 190 h 9249892"/>
              <a:gd name="connsiteX2" fmla="*/ 9727170 w 9746690"/>
              <a:gd name="connsiteY2" fmla="*/ 5362204 h 9249892"/>
              <a:gd name="connsiteX3" fmla="*/ 2983481 w 9746690"/>
              <a:gd name="connsiteY3" fmla="*/ 9249853 h 9249892"/>
              <a:gd name="connsiteX4" fmla="*/ 34101 w 9746690"/>
              <a:gd name="connsiteY4" fmla="*/ 5426694 h 9249892"/>
              <a:gd name="connsiteX0" fmla="*/ 18689 w 9731278"/>
              <a:gd name="connsiteY0" fmla="*/ 5426694 h 9249853"/>
              <a:gd name="connsiteX1" fmla="*/ 5166255 w 9731278"/>
              <a:gd name="connsiteY1" fmla="*/ 190 h 9249853"/>
              <a:gd name="connsiteX2" fmla="*/ 9711758 w 9731278"/>
              <a:gd name="connsiteY2" fmla="*/ 5362204 h 9249853"/>
              <a:gd name="connsiteX3" fmla="*/ 2968069 w 9731278"/>
              <a:gd name="connsiteY3" fmla="*/ 9249853 h 9249853"/>
              <a:gd name="connsiteX4" fmla="*/ 18689 w 9731278"/>
              <a:gd name="connsiteY4" fmla="*/ 5426694 h 9249853"/>
              <a:gd name="connsiteX0" fmla="*/ 2968069 w 9731278"/>
              <a:gd name="connsiteY0" fmla="*/ 9249853 h 9319895"/>
              <a:gd name="connsiteX1" fmla="*/ 18689 w 9731278"/>
              <a:gd name="connsiteY1" fmla="*/ 5426694 h 9319895"/>
              <a:gd name="connsiteX2" fmla="*/ 5166255 w 9731278"/>
              <a:gd name="connsiteY2" fmla="*/ 190 h 9319895"/>
              <a:gd name="connsiteX3" fmla="*/ 9711758 w 9731278"/>
              <a:gd name="connsiteY3" fmla="*/ 5362204 h 9319895"/>
              <a:gd name="connsiteX4" fmla="*/ 3052544 w 9731278"/>
              <a:gd name="connsiteY4" fmla="*/ 9319895 h 9319895"/>
              <a:gd name="connsiteX0" fmla="*/ 2949380 w 9712589"/>
              <a:gd name="connsiteY0" fmla="*/ 9249853 h 9319895"/>
              <a:gd name="connsiteX1" fmla="*/ 0 w 9712589"/>
              <a:gd name="connsiteY1" fmla="*/ 5426694 h 9319895"/>
              <a:gd name="connsiteX2" fmla="*/ 5147566 w 9712589"/>
              <a:gd name="connsiteY2" fmla="*/ 190 h 9319895"/>
              <a:gd name="connsiteX3" fmla="*/ 9693069 w 9712589"/>
              <a:gd name="connsiteY3" fmla="*/ 5362204 h 9319895"/>
              <a:gd name="connsiteX4" fmla="*/ 3033855 w 9712589"/>
              <a:gd name="connsiteY4" fmla="*/ 9319895 h 9319895"/>
              <a:gd name="connsiteX0" fmla="*/ 2949392 w 9712601"/>
              <a:gd name="connsiteY0" fmla="*/ 9249853 h 9319895"/>
              <a:gd name="connsiteX1" fmla="*/ 12 w 9712601"/>
              <a:gd name="connsiteY1" fmla="*/ 5426694 h 9319895"/>
              <a:gd name="connsiteX2" fmla="*/ 5147578 w 9712601"/>
              <a:gd name="connsiteY2" fmla="*/ 190 h 9319895"/>
              <a:gd name="connsiteX3" fmla="*/ 9693081 w 9712601"/>
              <a:gd name="connsiteY3" fmla="*/ 5362204 h 9319895"/>
              <a:gd name="connsiteX4" fmla="*/ 3033867 w 9712601"/>
              <a:gd name="connsiteY4" fmla="*/ 9319895 h 9319895"/>
              <a:gd name="connsiteX0" fmla="*/ 3737167 w 10500376"/>
              <a:gd name="connsiteY0" fmla="*/ 9249853 h 9319895"/>
              <a:gd name="connsiteX1" fmla="*/ 9 w 10500376"/>
              <a:gd name="connsiteY1" fmla="*/ 5254425 h 9319895"/>
              <a:gd name="connsiteX2" fmla="*/ 5935353 w 10500376"/>
              <a:gd name="connsiteY2" fmla="*/ 190 h 9319895"/>
              <a:gd name="connsiteX3" fmla="*/ 10480856 w 10500376"/>
              <a:gd name="connsiteY3" fmla="*/ 5362204 h 9319895"/>
              <a:gd name="connsiteX4" fmla="*/ 3821642 w 10500376"/>
              <a:gd name="connsiteY4" fmla="*/ 9319895 h 9319895"/>
              <a:gd name="connsiteX0" fmla="*/ 4483824 w 11247033"/>
              <a:gd name="connsiteY0" fmla="*/ 9249853 h 9319895"/>
              <a:gd name="connsiteX1" fmla="*/ 8 w 11247033"/>
              <a:gd name="connsiteY1" fmla="*/ 5537439 h 9319895"/>
              <a:gd name="connsiteX2" fmla="*/ 6682010 w 11247033"/>
              <a:gd name="connsiteY2" fmla="*/ 190 h 9319895"/>
              <a:gd name="connsiteX3" fmla="*/ 11227513 w 11247033"/>
              <a:gd name="connsiteY3" fmla="*/ 5362204 h 9319895"/>
              <a:gd name="connsiteX4" fmla="*/ 4568299 w 11247033"/>
              <a:gd name="connsiteY4" fmla="*/ 9319895 h 9319895"/>
              <a:gd name="connsiteX0" fmla="*/ 4486221 w 11249430"/>
              <a:gd name="connsiteY0" fmla="*/ 9249853 h 9319895"/>
              <a:gd name="connsiteX1" fmla="*/ 8 w 11249430"/>
              <a:gd name="connsiteY1" fmla="*/ 5531472 h 9319895"/>
              <a:gd name="connsiteX2" fmla="*/ 6684407 w 11249430"/>
              <a:gd name="connsiteY2" fmla="*/ 190 h 9319895"/>
              <a:gd name="connsiteX3" fmla="*/ 11229910 w 11249430"/>
              <a:gd name="connsiteY3" fmla="*/ 5362204 h 9319895"/>
              <a:gd name="connsiteX4" fmla="*/ 4570696 w 11249430"/>
              <a:gd name="connsiteY4" fmla="*/ 9319895 h 9319895"/>
              <a:gd name="connsiteX0" fmla="*/ 4493418 w 11249430"/>
              <a:gd name="connsiteY0" fmla="*/ 9255820 h 9319895"/>
              <a:gd name="connsiteX1" fmla="*/ 8 w 11249430"/>
              <a:gd name="connsiteY1" fmla="*/ 5531472 h 9319895"/>
              <a:gd name="connsiteX2" fmla="*/ 6684407 w 11249430"/>
              <a:gd name="connsiteY2" fmla="*/ 190 h 9319895"/>
              <a:gd name="connsiteX3" fmla="*/ 11229910 w 11249430"/>
              <a:gd name="connsiteY3" fmla="*/ 5362204 h 9319895"/>
              <a:gd name="connsiteX4" fmla="*/ 4570696 w 11249430"/>
              <a:gd name="connsiteY4" fmla="*/ 9319895 h 9319895"/>
              <a:gd name="connsiteX0" fmla="*/ 4493418 w 11249430"/>
              <a:gd name="connsiteY0" fmla="*/ 9255820 h 9319895"/>
              <a:gd name="connsiteX1" fmla="*/ 8 w 11249430"/>
              <a:gd name="connsiteY1" fmla="*/ 5531472 h 9319895"/>
              <a:gd name="connsiteX2" fmla="*/ 6684407 w 11249430"/>
              <a:gd name="connsiteY2" fmla="*/ 190 h 9319895"/>
              <a:gd name="connsiteX3" fmla="*/ 11229910 w 11249430"/>
              <a:gd name="connsiteY3" fmla="*/ 5362204 h 9319895"/>
              <a:gd name="connsiteX4" fmla="*/ 4570696 w 11249430"/>
              <a:gd name="connsiteY4" fmla="*/ 9319895 h 9319895"/>
              <a:gd name="connsiteX0" fmla="*/ 4476826 w 11249430"/>
              <a:gd name="connsiteY0" fmla="*/ 9293653 h 9319895"/>
              <a:gd name="connsiteX1" fmla="*/ 8 w 11249430"/>
              <a:gd name="connsiteY1" fmla="*/ 5531472 h 9319895"/>
              <a:gd name="connsiteX2" fmla="*/ 6684407 w 11249430"/>
              <a:gd name="connsiteY2" fmla="*/ 190 h 9319895"/>
              <a:gd name="connsiteX3" fmla="*/ 11229910 w 11249430"/>
              <a:gd name="connsiteY3" fmla="*/ 5362204 h 9319895"/>
              <a:gd name="connsiteX4" fmla="*/ 4570696 w 11249430"/>
              <a:gd name="connsiteY4" fmla="*/ 9319895 h 9319895"/>
              <a:gd name="connsiteX0" fmla="*/ 4489270 w 11249430"/>
              <a:gd name="connsiteY0" fmla="*/ 9259259 h 9319895"/>
              <a:gd name="connsiteX1" fmla="*/ 8 w 11249430"/>
              <a:gd name="connsiteY1" fmla="*/ 5531472 h 9319895"/>
              <a:gd name="connsiteX2" fmla="*/ 6684407 w 11249430"/>
              <a:gd name="connsiteY2" fmla="*/ 190 h 9319895"/>
              <a:gd name="connsiteX3" fmla="*/ 11229910 w 11249430"/>
              <a:gd name="connsiteY3" fmla="*/ 5362204 h 9319895"/>
              <a:gd name="connsiteX4" fmla="*/ 4570696 w 11249430"/>
              <a:gd name="connsiteY4" fmla="*/ 9319895 h 9319895"/>
              <a:gd name="connsiteX0" fmla="*/ 4489270 w 11249430"/>
              <a:gd name="connsiteY0" fmla="*/ 9259259 h 9319895"/>
              <a:gd name="connsiteX1" fmla="*/ 8 w 11249430"/>
              <a:gd name="connsiteY1" fmla="*/ 5531472 h 9319895"/>
              <a:gd name="connsiteX2" fmla="*/ 6684407 w 11249430"/>
              <a:gd name="connsiteY2" fmla="*/ 190 h 9319895"/>
              <a:gd name="connsiteX3" fmla="*/ 11229910 w 11249430"/>
              <a:gd name="connsiteY3" fmla="*/ 5362204 h 9319895"/>
              <a:gd name="connsiteX4" fmla="*/ 4570696 w 11249430"/>
              <a:gd name="connsiteY4" fmla="*/ 9319895 h 9319895"/>
              <a:gd name="connsiteX0" fmla="*/ 4489270 w 11249301"/>
              <a:gd name="connsiteY0" fmla="*/ 9259259 h 9259706"/>
              <a:gd name="connsiteX1" fmla="*/ 8 w 11249301"/>
              <a:gd name="connsiteY1" fmla="*/ 5531472 h 9259706"/>
              <a:gd name="connsiteX2" fmla="*/ 6684407 w 11249301"/>
              <a:gd name="connsiteY2" fmla="*/ 190 h 9259706"/>
              <a:gd name="connsiteX3" fmla="*/ 11229910 w 11249301"/>
              <a:gd name="connsiteY3" fmla="*/ 5362204 h 9259706"/>
              <a:gd name="connsiteX4" fmla="*/ 4493957 w 11249301"/>
              <a:gd name="connsiteY4" fmla="*/ 9259706 h 9259706"/>
              <a:gd name="connsiteX0" fmla="*/ 4489270 w 10108623"/>
              <a:gd name="connsiteY0" fmla="*/ 9259306 h 9259753"/>
              <a:gd name="connsiteX1" fmla="*/ 8 w 10108623"/>
              <a:gd name="connsiteY1" fmla="*/ 5531519 h 9259753"/>
              <a:gd name="connsiteX2" fmla="*/ 6684407 w 10108623"/>
              <a:gd name="connsiteY2" fmla="*/ 237 h 9259753"/>
              <a:gd name="connsiteX3" fmla="*/ 10083688 w 10108623"/>
              <a:gd name="connsiteY3" fmla="*/ 4585876 h 9259753"/>
              <a:gd name="connsiteX4" fmla="*/ 4493957 w 10108623"/>
              <a:gd name="connsiteY4" fmla="*/ 9259753 h 9259753"/>
              <a:gd name="connsiteX0" fmla="*/ 4489270 w 10083715"/>
              <a:gd name="connsiteY0" fmla="*/ 9259219 h 9259666"/>
              <a:gd name="connsiteX1" fmla="*/ 8 w 10083715"/>
              <a:gd name="connsiteY1" fmla="*/ 5531432 h 9259666"/>
              <a:gd name="connsiteX2" fmla="*/ 6684407 w 10083715"/>
              <a:gd name="connsiteY2" fmla="*/ 150 h 9259666"/>
              <a:gd name="connsiteX3" fmla="*/ 10083688 w 10083715"/>
              <a:gd name="connsiteY3" fmla="*/ 4585789 h 9259666"/>
              <a:gd name="connsiteX4" fmla="*/ 4493957 w 10083715"/>
              <a:gd name="connsiteY4" fmla="*/ 9259666 h 9259666"/>
              <a:gd name="connsiteX0" fmla="*/ 4489270 w 10083695"/>
              <a:gd name="connsiteY0" fmla="*/ 9259227 h 9259674"/>
              <a:gd name="connsiteX1" fmla="*/ 8 w 10083695"/>
              <a:gd name="connsiteY1" fmla="*/ 5531440 h 9259674"/>
              <a:gd name="connsiteX2" fmla="*/ 6684407 w 10083695"/>
              <a:gd name="connsiteY2" fmla="*/ 158 h 9259674"/>
              <a:gd name="connsiteX3" fmla="*/ 10083688 w 10083695"/>
              <a:gd name="connsiteY3" fmla="*/ 4585797 h 9259674"/>
              <a:gd name="connsiteX4" fmla="*/ 4493957 w 10083695"/>
              <a:gd name="connsiteY4" fmla="*/ 9259674 h 9259674"/>
              <a:gd name="connsiteX0" fmla="*/ 4489270 w 10139693"/>
              <a:gd name="connsiteY0" fmla="*/ 9259227 h 9259674"/>
              <a:gd name="connsiteX1" fmla="*/ 8 w 10139693"/>
              <a:gd name="connsiteY1" fmla="*/ 5531440 h 9259674"/>
              <a:gd name="connsiteX2" fmla="*/ 6684407 w 10139693"/>
              <a:gd name="connsiteY2" fmla="*/ 158 h 9259674"/>
              <a:gd name="connsiteX3" fmla="*/ 10139686 w 10139693"/>
              <a:gd name="connsiteY3" fmla="*/ 4585797 h 9259674"/>
              <a:gd name="connsiteX4" fmla="*/ 4493957 w 10139693"/>
              <a:gd name="connsiteY4" fmla="*/ 9259674 h 9259674"/>
              <a:gd name="connsiteX0" fmla="*/ 4489270 w 10139693"/>
              <a:gd name="connsiteY0" fmla="*/ 9259227 h 9259674"/>
              <a:gd name="connsiteX1" fmla="*/ 8 w 10139693"/>
              <a:gd name="connsiteY1" fmla="*/ 5531440 h 9259674"/>
              <a:gd name="connsiteX2" fmla="*/ 3375776 w 10139693"/>
              <a:gd name="connsiteY2" fmla="*/ 2720028 h 9259674"/>
              <a:gd name="connsiteX3" fmla="*/ 6684407 w 10139693"/>
              <a:gd name="connsiteY3" fmla="*/ 158 h 9259674"/>
              <a:gd name="connsiteX4" fmla="*/ 10139686 w 10139693"/>
              <a:gd name="connsiteY4" fmla="*/ 4585797 h 9259674"/>
              <a:gd name="connsiteX5" fmla="*/ 4493957 w 10139693"/>
              <a:gd name="connsiteY5" fmla="*/ 9259674 h 9259674"/>
              <a:gd name="connsiteX0" fmla="*/ 4498544 w 10148967"/>
              <a:gd name="connsiteY0" fmla="*/ 9259227 h 9259674"/>
              <a:gd name="connsiteX1" fmla="*/ 9282 w 10148967"/>
              <a:gd name="connsiteY1" fmla="*/ 5531440 h 9259674"/>
              <a:gd name="connsiteX2" fmla="*/ 0 w 10148967"/>
              <a:gd name="connsiteY2" fmla="*/ 188085 h 9259674"/>
              <a:gd name="connsiteX3" fmla="*/ 6693681 w 10148967"/>
              <a:gd name="connsiteY3" fmla="*/ 158 h 9259674"/>
              <a:gd name="connsiteX4" fmla="*/ 10148960 w 10148967"/>
              <a:gd name="connsiteY4" fmla="*/ 4585797 h 9259674"/>
              <a:gd name="connsiteX5" fmla="*/ 4503231 w 10148967"/>
              <a:gd name="connsiteY5" fmla="*/ 9259674 h 9259674"/>
              <a:gd name="connsiteX0" fmla="*/ 4498545 w 10148968"/>
              <a:gd name="connsiteY0" fmla="*/ 9259227 h 9259674"/>
              <a:gd name="connsiteX1" fmla="*/ 8 w 10148968"/>
              <a:gd name="connsiteY1" fmla="*/ 9148501 h 9259674"/>
              <a:gd name="connsiteX2" fmla="*/ 1 w 10148968"/>
              <a:gd name="connsiteY2" fmla="*/ 188085 h 9259674"/>
              <a:gd name="connsiteX3" fmla="*/ 6693682 w 10148968"/>
              <a:gd name="connsiteY3" fmla="*/ 158 h 9259674"/>
              <a:gd name="connsiteX4" fmla="*/ 10148961 w 10148968"/>
              <a:gd name="connsiteY4" fmla="*/ 4585797 h 9259674"/>
              <a:gd name="connsiteX5" fmla="*/ 4503232 w 10148968"/>
              <a:gd name="connsiteY5" fmla="*/ 9259674 h 9259674"/>
              <a:gd name="connsiteX0" fmla="*/ 4498545 w 10149269"/>
              <a:gd name="connsiteY0" fmla="*/ 9259305 h 9259304"/>
              <a:gd name="connsiteX1" fmla="*/ 8 w 10149269"/>
              <a:gd name="connsiteY1" fmla="*/ 9148579 h 9259304"/>
              <a:gd name="connsiteX2" fmla="*/ 1 w 10149269"/>
              <a:gd name="connsiteY2" fmla="*/ 188163 h 9259304"/>
              <a:gd name="connsiteX3" fmla="*/ 6693682 w 10149269"/>
              <a:gd name="connsiteY3" fmla="*/ 236 h 9259304"/>
              <a:gd name="connsiteX4" fmla="*/ 10148961 w 10149269"/>
              <a:gd name="connsiteY4" fmla="*/ 4585875 h 9259304"/>
              <a:gd name="connsiteX5" fmla="*/ 6914501 w 10149269"/>
              <a:gd name="connsiteY5" fmla="*/ 9158474 h 9259304"/>
              <a:gd name="connsiteX0" fmla="*/ 4498545 w 10351907"/>
              <a:gd name="connsiteY0" fmla="*/ 9259267 h 9259268"/>
              <a:gd name="connsiteX1" fmla="*/ 8 w 10351907"/>
              <a:gd name="connsiteY1" fmla="*/ 9148541 h 9259268"/>
              <a:gd name="connsiteX2" fmla="*/ 1 w 10351907"/>
              <a:gd name="connsiteY2" fmla="*/ 188125 h 9259268"/>
              <a:gd name="connsiteX3" fmla="*/ 6693682 w 10351907"/>
              <a:gd name="connsiteY3" fmla="*/ 198 h 9259268"/>
              <a:gd name="connsiteX4" fmla="*/ 10148961 w 10351907"/>
              <a:gd name="connsiteY4" fmla="*/ 4585837 h 9259268"/>
              <a:gd name="connsiteX5" fmla="*/ 6914501 w 10351907"/>
              <a:gd name="connsiteY5" fmla="*/ 9158436 h 9259268"/>
              <a:gd name="connsiteX0" fmla="*/ 4498545 w 10149002"/>
              <a:gd name="connsiteY0" fmla="*/ 9259229 h 9259229"/>
              <a:gd name="connsiteX1" fmla="*/ 8 w 10149002"/>
              <a:gd name="connsiteY1" fmla="*/ 9148503 h 9259229"/>
              <a:gd name="connsiteX2" fmla="*/ 1 w 10149002"/>
              <a:gd name="connsiteY2" fmla="*/ 188087 h 9259229"/>
              <a:gd name="connsiteX3" fmla="*/ 6693682 w 10149002"/>
              <a:gd name="connsiteY3" fmla="*/ 160 h 9259229"/>
              <a:gd name="connsiteX4" fmla="*/ 10148961 w 10149002"/>
              <a:gd name="connsiteY4" fmla="*/ 4585799 h 9259229"/>
              <a:gd name="connsiteX5" fmla="*/ 6914501 w 10149002"/>
              <a:gd name="connsiteY5" fmla="*/ 9158398 h 9259229"/>
              <a:gd name="connsiteX0" fmla="*/ 4498545 w 9212332"/>
              <a:gd name="connsiteY0" fmla="*/ 9262050 h 9262050"/>
              <a:gd name="connsiteX1" fmla="*/ 8 w 9212332"/>
              <a:gd name="connsiteY1" fmla="*/ 9151324 h 9262050"/>
              <a:gd name="connsiteX2" fmla="*/ 1 w 9212332"/>
              <a:gd name="connsiteY2" fmla="*/ 190908 h 9262050"/>
              <a:gd name="connsiteX3" fmla="*/ 6693682 w 9212332"/>
              <a:gd name="connsiteY3" fmla="*/ 2981 h 9262050"/>
              <a:gd name="connsiteX4" fmla="*/ 9212276 w 9212332"/>
              <a:gd name="connsiteY4" fmla="*/ 204742 h 9262050"/>
              <a:gd name="connsiteX5" fmla="*/ 6914501 w 9212332"/>
              <a:gd name="connsiteY5" fmla="*/ 9161219 h 9262050"/>
              <a:gd name="connsiteX0" fmla="*/ 4498545 w 9212707"/>
              <a:gd name="connsiteY0" fmla="*/ 9737363 h 9737363"/>
              <a:gd name="connsiteX1" fmla="*/ 8 w 9212707"/>
              <a:gd name="connsiteY1" fmla="*/ 9626637 h 9737363"/>
              <a:gd name="connsiteX2" fmla="*/ 1 w 9212707"/>
              <a:gd name="connsiteY2" fmla="*/ 666221 h 9737363"/>
              <a:gd name="connsiteX3" fmla="*/ 6693683 w 9212707"/>
              <a:gd name="connsiteY3" fmla="*/ 651914 h 9737363"/>
              <a:gd name="connsiteX4" fmla="*/ 9212276 w 9212707"/>
              <a:gd name="connsiteY4" fmla="*/ 680055 h 9737363"/>
              <a:gd name="connsiteX5" fmla="*/ 6914501 w 9212707"/>
              <a:gd name="connsiteY5" fmla="*/ 9636532 h 9737363"/>
              <a:gd name="connsiteX0" fmla="*/ 4498545 w 9212707"/>
              <a:gd name="connsiteY0" fmla="*/ 9737363 h 9737363"/>
              <a:gd name="connsiteX1" fmla="*/ 8 w 9212707"/>
              <a:gd name="connsiteY1" fmla="*/ 9626637 h 9737363"/>
              <a:gd name="connsiteX2" fmla="*/ 1 w 9212707"/>
              <a:gd name="connsiteY2" fmla="*/ 666221 h 9737363"/>
              <a:gd name="connsiteX3" fmla="*/ 6693683 w 9212707"/>
              <a:gd name="connsiteY3" fmla="*/ 651914 h 9737363"/>
              <a:gd name="connsiteX4" fmla="*/ 9212276 w 9212707"/>
              <a:gd name="connsiteY4" fmla="*/ 680055 h 9737363"/>
              <a:gd name="connsiteX5" fmla="*/ 6914501 w 9212707"/>
              <a:gd name="connsiteY5" fmla="*/ 9636532 h 9737363"/>
              <a:gd name="connsiteX0" fmla="*/ 4498545 w 9390870"/>
              <a:gd name="connsiteY0" fmla="*/ 9097393 h 9097393"/>
              <a:gd name="connsiteX1" fmla="*/ 8 w 9390870"/>
              <a:gd name="connsiteY1" fmla="*/ 8986667 h 9097393"/>
              <a:gd name="connsiteX2" fmla="*/ 1 w 9390870"/>
              <a:gd name="connsiteY2" fmla="*/ 26251 h 9097393"/>
              <a:gd name="connsiteX3" fmla="*/ 6693683 w 9390870"/>
              <a:gd name="connsiteY3" fmla="*/ 11944 h 9097393"/>
              <a:gd name="connsiteX4" fmla="*/ 9212276 w 9390870"/>
              <a:gd name="connsiteY4" fmla="*/ 40085 h 9097393"/>
              <a:gd name="connsiteX5" fmla="*/ 6914501 w 9390870"/>
              <a:gd name="connsiteY5" fmla="*/ 8996562 h 9097393"/>
              <a:gd name="connsiteX0" fmla="*/ 4498545 w 9212391"/>
              <a:gd name="connsiteY0" fmla="*/ 9092655 h 9092655"/>
              <a:gd name="connsiteX1" fmla="*/ 8 w 9212391"/>
              <a:gd name="connsiteY1" fmla="*/ 8981929 h 9092655"/>
              <a:gd name="connsiteX2" fmla="*/ 1 w 9212391"/>
              <a:gd name="connsiteY2" fmla="*/ 21513 h 9092655"/>
              <a:gd name="connsiteX3" fmla="*/ 6693683 w 9212391"/>
              <a:gd name="connsiteY3" fmla="*/ 7206 h 9092655"/>
              <a:gd name="connsiteX4" fmla="*/ 9212276 w 9212391"/>
              <a:gd name="connsiteY4" fmla="*/ 35347 h 9092655"/>
              <a:gd name="connsiteX5" fmla="*/ 6914501 w 9212391"/>
              <a:gd name="connsiteY5" fmla="*/ 8991824 h 9092655"/>
              <a:gd name="connsiteX0" fmla="*/ 6779975 w 9212390"/>
              <a:gd name="connsiteY0" fmla="*/ 8991378 h 8991824"/>
              <a:gd name="connsiteX1" fmla="*/ 7 w 9212390"/>
              <a:gd name="connsiteY1" fmla="*/ 8981929 h 8991824"/>
              <a:gd name="connsiteX2" fmla="*/ 0 w 9212390"/>
              <a:gd name="connsiteY2" fmla="*/ 21513 h 8991824"/>
              <a:gd name="connsiteX3" fmla="*/ 6693682 w 9212390"/>
              <a:gd name="connsiteY3" fmla="*/ 7206 h 8991824"/>
              <a:gd name="connsiteX4" fmla="*/ 9212275 w 9212390"/>
              <a:gd name="connsiteY4" fmla="*/ 35347 h 8991824"/>
              <a:gd name="connsiteX5" fmla="*/ 6914500 w 9212390"/>
              <a:gd name="connsiteY5" fmla="*/ 8991824 h 8991824"/>
              <a:gd name="connsiteX0" fmla="*/ 6779975 w 10176864"/>
              <a:gd name="connsiteY0" fmla="*/ 8992587 h 8993033"/>
              <a:gd name="connsiteX1" fmla="*/ 7 w 10176864"/>
              <a:gd name="connsiteY1" fmla="*/ 8983138 h 8993033"/>
              <a:gd name="connsiteX2" fmla="*/ 0 w 10176864"/>
              <a:gd name="connsiteY2" fmla="*/ 22722 h 8993033"/>
              <a:gd name="connsiteX3" fmla="*/ 6693682 w 10176864"/>
              <a:gd name="connsiteY3" fmla="*/ 8415 h 8993033"/>
              <a:gd name="connsiteX4" fmla="*/ 10176783 w 10176864"/>
              <a:gd name="connsiteY4" fmla="*/ 22088 h 8993033"/>
              <a:gd name="connsiteX5" fmla="*/ 6914500 w 10176864"/>
              <a:gd name="connsiteY5" fmla="*/ 8993033 h 8993033"/>
              <a:gd name="connsiteX0" fmla="*/ 6779975 w 10436327"/>
              <a:gd name="connsiteY0" fmla="*/ 9643459 h 9643768"/>
              <a:gd name="connsiteX1" fmla="*/ 7 w 10436327"/>
              <a:gd name="connsiteY1" fmla="*/ 9634010 h 9643768"/>
              <a:gd name="connsiteX2" fmla="*/ 0 w 10436327"/>
              <a:gd name="connsiteY2" fmla="*/ 673594 h 9643768"/>
              <a:gd name="connsiteX3" fmla="*/ 6693682 w 10436327"/>
              <a:gd name="connsiteY3" fmla="*/ 659287 h 9643768"/>
              <a:gd name="connsiteX4" fmla="*/ 10176783 w 10436327"/>
              <a:gd name="connsiteY4" fmla="*/ 672960 h 9643768"/>
              <a:gd name="connsiteX5" fmla="*/ 10178986 w 10436327"/>
              <a:gd name="connsiteY5" fmla="*/ 9600500 h 9643768"/>
              <a:gd name="connsiteX0" fmla="*/ 6779975 w 10178993"/>
              <a:gd name="connsiteY0" fmla="*/ 9026580 h 9026888"/>
              <a:gd name="connsiteX1" fmla="*/ 7 w 10178993"/>
              <a:gd name="connsiteY1" fmla="*/ 9017131 h 9026888"/>
              <a:gd name="connsiteX2" fmla="*/ 0 w 10178993"/>
              <a:gd name="connsiteY2" fmla="*/ 56715 h 9026888"/>
              <a:gd name="connsiteX3" fmla="*/ 6693682 w 10178993"/>
              <a:gd name="connsiteY3" fmla="*/ 42408 h 9026888"/>
              <a:gd name="connsiteX4" fmla="*/ 10176783 w 10178993"/>
              <a:gd name="connsiteY4" fmla="*/ 56081 h 9026888"/>
              <a:gd name="connsiteX5" fmla="*/ 10178986 w 10178993"/>
              <a:gd name="connsiteY5" fmla="*/ 8983621 h 9026888"/>
              <a:gd name="connsiteX0" fmla="*/ 6779975 w 10179588"/>
              <a:gd name="connsiteY0" fmla="*/ 8992620 h 8992928"/>
              <a:gd name="connsiteX1" fmla="*/ 7 w 10179588"/>
              <a:gd name="connsiteY1" fmla="*/ 8983171 h 8992928"/>
              <a:gd name="connsiteX2" fmla="*/ 0 w 10179588"/>
              <a:gd name="connsiteY2" fmla="*/ 22755 h 8992928"/>
              <a:gd name="connsiteX3" fmla="*/ 6693682 w 10179588"/>
              <a:gd name="connsiteY3" fmla="*/ 8448 h 8992928"/>
              <a:gd name="connsiteX4" fmla="*/ 10176783 w 10179588"/>
              <a:gd name="connsiteY4" fmla="*/ 22121 h 8992928"/>
              <a:gd name="connsiteX5" fmla="*/ 10178986 w 10179588"/>
              <a:gd name="connsiteY5" fmla="*/ 8949661 h 899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588" h="8992928">
                <a:moveTo>
                  <a:pt x="6779975" y="8992620"/>
                </a:moveTo>
                <a:cubicBezTo>
                  <a:pt x="6782483" y="8990776"/>
                  <a:pt x="-6988" y="8998367"/>
                  <a:pt x="7" y="8983171"/>
                </a:cubicBezTo>
                <a:cubicBezTo>
                  <a:pt x="5" y="5996366"/>
                  <a:pt x="2" y="3009560"/>
                  <a:pt x="0" y="22755"/>
                </a:cubicBezTo>
                <a:lnTo>
                  <a:pt x="6693682" y="8448"/>
                </a:lnTo>
                <a:cubicBezTo>
                  <a:pt x="6693560" y="-22895"/>
                  <a:pt x="10190172" y="44747"/>
                  <a:pt x="10176783" y="22121"/>
                </a:cubicBezTo>
                <a:cubicBezTo>
                  <a:pt x="10168641" y="8362"/>
                  <a:pt x="10182571" y="8950455"/>
                  <a:pt x="10178986" y="8949661"/>
                </a:cubicBezTo>
              </a:path>
            </a:pathLst>
          </a:custGeom>
        </p:spPr>
        <p:txBody>
          <a:bodyPr/>
          <a:lstStyle/>
          <a:p>
            <a:r>
              <a:rPr lang="fi-FI"/>
              <a:t>Lisää kuva napsauttamalla kuvaketta</a:t>
            </a:r>
            <a:endParaRPr lang="en-FI"/>
          </a:p>
        </p:txBody>
      </p:sp>
      <p:sp>
        <p:nvSpPr>
          <p:cNvPr id="9" name="Title 1">
            <a:extLst>
              <a:ext uri="{FF2B5EF4-FFF2-40B4-BE49-F238E27FC236}">
                <a16:creationId xmlns:a16="http://schemas.microsoft.com/office/drawing/2014/main" id="{FC05906E-845F-9B47-465D-C6D22DBC0E8F}"/>
              </a:ext>
            </a:extLst>
          </p:cNvPr>
          <p:cNvSpPr>
            <a:spLocks noGrp="1"/>
          </p:cNvSpPr>
          <p:nvPr>
            <p:ph type="title" hasCustomPrompt="1"/>
          </p:nvPr>
        </p:nvSpPr>
        <p:spPr>
          <a:xfrm>
            <a:off x="914400" y="4092498"/>
            <a:ext cx="7538224" cy="2149276"/>
          </a:xfrm>
        </p:spPr>
        <p:txBody>
          <a:bodyPr anchor="b" anchorCtr="0">
            <a:noAutofit/>
          </a:bodyPr>
          <a:lstStyle>
            <a:lvl1pPr>
              <a:defRPr sz="8000" b="1" i="0" spc="-150" baseline="0">
                <a:solidFill>
                  <a:schemeClr val="bg1"/>
                </a:solidFill>
                <a:latin typeface="Poppins" pitchFamily="2" charset="77"/>
                <a:cs typeface="Poppins" pitchFamily="2" charset="77"/>
              </a:defRPr>
            </a:lvl1pPr>
          </a:lstStyle>
          <a:p>
            <a:r>
              <a:rPr lang="fi-FI"/>
              <a:t>Kirjoita Vantaa tai Vanda</a:t>
            </a:r>
            <a:endParaRPr lang="en-FI"/>
          </a:p>
        </p:txBody>
      </p:sp>
      <p:sp>
        <p:nvSpPr>
          <p:cNvPr id="16" name="Pystysuoran tekstin paikkamerkki 15">
            <a:extLst>
              <a:ext uri="{FF2B5EF4-FFF2-40B4-BE49-F238E27FC236}">
                <a16:creationId xmlns:a16="http://schemas.microsoft.com/office/drawing/2014/main" id="{26E33632-FC4B-60CB-0870-8480FFAA8472}"/>
              </a:ext>
            </a:extLst>
          </p:cNvPr>
          <p:cNvSpPr>
            <a:spLocks noGrp="1"/>
          </p:cNvSpPr>
          <p:nvPr>
            <p:ph type="body" orient="vert" sz="quarter" idx="14" hasCustomPrompt="1"/>
          </p:nvPr>
        </p:nvSpPr>
        <p:spPr>
          <a:xfrm rot="10800000">
            <a:off x="10270272" y="568711"/>
            <a:ext cx="1516953" cy="4803543"/>
          </a:xfrm>
        </p:spPr>
        <p:txBody>
          <a:bodyPr vert="eaVert">
            <a:normAutofit/>
          </a:bodyPr>
          <a:lstStyle>
            <a:lvl1pPr marL="0" indent="0" algn="r">
              <a:buFontTx/>
              <a:buNone/>
              <a:defRPr sz="8000" b="1" spc="-150" baseline="0">
                <a:solidFill>
                  <a:schemeClr val="bg1"/>
                </a:solidFill>
              </a:defRPr>
            </a:lvl1pPr>
          </a:lstStyle>
          <a:p>
            <a:pPr lvl="0"/>
            <a:r>
              <a:rPr lang="fi-FI"/>
              <a:t>Kirjoita</a:t>
            </a:r>
          </a:p>
        </p:txBody>
      </p:sp>
    </p:spTree>
    <p:extLst>
      <p:ext uri="{BB962C8B-B14F-4D97-AF65-F5344CB8AC3E}">
        <p14:creationId xmlns:p14="http://schemas.microsoft.com/office/powerpoint/2010/main" val="401779767"/>
      </p:ext>
    </p:extLst>
  </p:cSld>
  <p:clrMapOvr>
    <a:masterClrMapping/>
  </p:clrMapOvr>
  <p:hf sldNum="0"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umerointi 2">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1325563"/>
          </a:xfrm>
          <a:prstGeom prst="rect">
            <a:avLst/>
          </a:prstGeom>
        </p:spPr>
        <p:txBody>
          <a:bodyPr/>
          <a:lstStyle>
            <a:lvl1pPr>
              <a:defRPr>
                <a:latin typeface="Arial Black"/>
                <a:cs typeface="Arial Black"/>
              </a:defRPr>
            </a:lvl1pPr>
          </a:lstStyle>
          <a:p>
            <a:r>
              <a:rPr lang="fi-FI" noProof="0"/>
              <a:t>Muokkaa ots. perustyyl. napsautt.</a:t>
            </a:r>
            <a:endParaRPr lang="fi-FI" noProof="0" dirty="0"/>
          </a:p>
        </p:txBody>
      </p:sp>
      <p:sp>
        <p:nvSpPr>
          <p:cNvPr id="19" name="Text Placeholder 18"/>
          <p:cNvSpPr>
            <a:spLocks noGrp="1"/>
          </p:cNvSpPr>
          <p:nvPr>
            <p:ph type="body" sz="quarter" idx="16"/>
          </p:nvPr>
        </p:nvSpPr>
        <p:spPr>
          <a:xfrm>
            <a:off x="2720283" y="2040205"/>
            <a:ext cx="8629495"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5" name="Text Placeholder 18"/>
          <p:cNvSpPr>
            <a:spLocks noGrp="1"/>
          </p:cNvSpPr>
          <p:nvPr>
            <p:ph type="body" sz="quarter" idx="17"/>
          </p:nvPr>
        </p:nvSpPr>
        <p:spPr>
          <a:xfrm>
            <a:off x="2725313" y="3489558"/>
            <a:ext cx="8629495"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6" name="Text Placeholder 18"/>
          <p:cNvSpPr>
            <a:spLocks noGrp="1"/>
          </p:cNvSpPr>
          <p:nvPr>
            <p:ph type="body" sz="quarter" idx="18"/>
          </p:nvPr>
        </p:nvSpPr>
        <p:spPr>
          <a:xfrm>
            <a:off x="2712326" y="4917828"/>
            <a:ext cx="8629495"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pic>
        <p:nvPicPr>
          <p:cNvPr id="11" name="Picture 10">
            <a:extLst>
              <a:ext uri="{FF2B5EF4-FFF2-40B4-BE49-F238E27FC236}">
                <a16:creationId xmlns:a16="http://schemas.microsoft.com/office/drawing/2014/main" id="{9985DA72-B79E-9A43-8E50-55A3A1B8DE8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01610" y="0"/>
            <a:ext cx="1390389" cy="1390389"/>
          </a:xfrm>
          <a:prstGeom prst="rect">
            <a:avLst/>
          </a:prstGeom>
        </p:spPr>
      </p:pic>
      <p:sp>
        <p:nvSpPr>
          <p:cNvPr id="12" name="Rectangle 11">
            <a:extLst>
              <a:ext uri="{FF2B5EF4-FFF2-40B4-BE49-F238E27FC236}">
                <a16:creationId xmlns:a16="http://schemas.microsoft.com/office/drawing/2014/main" id="{901ADF76-DB4B-8A40-876C-507823A91007}"/>
              </a:ext>
            </a:extLst>
          </p:cNvPr>
          <p:cNvSpPr/>
          <p:nvPr userDrawn="1"/>
        </p:nvSpPr>
        <p:spPr>
          <a:xfrm>
            <a:off x="826047" y="2040070"/>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0" name="Rectangle 19">
            <a:extLst>
              <a:ext uri="{FF2B5EF4-FFF2-40B4-BE49-F238E27FC236}">
                <a16:creationId xmlns:a16="http://schemas.microsoft.com/office/drawing/2014/main" id="{5058EC07-1235-BC40-A1A8-934AC8DA6C18}"/>
              </a:ext>
            </a:extLst>
          </p:cNvPr>
          <p:cNvSpPr/>
          <p:nvPr userDrawn="1"/>
        </p:nvSpPr>
        <p:spPr>
          <a:xfrm>
            <a:off x="826047" y="3487916"/>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2" name="Rectangle 21">
            <a:extLst>
              <a:ext uri="{FF2B5EF4-FFF2-40B4-BE49-F238E27FC236}">
                <a16:creationId xmlns:a16="http://schemas.microsoft.com/office/drawing/2014/main" id="{7E2A9DBA-6CCF-F34E-ADC2-DA0ED39C4D99}"/>
              </a:ext>
            </a:extLst>
          </p:cNvPr>
          <p:cNvSpPr/>
          <p:nvPr userDrawn="1"/>
        </p:nvSpPr>
        <p:spPr>
          <a:xfrm>
            <a:off x="826641" y="4926091"/>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xt Placeholder 7">
            <a:extLst>
              <a:ext uri="{FF2B5EF4-FFF2-40B4-BE49-F238E27FC236}">
                <a16:creationId xmlns:a16="http://schemas.microsoft.com/office/drawing/2014/main" id="{05A80777-1A2E-D640-8D39-5CA16F6149DB}"/>
              </a:ext>
            </a:extLst>
          </p:cNvPr>
          <p:cNvSpPr>
            <a:spLocks noGrp="1"/>
          </p:cNvSpPr>
          <p:nvPr>
            <p:ph type="body" sz="quarter" idx="24" hasCustomPrompt="1"/>
          </p:nvPr>
        </p:nvSpPr>
        <p:spPr>
          <a:xfrm>
            <a:off x="961229" y="3631820"/>
            <a:ext cx="862012" cy="860425"/>
          </a:xfrm>
        </p:spPr>
        <p:txBody>
          <a:bodyPr anchor="ctr" anchorCtr="1">
            <a:noAutofit/>
          </a:bodyPr>
          <a:lstStyle>
            <a:lvl1pPr>
              <a:defRPr sz="6000" b="1" i="0">
                <a:solidFill>
                  <a:schemeClr val="bg1"/>
                </a:solidFill>
                <a:latin typeface="Arial Black" panose="020B0604020202020204" pitchFamily="34" charset="0"/>
                <a:cs typeface="Arial Black" panose="020B0604020202020204" pitchFamily="34" charset="0"/>
              </a:defRPr>
            </a:lvl1pPr>
          </a:lstStyle>
          <a:p>
            <a:pPr lvl="0"/>
            <a:r>
              <a:rPr lang="fi-FI" dirty="0"/>
              <a:t>X</a:t>
            </a:r>
          </a:p>
        </p:txBody>
      </p:sp>
      <p:sp>
        <p:nvSpPr>
          <p:cNvPr id="24" name="Text Placeholder 7">
            <a:extLst>
              <a:ext uri="{FF2B5EF4-FFF2-40B4-BE49-F238E27FC236}">
                <a16:creationId xmlns:a16="http://schemas.microsoft.com/office/drawing/2014/main" id="{4730AD30-D8B1-AB45-B292-76525BF7C16E}"/>
              </a:ext>
            </a:extLst>
          </p:cNvPr>
          <p:cNvSpPr>
            <a:spLocks noGrp="1"/>
          </p:cNvSpPr>
          <p:nvPr>
            <p:ph type="body" sz="quarter" idx="25" hasCustomPrompt="1"/>
          </p:nvPr>
        </p:nvSpPr>
        <p:spPr>
          <a:xfrm>
            <a:off x="962041" y="2254051"/>
            <a:ext cx="862012" cy="729943"/>
          </a:xfrm>
        </p:spPr>
        <p:txBody>
          <a:bodyPr anchor="ctr" anchorCtr="1">
            <a:noAutofit/>
          </a:bodyPr>
          <a:lstStyle>
            <a:lvl1pPr>
              <a:defRPr sz="6000" b="1" i="0">
                <a:solidFill>
                  <a:schemeClr val="bg1"/>
                </a:solidFill>
                <a:latin typeface="Arial Black" panose="020B0604020202020204" pitchFamily="34" charset="0"/>
                <a:cs typeface="Arial Black" panose="020B0604020202020204" pitchFamily="34" charset="0"/>
              </a:defRPr>
            </a:lvl1pPr>
          </a:lstStyle>
          <a:p>
            <a:pPr lvl="0"/>
            <a:r>
              <a:rPr lang="fi-FI" dirty="0"/>
              <a:t>X</a:t>
            </a:r>
          </a:p>
        </p:txBody>
      </p:sp>
      <p:sp>
        <p:nvSpPr>
          <p:cNvPr id="25" name="Text Placeholder 7">
            <a:extLst>
              <a:ext uri="{FF2B5EF4-FFF2-40B4-BE49-F238E27FC236}">
                <a16:creationId xmlns:a16="http://schemas.microsoft.com/office/drawing/2014/main" id="{571EB540-D9B9-1D4E-8A13-EA520B36144F}"/>
              </a:ext>
            </a:extLst>
          </p:cNvPr>
          <p:cNvSpPr>
            <a:spLocks noGrp="1"/>
          </p:cNvSpPr>
          <p:nvPr>
            <p:ph type="body" sz="quarter" idx="26" hasCustomPrompt="1"/>
          </p:nvPr>
        </p:nvSpPr>
        <p:spPr>
          <a:xfrm>
            <a:off x="961229" y="5074830"/>
            <a:ext cx="862012" cy="860425"/>
          </a:xfrm>
        </p:spPr>
        <p:txBody>
          <a:bodyPr anchor="ctr" anchorCtr="1">
            <a:noAutofit/>
          </a:bodyPr>
          <a:lstStyle>
            <a:lvl1pPr>
              <a:defRPr sz="6000" b="1" i="0">
                <a:solidFill>
                  <a:schemeClr val="bg1"/>
                </a:solidFill>
                <a:latin typeface="Arial Black" panose="020B0604020202020204" pitchFamily="34" charset="0"/>
                <a:cs typeface="Arial Black" panose="020B0604020202020204" pitchFamily="34" charset="0"/>
              </a:defRPr>
            </a:lvl1pPr>
          </a:lstStyle>
          <a:p>
            <a:pPr lvl="0"/>
            <a:r>
              <a:rPr lang="fi-FI" dirty="0"/>
              <a:t>X</a:t>
            </a:r>
          </a:p>
        </p:txBody>
      </p:sp>
    </p:spTree>
    <p:extLst>
      <p:ext uri="{BB962C8B-B14F-4D97-AF65-F5344CB8AC3E}">
        <p14:creationId xmlns:p14="http://schemas.microsoft.com/office/powerpoint/2010/main" val="95854541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Numerointi 2">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1325563"/>
          </a:xfrm>
          <a:prstGeom prst="rect">
            <a:avLst/>
          </a:prstGeom>
        </p:spPr>
        <p:txBody>
          <a:bodyPr/>
          <a:lstStyle>
            <a:lvl1pPr>
              <a:defRPr>
                <a:latin typeface="Arial Black"/>
                <a:cs typeface="Arial Black"/>
              </a:defRPr>
            </a:lvl1pPr>
          </a:lstStyle>
          <a:p>
            <a:r>
              <a:rPr lang="fi-FI" noProof="0"/>
              <a:t>Muokkaa ots. perustyyl. napsautt.</a:t>
            </a:r>
            <a:endParaRPr lang="fi-FI" noProof="0" dirty="0"/>
          </a:p>
        </p:txBody>
      </p:sp>
      <p:sp>
        <p:nvSpPr>
          <p:cNvPr id="19" name="Text Placeholder 18"/>
          <p:cNvSpPr>
            <a:spLocks noGrp="1"/>
          </p:cNvSpPr>
          <p:nvPr>
            <p:ph type="body" sz="quarter" idx="16"/>
          </p:nvPr>
        </p:nvSpPr>
        <p:spPr>
          <a:xfrm>
            <a:off x="2720283" y="2040205"/>
            <a:ext cx="8629495"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5" name="Text Placeholder 18"/>
          <p:cNvSpPr>
            <a:spLocks noGrp="1"/>
          </p:cNvSpPr>
          <p:nvPr>
            <p:ph type="body" sz="quarter" idx="17"/>
          </p:nvPr>
        </p:nvSpPr>
        <p:spPr>
          <a:xfrm>
            <a:off x="2725313" y="3489558"/>
            <a:ext cx="8629495"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6" name="Text Placeholder 18"/>
          <p:cNvSpPr>
            <a:spLocks noGrp="1"/>
          </p:cNvSpPr>
          <p:nvPr>
            <p:ph type="body" sz="quarter" idx="18"/>
          </p:nvPr>
        </p:nvSpPr>
        <p:spPr>
          <a:xfrm>
            <a:off x="2712326" y="4917828"/>
            <a:ext cx="8629495"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pic>
        <p:nvPicPr>
          <p:cNvPr id="11" name="Picture 10">
            <a:extLst>
              <a:ext uri="{FF2B5EF4-FFF2-40B4-BE49-F238E27FC236}">
                <a16:creationId xmlns:a16="http://schemas.microsoft.com/office/drawing/2014/main" id="{9985DA72-B79E-9A43-8E50-55A3A1B8DE8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01610" y="0"/>
            <a:ext cx="1390389" cy="1390389"/>
          </a:xfrm>
          <a:prstGeom prst="rect">
            <a:avLst/>
          </a:prstGeom>
        </p:spPr>
      </p:pic>
      <p:sp>
        <p:nvSpPr>
          <p:cNvPr id="12" name="Rectangle 11">
            <a:extLst>
              <a:ext uri="{FF2B5EF4-FFF2-40B4-BE49-F238E27FC236}">
                <a16:creationId xmlns:a16="http://schemas.microsoft.com/office/drawing/2014/main" id="{901ADF76-DB4B-8A40-876C-507823A91007}"/>
              </a:ext>
            </a:extLst>
          </p:cNvPr>
          <p:cNvSpPr/>
          <p:nvPr userDrawn="1"/>
        </p:nvSpPr>
        <p:spPr>
          <a:xfrm>
            <a:off x="826047" y="2040070"/>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0" name="Rectangle 19">
            <a:extLst>
              <a:ext uri="{FF2B5EF4-FFF2-40B4-BE49-F238E27FC236}">
                <a16:creationId xmlns:a16="http://schemas.microsoft.com/office/drawing/2014/main" id="{5058EC07-1235-BC40-A1A8-934AC8DA6C18}"/>
              </a:ext>
            </a:extLst>
          </p:cNvPr>
          <p:cNvSpPr/>
          <p:nvPr userDrawn="1"/>
        </p:nvSpPr>
        <p:spPr>
          <a:xfrm>
            <a:off x="826047" y="3487916"/>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2" name="Rectangle 21">
            <a:extLst>
              <a:ext uri="{FF2B5EF4-FFF2-40B4-BE49-F238E27FC236}">
                <a16:creationId xmlns:a16="http://schemas.microsoft.com/office/drawing/2014/main" id="{7E2A9DBA-6CCF-F34E-ADC2-DA0ED39C4D99}"/>
              </a:ext>
            </a:extLst>
          </p:cNvPr>
          <p:cNvSpPr/>
          <p:nvPr userDrawn="1"/>
        </p:nvSpPr>
        <p:spPr>
          <a:xfrm>
            <a:off x="826641" y="4926091"/>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6155729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_Numerointi 2">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1325563"/>
          </a:xfrm>
          <a:prstGeom prst="rect">
            <a:avLst/>
          </a:prstGeom>
        </p:spPr>
        <p:txBody>
          <a:bodyPr/>
          <a:lstStyle>
            <a:lvl1pPr>
              <a:defRPr>
                <a:latin typeface="Arial Black"/>
                <a:cs typeface="Arial Black"/>
              </a:defRPr>
            </a:lvl1pPr>
          </a:lstStyle>
          <a:p>
            <a:r>
              <a:rPr lang="fi-FI" noProof="0"/>
              <a:t>Muokkaa ots. perustyyl. napsautt.</a:t>
            </a:r>
            <a:endParaRPr lang="fi-FI" noProof="0" dirty="0"/>
          </a:p>
        </p:txBody>
      </p:sp>
      <p:sp>
        <p:nvSpPr>
          <p:cNvPr id="19" name="Text Placeholder 18"/>
          <p:cNvSpPr>
            <a:spLocks noGrp="1"/>
          </p:cNvSpPr>
          <p:nvPr>
            <p:ph type="body" sz="quarter" idx="16"/>
          </p:nvPr>
        </p:nvSpPr>
        <p:spPr>
          <a:xfrm>
            <a:off x="2720283" y="2040205"/>
            <a:ext cx="8629495"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5" name="Text Placeholder 18"/>
          <p:cNvSpPr>
            <a:spLocks noGrp="1"/>
          </p:cNvSpPr>
          <p:nvPr>
            <p:ph type="body" sz="quarter" idx="17"/>
          </p:nvPr>
        </p:nvSpPr>
        <p:spPr>
          <a:xfrm>
            <a:off x="2725313" y="3489558"/>
            <a:ext cx="8629495"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6" name="Text Placeholder 18"/>
          <p:cNvSpPr>
            <a:spLocks noGrp="1"/>
          </p:cNvSpPr>
          <p:nvPr>
            <p:ph type="body" sz="quarter" idx="18"/>
          </p:nvPr>
        </p:nvSpPr>
        <p:spPr>
          <a:xfrm>
            <a:off x="2712326" y="4917828"/>
            <a:ext cx="8629495"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pic>
        <p:nvPicPr>
          <p:cNvPr id="11" name="Picture 10">
            <a:extLst>
              <a:ext uri="{FF2B5EF4-FFF2-40B4-BE49-F238E27FC236}">
                <a16:creationId xmlns:a16="http://schemas.microsoft.com/office/drawing/2014/main" id="{9985DA72-B79E-9A43-8E50-55A3A1B8DE8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01610" y="0"/>
            <a:ext cx="1390389" cy="1390389"/>
          </a:xfrm>
          <a:prstGeom prst="rect">
            <a:avLst/>
          </a:prstGeom>
        </p:spPr>
      </p:pic>
    </p:spTree>
    <p:extLst>
      <p:ext uri="{BB962C8B-B14F-4D97-AF65-F5344CB8AC3E}">
        <p14:creationId xmlns:p14="http://schemas.microsoft.com/office/powerpoint/2010/main" val="8129781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3_Blank">
    <p:bg>
      <p:bgPr>
        <a:solidFill>
          <a:srgbClr val="0042A5"/>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75596" y="-2889189"/>
            <a:ext cx="12407476"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607" h="7369412">
                <a:moveTo>
                  <a:pt x="0" y="3539234"/>
                </a:moveTo>
                <a:lnTo>
                  <a:pt x="1997306" y="0"/>
                </a:lnTo>
                <a:lnTo>
                  <a:pt x="9305607" y="7369412"/>
                </a:lnTo>
                <a:lnTo>
                  <a:pt x="1502611" y="6410203"/>
                </a:lnTo>
                <a:lnTo>
                  <a:pt x="0" y="3539234"/>
                </a:lnTo>
                <a:close/>
              </a:path>
            </a:pathLst>
          </a:custGeom>
          <a:solidFill>
            <a:srgbClr val="0042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9" name="Suorakulmio 8"/>
          <p:cNvSpPr/>
          <p:nvPr userDrawn="1"/>
        </p:nvSpPr>
        <p:spPr>
          <a:xfrm rot="17323818">
            <a:off x="-5525" y="3225529"/>
            <a:ext cx="3554398" cy="4801346"/>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601009">
                <a:moveTo>
                  <a:pt x="0" y="822241"/>
                </a:moveTo>
                <a:lnTo>
                  <a:pt x="3581081" y="0"/>
                </a:lnTo>
                <a:cubicBezTo>
                  <a:pt x="3661685" y="1253423"/>
                  <a:pt x="3670239" y="1410189"/>
                  <a:pt x="3871357" y="3601009"/>
                </a:cubicBezTo>
                <a:lnTo>
                  <a:pt x="1273153" y="3344898"/>
                </a:lnTo>
                <a:lnTo>
                  <a:pt x="0" y="822241"/>
                </a:lnTo>
                <a:close/>
              </a:path>
            </a:pathLst>
          </a:custGeom>
          <a:solidFill>
            <a:srgbClr val="3C8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70962" y="1954432"/>
            <a:ext cx="13912716" cy="7382991"/>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 name="connsiteX0" fmla="*/ 0 w 10434537"/>
              <a:gd name="connsiteY0" fmla="*/ 5497603 h 7382991"/>
              <a:gd name="connsiteX1" fmla="*/ 3112265 w 10434537"/>
              <a:gd name="connsiteY1" fmla="*/ 0 h 7382991"/>
              <a:gd name="connsiteX2" fmla="*/ 10434537 w 10434537"/>
              <a:gd name="connsiteY2" fmla="*/ 7382991 h 7382991"/>
              <a:gd name="connsiteX3" fmla="*/ 0 w 10434537"/>
              <a:gd name="connsiteY3" fmla="*/ 5497603 h 7382991"/>
            </a:gdLst>
            <a:ahLst/>
            <a:cxnLst>
              <a:cxn ang="0">
                <a:pos x="connsiteX0" y="connsiteY0"/>
              </a:cxn>
              <a:cxn ang="0">
                <a:pos x="connsiteX1" y="connsiteY1"/>
              </a:cxn>
              <a:cxn ang="0">
                <a:pos x="connsiteX2" y="connsiteY2"/>
              </a:cxn>
              <a:cxn ang="0">
                <a:pos x="connsiteX3" y="connsiteY3"/>
              </a:cxn>
            </a:cxnLst>
            <a:rect l="l" t="t" r="r" b="b"/>
            <a:pathLst>
              <a:path w="10434537" h="7382991">
                <a:moveTo>
                  <a:pt x="0" y="5497603"/>
                </a:moveTo>
                <a:lnTo>
                  <a:pt x="3112265" y="0"/>
                </a:lnTo>
                <a:lnTo>
                  <a:pt x="10434537" y="7382991"/>
                </a:lnTo>
                <a:lnTo>
                  <a:pt x="0" y="5497603"/>
                </a:lnTo>
                <a:close/>
              </a:path>
            </a:pathLst>
          </a:custGeom>
          <a:solidFill>
            <a:srgbClr val="84C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30921852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1_Blank">
    <p:bg>
      <p:bgPr>
        <a:solidFill>
          <a:schemeClr val="bg1"/>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65970" y="-2894002"/>
            <a:ext cx="12407476"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607" h="7369412">
                <a:moveTo>
                  <a:pt x="0" y="3539234"/>
                </a:moveTo>
                <a:lnTo>
                  <a:pt x="1997306" y="0"/>
                </a:lnTo>
                <a:lnTo>
                  <a:pt x="9305607" y="7369412"/>
                </a:lnTo>
                <a:lnTo>
                  <a:pt x="1502611" y="6410203"/>
                </a:lnTo>
                <a:lnTo>
                  <a:pt x="0" y="353923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9" name="Suorakulmio 8"/>
          <p:cNvSpPr/>
          <p:nvPr userDrawn="1"/>
        </p:nvSpPr>
        <p:spPr>
          <a:xfrm rot="17323818">
            <a:off x="-5525" y="3225529"/>
            <a:ext cx="3554398" cy="4801346"/>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601009">
                <a:moveTo>
                  <a:pt x="0" y="822241"/>
                </a:moveTo>
                <a:lnTo>
                  <a:pt x="3581081" y="0"/>
                </a:lnTo>
                <a:cubicBezTo>
                  <a:pt x="3661685" y="1253423"/>
                  <a:pt x="3670239" y="1410189"/>
                  <a:pt x="3871357" y="3601009"/>
                </a:cubicBezTo>
                <a:lnTo>
                  <a:pt x="1273153" y="3344898"/>
                </a:lnTo>
                <a:lnTo>
                  <a:pt x="0" y="822241"/>
                </a:lnTo>
                <a:close/>
              </a:path>
            </a:pathLst>
          </a:custGeom>
          <a:solidFill>
            <a:srgbClr val="F9E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68060" y="1950590"/>
            <a:ext cx="13912716" cy="7373353"/>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Lst>
            <a:ahLst/>
            <a:cxnLst>
              <a:cxn ang="0">
                <a:pos x="connsiteX0" y="connsiteY0"/>
              </a:cxn>
              <a:cxn ang="0">
                <a:pos x="connsiteX1" y="connsiteY1"/>
              </a:cxn>
              <a:cxn ang="0">
                <a:pos x="connsiteX2" y="connsiteY2"/>
              </a:cxn>
              <a:cxn ang="0">
                <a:pos x="connsiteX3" y="connsiteY3"/>
              </a:cxn>
            </a:cxnLst>
            <a:rect l="l" t="t" r="r" b="b"/>
            <a:pathLst>
              <a:path w="10434537" h="7373353">
                <a:moveTo>
                  <a:pt x="0" y="5487965"/>
                </a:moveTo>
                <a:lnTo>
                  <a:pt x="3115855" y="0"/>
                </a:lnTo>
                <a:lnTo>
                  <a:pt x="10434537" y="7373353"/>
                </a:lnTo>
                <a:lnTo>
                  <a:pt x="0" y="5487965"/>
                </a:lnTo>
                <a:close/>
              </a:path>
            </a:pathLst>
          </a:custGeom>
          <a:solidFill>
            <a:srgbClr val="F9EB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33717166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96444" y="-2884874"/>
            <a:ext cx="12421775"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 name="connsiteX0" fmla="*/ 0 w 9313650"/>
              <a:gd name="connsiteY0" fmla="*/ 3553458 h 7369412"/>
              <a:gd name="connsiteX1" fmla="*/ 2005349 w 9313650"/>
              <a:gd name="connsiteY1" fmla="*/ 0 h 7369412"/>
              <a:gd name="connsiteX2" fmla="*/ 9313650 w 9313650"/>
              <a:gd name="connsiteY2" fmla="*/ 7369412 h 7369412"/>
              <a:gd name="connsiteX3" fmla="*/ 1510654 w 9313650"/>
              <a:gd name="connsiteY3" fmla="*/ 6410203 h 7369412"/>
              <a:gd name="connsiteX4" fmla="*/ 0 w 9313650"/>
              <a:gd name="connsiteY4" fmla="*/ 3553458 h 7369412"/>
              <a:gd name="connsiteX0" fmla="*/ 0 w 9316331"/>
              <a:gd name="connsiteY0" fmla="*/ 3558199 h 7369412"/>
              <a:gd name="connsiteX1" fmla="*/ 2008030 w 9316331"/>
              <a:gd name="connsiteY1" fmla="*/ 0 h 7369412"/>
              <a:gd name="connsiteX2" fmla="*/ 9316331 w 9316331"/>
              <a:gd name="connsiteY2" fmla="*/ 7369412 h 7369412"/>
              <a:gd name="connsiteX3" fmla="*/ 1513335 w 9316331"/>
              <a:gd name="connsiteY3" fmla="*/ 6410203 h 7369412"/>
              <a:gd name="connsiteX4" fmla="*/ 0 w 9316331"/>
              <a:gd name="connsiteY4" fmla="*/ 3558199 h 7369412"/>
              <a:gd name="connsiteX0" fmla="*/ 0 w 9316331"/>
              <a:gd name="connsiteY0" fmla="*/ 3558199 h 7369412"/>
              <a:gd name="connsiteX1" fmla="*/ 2008030 w 9316331"/>
              <a:gd name="connsiteY1" fmla="*/ 0 h 7369412"/>
              <a:gd name="connsiteX2" fmla="*/ 9316331 w 9316331"/>
              <a:gd name="connsiteY2" fmla="*/ 7369412 h 7369412"/>
              <a:gd name="connsiteX3" fmla="*/ 1513335 w 9316331"/>
              <a:gd name="connsiteY3" fmla="*/ 6410203 h 7369412"/>
              <a:gd name="connsiteX4" fmla="*/ 0 w 9316331"/>
              <a:gd name="connsiteY4" fmla="*/ 3558199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6331" h="7369412">
                <a:moveTo>
                  <a:pt x="0" y="3558199"/>
                </a:moveTo>
                <a:cubicBezTo>
                  <a:pt x="680924" y="2371380"/>
                  <a:pt x="1342261" y="1179745"/>
                  <a:pt x="2008030" y="0"/>
                </a:cubicBezTo>
                <a:lnTo>
                  <a:pt x="9316331" y="7369412"/>
                </a:lnTo>
                <a:lnTo>
                  <a:pt x="1513335" y="6410203"/>
                </a:lnTo>
                <a:lnTo>
                  <a:pt x="0" y="3558199"/>
                </a:lnTo>
                <a:close/>
              </a:path>
            </a:pathLst>
          </a:custGeom>
          <a:solidFill>
            <a:srgbClr val="BA0D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9" name="Suorakulmio 8"/>
          <p:cNvSpPr/>
          <p:nvPr userDrawn="1"/>
        </p:nvSpPr>
        <p:spPr>
          <a:xfrm rot="17323818">
            <a:off x="-11214" y="3222507"/>
            <a:ext cx="3554398" cy="4797533"/>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0811 h 3599579"/>
              <a:gd name="connsiteX1" fmla="*/ 3574957 w 3871357"/>
              <a:gd name="connsiteY1" fmla="*/ 0 h 3599579"/>
              <a:gd name="connsiteX2" fmla="*/ 3871357 w 3871357"/>
              <a:gd name="connsiteY2" fmla="*/ 3599579 h 3599579"/>
              <a:gd name="connsiteX3" fmla="*/ 1273153 w 3871357"/>
              <a:gd name="connsiteY3" fmla="*/ 3343468 h 3599579"/>
              <a:gd name="connsiteX4" fmla="*/ 0 w 3871357"/>
              <a:gd name="connsiteY4" fmla="*/ 820811 h 3599579"/>
              <a:gd name="connsiteX0" fmla="*/ 0 w 3871357"/>
              <a:gd name="connsiteY0" fmla="*/ 823599 h 3602367"/>
              <a:gd name="connsiteX1" fmla="*/ 3566756 w 3871357"/>
              <a:gd name="connsiteY1" fmla="*/ 0 h 3602367"/>
              <a:gd name="connsiteX2" fmla="*/ 3871357 w 3871357"/>
              <a:gd name="connsiteY2" fmla="*/ 3602367 h 3602367"/>
              <a:gd name="connsiteX3" fmla="*/ 1273153 w 3871357"/>
              <a:gd name="connsiteY3" fmla="*/ 3346256 h 3602367"/>
              <a:gd name="connsiteX4" fmla="*/ 0 w 3871357"/>
              <a:gd name="connsiteY4" fmla="*/ 823599 h 3602367"/>
              <a:gd name="connsiteX0" fmla="*/ 0 w 3871357"/>
              <a:gd name="connsiteY0" fmla="*/ 823599 h 3602367"/>
              <a:gd name="connsiteX1" fmla="*/ 3566756 w 3871357"/>
              <a:gd name="connsiteY1" fmla="*/ 0 h 3602367"/>
              <a:gd name="connsiteX2" fmla="*/ 3871357 w 3871357"/>
              <a:gd name="connsiteY2" fmla="*/ 3602367 h 3602367"/>
              <a:gd name="connsiteX3" fmla="*/ 1273153 w 3871357"/>
              <a:gd name="connsiteY3" fmla="*/ 3346256 h 3602367"/>
              <a:gd name="connsiteX4" fmla="*/ 0 w 3871357"/>
              <a:gd name="connsiteY4" fmla="*/ 823599 h 3602367"/>
              <a:gd name="connsiteX0" fmla="*/ 0 w 3871357"/>
              <a:gd name="connsiteY0" fmla="*/ 823599 h 3602367"/>
              <a:gd name="connsiteX1" fmla="*/ 3566756 w 3871357"/>
              <a:gd name="connsiteY1" fmla="*/ 0 h 3602367"/>
              <a:gd name="connsiteX2" fmla="*/ 3871357 w 3871357"/>
              <a:gd name="connsiteY2" fmla="*/ 3602367 h 3602367"/>
              <a:gd name="connsiteX3" fmla="*/ 1273153 w 3871357"/>
              <a:gd name="connsiteY3" fmla="*/ 3346256 h 3602367"/>
              <a:gd name="connsiteX4" fmla="*/ 0 w 3871357"/>
              <a:gd name="connsiteY4" fmla="*/ 823599 h 3602367"/>
              <a:gd name="connsiteX0" fmla="*/ 0 w 3871357"/>
              <a:gd name="connsiteY0" fmla="*/ 819382 h 3598150"/>
              <a:gd name="connsiteX1" fmla="*/ 3568833 w 3871357"/>
              <a:gd name="connsiteY1" fmla="*/ 0 h 3598150"/>
              <a:gd name="connsiteX2" fmla="*/ 3871357 w 3871357"/>
              <a:gd name="connsiteY2" fmla="*/ 3598150 h 3598150"/>
              <a:gd name="connsiteX3" fmla="*/ 1273153 w 3871357"/>
              <a:gd name="connsiteY3" fmla="*/ 3342039 h 3598150"/>
              <a:gd name="connsiteX4" fmla="*/ 0 w 3871357"/>
              <a:gd name="connsiteY4" fmla="*/ 819382 h 359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598150">
                <a:moveTo>
                  <a:pt x="0" y="819382"/>
                </a:moveTo>
                <a:lnTo>
                  <a:pt x="3568833" y="0"/>
                </a:lnTo>
                <a:cubicBezTo>
                  <a:pt x="3649437" y="1253423"/>
                  <a:pt x="3670239" y="1407330"/>
                  <a:pt x="3871357" y="3598150"/>
                </a:cubicBezTo>
                <a:lnTo>
                  <a:pt x="1273153" y="3342039"/>
                </a:lnTo>
                <a:lnTo>
                  <a:pt x="0" y="819382"/>
                </a:lnTo>
                <a:close/>
              </a:path>
            </a:pathLst>
          </a:custGeom>
          <a:solidFill>
            <a:srgbClr val="FFA3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76298" y="1940052"/>
            <a:ext cx="13912716" cy="7373353"/>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Lst>
            <a:ahLst/>
            <a:cxnLst>
              <a:cxn ang="0">
                <a:pos x="connsiteX0" y="connsiteY0"/>
              </a:cxn>
              <a:cxn ang="0">
                <a:pos x="connsiteX1" y="connsiteY1"/>
              </a:cxn>
              <a:cxn ang="0">
                <a:pos x="connsiteX2" y="connsiteY2"/>
              </a:cxn>
              <a:cxn ang="0">
                <a:pos x="connsiteX3" y="connsiteY3"/>
              </a:cxn>
            </a:cxnLst>
            <a:rect l="l" t="t" r="r" b="b"/>
            <a:pathLst>
              <a:path w="10434537" h="7373353">
                <a:moveTo>
                  <a:pt x="0" y="5487965"/>
                </a:moveTo>
                <a:lnTo>
                  <a:pt x="3115855" y="0"/>
                </a:lnTo>
                <a:lnTo>
                  <a:pt x="10434537" y="7373353"/>
                </a:lnTo>
                <a:lnTo>
                  <a:pt x="0" y="5487965"/>
                </a:lnTo>
                <a:close/>
              </a:path>
            </a:pathLst>
          </a:custGeom>
          <a:solidFill>
            <a:srgbClr val="FA4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473400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4_Blank">
    <p:bg>
      <p:bgPr>
        <a:solidFill>
          <a:schemeClr val="bg1"/>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79032" y="-2887471"/>
            <a:ext cx="12407476"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607" h="7369412">
                <a:moveTo>
                  <a:pt x="0" y="3539234"/>
                </a:moveTo>
                <a:lnTo>
                  <a:pt x="1997306" y="0"/>
                </a:lnTo>
                <a:lnTo>
                  <a:pt x="9305607" y="7369412"/>
                </a:lnTo>
                <a:lnTo>
                  <a:pt x="1502611" y="6410203"/>
                </a:lnTo>
                <a:lnTo>
                  <a:pt x="0" y="3539234"/>
                </a:lnTo>
                <a:close/>
              </a:path>
            </a:pathLst>
          </a:custGeom>
          <a:solidFill>
            <a:srgbClr val="4A78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9" name="Suorakulmio 8"/>
          <p:cNvSpPr/>
          <p:nvPr userDrawn="1"/>
        </p:nvSpPr>
        <p:spPr>
          <a:xfrm rot="17323818">
            <a:off x="-5525" y="3225529"/>
            <a:ext cx="3554398" cy="4801346"/>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601009">
                <a:moveTo>
                  <a:pt x="0" y="822241"/>
                </a:moveTo>
                <a:lnTo>
                  <a:pt x="3581081" y="0"/>
                </a:lnTo>
                <a:cubicBezTo>
                  <a:pt x="3661685" y="1253423"/>
                  <a:pt x="3670239" y="1410189"/>
                  <a:pt x="3871357" y="3601009"/>
                </a:cubicBezTo>
                <a:lnTo>
                  <a:pt x="1273153" y="3344898"/>
                </a:lnTo>
                <a:lnTo>
                  <a:pt x="0" y="822241"/>
                </a:lnTo>
                <a:close/>
              </a:path>
            </a:pathLst>
          </a:custGeom>
          <a:solidFill>
            <a:srgbClr val="D4E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68060" y="1950590"/>
            <a:ext cx="13912716" cy="7373353"/>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Lst>
            <a:ahLst/>
            <a:cxnLst>
              <a:cxn ang="0">
                <a:pos x="connsiteX0" y="connsiteY0"/>
              </a:cxn>
              <a:cxn ang="0">
                <a:pos x="connsiteX1" y="connsiteY1"/>
              </a:cxn>
              <a:cxn ang="0">
                <a:pos x="connsiteX2" y="connsiteY2"/>
              </a:cxn>
              <a:cxn ang="0">
                <a:pos x="connsiteX3" y="connsiteY3"/>
              </a:cxn>
            </a:cxnLst>
            <a:rect l="l" t="t" r="r" b="b"/>
            <a:pathLst>
              <a:path w="10434537" h="7373353">
                <a:moveTo>
                  <a:pt x="0" y="5487965"/>
                </a:moveTo>
                <a:lnTo>
                  <a:pt x="3115855" y="0"/>
                </a:lnTo>
                <a:lnTo>
                  <a:pt x="10434537" y="7373353"/>
                </a:lnTo>
                <a:lnTo>
                  <a:pt x="0" y="5487965"/>
                </a:lnTo>
                <a:close/>
              </a:path>
            </a:pathLst>
          </a:custGeom>
          <a:solidFill>
            <a:srgbClr val="6BC2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77874230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5_Blank">
    <p:bg>
      <p:bgPr>
        <a:solidFill>
          <a:schemeClr val="bg1"/>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72501" y="-2887471"/>
            <a:ext cx="12407476"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607" h="7369412">
                <a:moveTo>
                  <a:pt x="0" y="3539234"/>
                </a:moveTo>
                <a:lnTo>
                  <a:pt x="1997306" y="0"/>
                </a:lnTo>
                <a:lnTo>
                  <a:pt x="9305607" y="7369412"/>
                </a:lnTo>
                <a:lnTo>
                  <a:pt x="1502611" y="6410203"/>
                </a:lnTo>
                <a:lnTo>
                  <a:pt x="0" y="3539234"/>
                </a:lnTo>
                <a:close/>
              </a:path>
            </a:pathLst>
          </a:custGeom>
          <a:solidFill>
            <a:srgbClr val="FF4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9" name="Suorakulmio 8"/>
          <p:cNvSpPr/>
          <p:nvPr userDrawn="1"/>
        </p:nvSpPr>
        <p:spPr>
          <a:xfrm rot="17323818">
            <a:off x="-5525" y="3225529"/>
            <a:ext cx="3554398" cy="4801346"/>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601009">
                <a:moveTo>
                  <a:pt x="0" y="822241"/>
                </a:moveTo>
                <a:lnTo>
                  <a:pt x="3581081" y="0"/>
                </a:lnTo>
                <a:cubicBezTo>
                  <a:pt x="3661685" y="1253423"/>
                  <a:pt x="3670239" y="1410189"/>
                  <a:pt x="3871357" y="3601009"/>
                </a:cubicBezTo>
                <a:lnTo>
                  <a:pt x="1273153" y="3344898"/>
                </a:lnTo>
                <a:lnTo>
                  <a:pt x="0" y="822241"/>
                </a:lnTo>
                <a:close/>
              </a:path>
            </a:pathLst>
          </a:custGeom>
          <a:solidFill>
            <a:srgbClr val="FF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68060" y="1950590"/>
            <a:ext cx="13912716" cy="7373353"/>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Lst>
            <a:ahLst/>
            <a:cxnLst>
              <a:cxn ang="0">
                <a:pos x="connsiteX0" y="connsiteY0"/>
              </a:cxn>
              <a:cxn ang="0">
                <a:pos x="connsiteX1" y="connsiteY1"/>
              </a:cxn>
              <a:cxn ang="0">
                <a:pos x="connsiteX2" y="connsiteY2"/>
              </a:cxn>
              <a:cxn ang="0">
                <a:pos x="connsiteX3" y="connsiteY3"/>
              </a:cxn>
            </a:cxnLst>
            <a:rect l="l" t="t" r="r" b="b"/>
            <a:pathLst>
              <a:path w="10434537" h="7373353">
                <a:moveTo>
                  <a:pt x="0" y="5487965"/>
                </a:moveTo>
                <a:lnTo>
                  <a:pt x="3115855" y="0"/>
                </a:lnTo>
                <a:lnTo>
                  <a:pt x="10434537" y="7373353"/>
                </a:lnTo>
                <a:lnTo>
                  <a:pt x="0" y="5487965"/>
                </a:lnTo>
                <a:close/>
              </a:path>
            </a:pathLst>
          </a:custGeom>
          <a:solidFill>
            <a:srgbClr val="FF8F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205240262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6_Blank">
    <p:bg>
      <p:bgPr>
        <a:solidFill>
          <a:schemeClr val="bg1"/>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72501" y="-2887471"/>
            <a:ext cx="12407476"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607" h="7369412">
                <a:moveTo>
                  <a:pt x="0" y="3539234"/>
                </a:moveTo>
                <a:lnTo>
                  <a:pt x="1997306" y="0"/>
                </a:lnTo>
                <a:lnTo>
                  <a:pt x="9305607" y="7369412"/>
                </a:lnTo>
                <a:lnTo>
                  <a:pt x="1502611" y="6410203"/>
                </a:lnTo>
                <a:lnTo>
                  <a:pt x="0" y="3539234"/>
                </a:lnTo>
                <a:close/>
              </a:path>
            </a:pathLst>
          </a:custGeom>
          <a:solidFill>
            <a:srgbClr val="007B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9" name="Suorakulmio 8"/>
          <p:cNvSpPr/>
          <p:nvPr userDrawn="1"/>
        </p:nvSpPr>
        <p:spPr>
          <a:xfrm rot="17323818">
            <a:off x="-5525" y="3225529"/>
            <a:ext cx="3554398" cy="4801346"/>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601009">
                <a:moveTo>
                  <a:pt x="0" y="822241"/>
                </a:moveTo>
                <a:lnTo>
                  <a:pt x="3581081" y="0"/>
                </a:lnTo>
                <a:cubicBezTo>
                  <a:pt x="3661685" y="1253423"/>
                  <a:pt x="3670239" y="1410189"/>
                  <a:pt x="3871357" y="3601009"/>
                </a:cubicBezTo>
                <a:lnTo>
                  <a:pt x="1273153" y="3344898"/>
                </a:lnTo>
                <a:lnTo>
                  <a:pt x="0" y="822241"/>
                </a:lnTo>
                <a:close/>
              </a:path>
            </a:pathLst>
          </a:custGeom>
          <a:solidFill>
            <a:srgbClr val="A2E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68060" y="1950590"/>
            <a:ext cx="13912716" cy="7373353"/>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Lst>
            <a:ahLst/>
            <a:cxnLst>
              <a:cxn ang="0">
                <a:pos x="connsiteX0" y="connsiteY0"/>
              </a:cxn>
              <a:cxn ang="0">
                <a:pos x="connsiteX1" y="connsiteY1"/>
              </a:cxn>
              <a:cxn ang="0">
                <a:pos x="connsiteX2" y="connsiteY2"/>
              </a:cxn>
              <a:cxn ang="0">
                <a:pos x="connsiteX3" y="connsiteY3"/>
              </a:cxn>
            </a:cxnLst>
            <a:rect l="l" t="t" r="r" b="b"/>
            <a:pathLst>
              <a:path w="10434537" h="7373353">
                <a:moveTo>
                  <a:pt x="0" y="5487965"/>
                </a:moveTo>
                <a:lnTo>
                  <a:pt x="3115855" y="0"/>
                </a:lnTo>
                <a:lnTo>
                  <a:pt x="10434537" y="7373353"/>
                </a:lnTo>
                <a:lnTo>
                  <a:pt x="0" y="5487965"/>
                </a:lnTo>
                <a:close/>
              </a:path>
            </a:pathLst>
          </a:custGeom>
          <a:solidFill>
            <a:srgbClr val="00C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11860914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7_Blank">
    <p:bg>
      <p:bgPr>
        <a:solidFill>
          <a:schemeClr val="bg1"/>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72501" y="-2887471"/>
            <a:ext cx="12407476"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607" h="7369412">
                <a:moveTo>
                  <a:pt x="0" y="3539234"/>
                </a:moveTo>
                <a:lnTo>
                  <a:pt x="1997306" y="0"/>
                </a:lnTo>
                <a:lnTo>
                  <a:pt x="9305607" y="7369412"/>
                </a:lnTo>
                <a:lnTo>
                  <a:pt x="1502611" y="6410203"/>
                </a:lnTo>
                <a:lnTo>
                  <a:pt x="0" y="3539234"/>
                </a:lnTo>
                <a:close/>
              </a:path>
            </a:pathLst>
          </a:custGeom>
          <a:solidFill>
            <a:srgbClr val="0061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9" name="Suorakulmio 8"/>
          <p:cNvSpPr/>
          <p:nvPr userDrawn="1"/>
        </p:nvSpPr>
        <p:spPr>
          <a:xfrm rot="17323818">
            <a:off x="-5525" y="3225529"/>
            <a:ext cx="3554398" cy="4801346"/>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601009">
                <a:moveTo>
                  <a:pt x="0" y="822241"/>
                </a:moveTo>
                <a:lnTo>
                  <a:pt x="3581081" y="0"/>
                </a:lnTo>
                <a:cubicBezTo>
                  <a:pt x="3661685" y="1253423"/>
                  <a:pt x="3670239" y="1410189"/>
                  <a:pt x="3871357" y="3601009"/>
                </a:cubicBezTo>
                <a:lnTo>
                  <a:pt x="1273153" y="3344898"/>
                </a:lnTo>
                <a:lnTo>
                  <a:pt x="0" y="822241"/>
                </a:lnTo>
                <a:close/>
              </a:path>
            </a:pathLst>
          </a:custGeom>
          <a:solidFill>
            <a:srgbClr val="87DB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68060" y="1950590"/>
            <a:ext cx="13912716" cy="7373353"/>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Lst>
            <a:ahLst/>
            <a:cxnLst>
              <a:cxn ang="0">
                <a:pos x="connsiteX0" y="connsiteY0"/>
              </a:cxn>
              <a:cxn ang="0">
                <a:pos x="connsiteX1" y="connsiteY1"/>
              </a:cxn>
              <a:cxn ang="0">
                <a:pos x="connsiteX2" y="connsiteY2"/>
              </a:cxn>
              <a:cxn ang="0">
                <a:pos x="connsiteX3" y="connsiteY3"/>
              </a:cxn>
            </a:cxnLst>
            <a:rect l="l" t="t" r="r" b="b"/>
            <a:pathLst>
              <a:path w="10434537" h="7373353">
                <a:moveTo>
                  <a:pt x="0" y="5487965"/>
                </a:moveTo>
                <a:lnTo>
                  <a:pt x="3115855" y="0"/>
                </a:lnTo>
                <a:lnTo>
                  <a:pt x="10434537" y="7373353"/>
                </a:lnTo>
                <a:lnTo>
                  <a:pt x="0" y="5487965"/>
                </a:lnTo>
                <a:close/>
              </a:path>
            </a:pathLst>
          </a:custGeom>
          <a:solidFill>
            <a:srgbClr val="00A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29914340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Kokodian kuva">
    <p:spTree>
      <p:nvGrpSpPr>
        <p:cNvPr id="1" name=""/>
        <p:cNvGrpSpPr/>
        <p:nvPr/>
      </p:nvGrpSpPr>
      <p:grpSpPr>
        <a:xfrm>
          <a:off x="0" y="0"/>
          <a:ext cx="0" cy="0"/>
          <a:chOff x="0" y="0"/>
          <a:chExt cx="0" cy="0"/>
        </a:xfrm>
      </p:grpSpPr>
      <p:sp>
        <p:nvSpPr>
          <p:cNvPr id="6" name="Kuvan paikkamerkki 5">
            <a:extLst>
              <a:ext uri="{FF2B5EF4-FFF2-40B4-BE49-F238E27FC236}">
                <a16:creationId xmlns:a16="http://schemas.microsoft.com/office/drawing/2014/main" id="{B6059080-D32E-8D58-F3A4-F25B6B179DD3}"/>
              </a:ext>
            </a:extLst>
          </p:cNvPr>
          <p:cNvSpPr>
            <a:spLocks noGrp="1"/>
          </p:cNvSpPr>
          <p:nvPr>
            <p:ph type="pic" sz="quarter" idx="10"/>
          </p:nvPr>
        </p:nvSpPr>
        <p:spPr>
          <a:xfrm>
            <a:off x="0" y="0"/>
            <a:ext cx="12192000" cy="6858000"/>
          </a:xfrm>
        </p:spPr>
        <p:txBody>
          <a:bodyPr/>
          <a:lstStyle/>
          <a:p>
            <a:r>
              <a:rPr lang="fi-FI"/>
              <a:t>Lisää kuva napsauttamalla kuvaketta</a:t>
            </a:r>
          </a:p>
        </p:txBody>
      </p:sp>
    </p:spTree>
    <p:extLst>
      <p:ext uri="{BB962C8B-B14F-4D97-AF65-F5344CB8AC3E}">
        <p14:creationId xmlns:p14="http://schemas.microsoft.com/office/powerpoint/2010/main" val="3366891170"/>
      </p:ext>
    </p:extLst>
  </p:cSld>
  <p:clrMapOvr>
    <a:masterClrMapping/>
  </p:clrMapOvr>
  <p:hf sldNum="0"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8_Blank">
    <p:bg>
      <p:bgPr>
        <a:solidFill>
          <a:schemeClr val="bg1"/>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72501" y="-2887471"/>
            <a:ext cx="12407476"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607" h="7369412">
                <a:moveTo>
                  <a:pt x="0" y="3539234"/>
                </a:moveTo>
                <a:lnTo>
                  <a:pt x="1997306" y="0"/>
                </a:lnTo>
                <a:lnTo>
                  <a:pt x="9305607" y="7369412"/>
                </a:lnTo>
                <a:lnTo>
                  <a:pt x="1502611" y="6410203"/>
                </a:lnTo>
                <a:lnTo>
                  <a:pt x="0" y="3539234"/>
                </a:lnTo>
                <a:close/>
              </a:path>
            </a:pathLst>
          </a:custGeom>
          <a:solidFill>
            <a:srgbClr val="AD17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9" name="Suorakulmio 8"/>
          <p:cNvSpPr/>
          <p:nvPr userDrawn="1"/>
        </p:nvSpPr>
        <p:spPr>
          <a:xfrm rot="17323818">
            <a:off x="-5525" y="3225529"/>
            <a:ext cx="3554398" cy="4801346"/>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601009">
                <a:moveTo>
                  <a:pt x="0" y="822241"/>
                </a:moveTo>
                <a:lnTo>
                  <a:pt x="3581081" y="0"/>
                </a:lnTo>
                <a:cubicBezTo>
                  <a:pt x="3661685" y="1253423"/>
                  <a:pt x="3670239" y="1410189"/>
                  <a:pt x="3871357" y="3601009"/>
                </a:cubicBezTo>
                <a:lnTo>
                  <a:pt x="1273153" y="3344898"/>
                </a:lnTo>
                <a:lnTo>
                  <a:pt x="0" y="822241"/>
                </a:lnTo>
                <a:close/>
              </a:path>
            </a:pathLst>
          </a:custGeom>
          <a:solidFill>
            <a:srgbClr val="F2A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68060" y="1950590"/>
            <a:ext cx="13912716" cy="7373353"/>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Lst>
            <a:ahLst/>
            <a:cxnLst>
              <a:cxn ang="0">
                <a:pos x="connsiteX0" y="connsiteY0"/>
              </a:cxn>
              <a:cxn ang="0">
                <a:pos x="connsiteX1" y="connsiteY1"/>
              </a:cxn>
              <a:cxn ang="0">
                <a:pos x="connsiteX2" y="connsiteY2"/>
              </a:cxn>
              <a:cxn ang="0">
                <a:pos x="connsiteX3" y="connsiteY3"/>
              </a:cxn>
            </a:cxnLst>
            <a:rect l="l" t="t" r="r" b="b"/>
            <a:pathLst>
              <a:path w="10434537" h="7373353">
                <a:moveTo>
                  <a:pt x="0" y="5487965"/>
                </a:moveTo>
                <a:lnTo>
                  <a:pt x="3115855" y="0"/>
                </a:lnTo>
                <a:lnTo>
                  <a:pt x="10434537" y="7373353"/>
                </a:lnTo>
                <a:lnTo>
                  <a:pt x="0" y="5487965"/>
                </a:lnTo>
                <a:close/>
              </a:path>
            </a:pathLst>
          </a:custGeom>
          <a:solidFill>
            <a:srgbClr val="DB3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35501438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9_Blank">
    <p:bg>
      <p:bgPr>
        <a:solidFill>
          <a:schemeClr val="bg1"/>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72501" y="-2887471"/>
            <a:ext cx="12407476"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607" h="7369412">
                <a:moveTo>
                  <a:pt x="0" y="3539234"/>
                </a:moveTo>
                <a:lnTo>
                  <a:pt x="1997306" y="0"/>
                </a:lnTo>
                <a:lnTo>
                  <a:pt x="9305607" y="7369412"/>
                </a:lnTo>
                <a:lnTo>
                  <a:pt x="1502611" y="6410203"/>
                </a:lnTo>
                <a:lnTo>
                  <a:pt x="0" y="3539234"/>
                </a:lnTo>
                <a:close/>
              </a:path>
            </a:pathLst>
          </a:custGeom>
          <a:solidFill>
            <a:srgbClr val="45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9" name="Suorakulmio 8"/>
          <p:cNvSpPr/>
          <p:nvPr userDrawn="1"/>
        </p:nvSpPr>
        <p:spPr>
          <a:xfrm rot="17323818">
            <a:off x="-5525" y="3225529"/>
            <a:ext cx="3554398" cy="4801346"/>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601009">
                <a:moveTo>
                  <a:pt x="0" y="822241"/>
                </a:moveTo>
                <a:lnTo>
                  <a:pt x="3581081" y="0"/>
                </a:lnTo>
                <a:cubicBezTo>
                  <a:pt x="3661685" y="1253423"/>
                  <a:pt x="3670239" y="1410189"/>
                  <a:pt x="3871357" y="3601009"/>
                </a:cubicBezTo>
                <a:lnTo>
                  <a:pt x="1273153" y="3344898"/>
                </a:lnTo>
                <a:lnTo>
                  <a:pt x="0" y="822241"/>
                </a:lnTo>
                <a:close/>
              </a:path>
            </a:pathLst>
          </a:custGeom>
          <a:solidFill>
            <a:srgbClr val="C2A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68060" y="1950590"/>
            <a:ext cx="13912716" cy="7373353"/>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Lst>
            <a:ahLst/>
            <a:cxnLst>
              <a:cxn ang="0">
                <a:pos x="connsiteX0" y="connsiteY0"/>
              </a:cxn>
              <a:cxn ang="0">
                <a:pos x="connsiteX1" y="connsiteY1"/>
              </a:cxn>
              <a:cxn ang="0">
                <a:pos x="connsiteX2" y="connsiteY2"/>
              </a:cxn>
              <a:cxn ang="0">
                <a:pos x="connsiteX3" y="connsiteY3"/>
              </a:cxn>
            </a:cxnLst>
            <a:rect l="l" t="t" r="r" b="b"/>
            <a:pathLst>
              <a:path w="10434537" h="7373353">
                <a:moveTo>
                  <a:pt x="0" y="5487965"/>
                </a:moveTo>
                <a:lnTo>
                  <a:pt x="3115855" y="0"/>
                </a:lnTo>
                <a:lnTo>
                  <a:pt x="10434537" y="7373353"/>
                </a:lnTo>
                <a:lnTo>
                  <a:pt x="0" y="5487965"/>
                </a:lnTo>
                <a:close/>
              </a:path>
            </a:pathLst>
          </a:custGeom>
          <a:solidFill>
            <a:srgbClr val="753B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27207961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0_Blank">
    <p:bg>
      <p:bgPr>
        <a:solidFill>
          <a:schemeClr val="bg1"/>
        </a:solidFill>
        <a:effectLst/>
      </p:bgPr>
    </p:bg>
    <p:spTree>
      <p:nvGrpSpPr>
        <p:cNvPr id="1" name=""/>
        <p:cNvGrpSpPr/>
        <p:nvPr/>
      </p:nvGrpSpPr>
      <p:grpSpPr>
        <a:xfrm>
          <a:off x="0" y="0"/>
          <a:ext cx="0" cy="0"/>
          <a:chOff x="0" y="0"/>
          <a:chExt cx="0" cy="0"/>
        </a:xfrm>
      </p:grpSpPr>
      <p:sp>
        <p:nvSpPr>
          <p:cNvPr id="8" name="Suorakulmio 7"/>
          <p:cNvSpPr/>
          <p:nvPr userDrawn="1"/>
        </p:nvSpPr>
        <p:spPr>
          <a:xfrm rot="19379179">
            <a:off x="-1183586" y="-2889644"/>
            <a:ext cx="12407476" cy="7369412"/>
          </a:xfrm>
          <a:custGeom>
            <a:avLst/>
            <a:gdLst>
              <a:gd name="connsiteX0" fmla="*/ 0 w 10560549"/>
              <a:gd name="connsiteY0" fmla="*/ 0 h 5652823"/>
              <a:gd name="connsiteX1" fmla="*/ 10560549 w 10560549"/>
              <a:gd name="connsiteY1" fmla="*/ 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8008036 w 10560549"/>
              <a:gd name="connsiteY1" fmla="*/ 3717880 h 5652823"/>
              <a:gd name="connsiteX2" fmla="*/ 10560549 w 10560549"/>
              <a:gd name="connsiteY2" fmla="*/ 5652823 h 5652823"/>
              <a:gd name="connsiteX3" fmla="*/ 0 w 10560549"/>
              <a:gd name="connsiteY3" fmla="*/ 5652823 h 5652823"/>
              <a:gd name="connsiteX4" fmla="*/ 0 w 10560549"/>
              <a:gd name="connsiteY4" fmla="*/ 0 h 5652823"/>
              <a:gd name="connsiteX0" fmla="*/ 0 w 10560549"/>
              <a:gd name="connsiteY0" fmla="*/ 0 h 5652823"/>
              <a:gd name="connsiteX1" fmla="*/ 2627787 w 10560549"/>
              <a:gd name="connsiteY1" fmla="*/ 126777 h 5652823"/>
              <a:gd name="connsiteX2" fmla="*/ 10560549 w 10560549"/>
              <a:gd name="connsiteY2" fmla="*/ 5652823 h 5652823"/>
              <a:gd name="connsiteX3" fmla="*/ 0 w 10560549"/>
              <a:gd name="connsiteY3" fmla="*/ 5652823 h 5652823"/>
              <a:gd name="connsiteX4" fmla="*/ 0 w 10560549"/>
              <a:gd name="connsiteY4" fmla="*/ 0 h 5652823"/>
              <a:gd name="connsiteX0" fmla="*/ 638552 w 10560549"/>
              <a:gd name="connsiteY0" fmla="*/ 2000812 h 5526046"/>
              <a:gd name="connsiteX1" fmla="*/ 2627787 w 10560549"/>
              <a:gd name="connsiteY1" fmla="*/ 0 h 5526046"/>
              <a:gd name="connsiteX2" fmla="*/ 10560549 w 10560549"/>
              <a:gd name="connsiteY2" fmla="*/ 5526046 h 5526046"/>
              <a:gd name="connsiteX3" fmla="*/ 0 w 10560549"/>
              <a:gd name="connsiteY3" fmla="*/ 5526046 h 5526046"/>
              <a:gd name="connsiteX4" fmla="*/ 638552 w 10560549"/>
              <a:gd name="connsiteY4" fmla="*/ 2000812 h 5526046"/>
              <a:gd name="connsiteX0" fmla="*/ 1468961 w 10560549"/>
              <a:gd name="connsiteY0" fmla="*/ 2829669 h 5526046"/>
              <a:gd name="connsiteX1" fmla="*/ 2627787 w 10560549"/>
              <a:gd name="connsiteY1" fmla="*/ 0 h 5526046"/>
              <a:gd name="connsiteX2" fmla="*/ 10560549 w 10560549"/>
              <a:gd name="connsiteY2" fmla="*/ 5526046 h 5526046"/>
              <a:gd name="connsiteX3" fmla="*/ 0 w 10560549"/>
              <a:gd name="connsiteY3" fmla="*/ 5526046 h 5526046"/>
              <a:gd name="connsiteX4" fmla="*/ 1468961 w 10560549"/>
              <a:gd name="connsiteY4" fmla="*/ 2829669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13075 h 5526046"/>
              <a:gd name="connsiteX1" fmla="*/ 2627787 w 10560549"/>
              <a:gd name="connsiteY1" fmla="*/ 0 h 5526046"/>
              <a:gd name="connsiteX2" fmla="*/ 10560549 w 10560549"/>
              <a:gd name="connsiteY2" fmla="*/ 5526046 h 5526046"/>
              <a:gd name="connsiteX3" fmla="*/ 0 w 10560549"/>
              <a:gd name="connsiteY3" fmla="*/ 5526046 h 5526046"/>
              <a:gd name="connsiteX4" fmla="*/ 554850 w 10560549"/>
              <a:gd name="connsiteY4" fmla="*/ 2713075 h 5526046"/>
              <a:gd name="connsiteX0" fmla="*/ 554850 w 10560549"/>
              <a:gd name="connsiteY0" fmla="*/ 2736012 h 5548983"/>
              <a:gd name="connsiteX1" fmla="*/ 2597365 w 10560549"/>
              <a:gd name="connsiteY1" fmla="*/ 0 h 5548983"/>
              <a:gd name="connsiteX2" fmla="*/ 10560549 w 10560549"/>
              <a:gd name="connsiteY2" fmla="*/ 5548983 h 5548983"/>
              <a:gd name="connsiteX3" fmla="*/ 0 w 10560549"/>
              <a:gd name="connsiteY3" fmla="*/ 5548983 h 5548983"/>
              <a:gd name="connsiteX4" fmla="*/ 554850 w 10560549"/>
              <a:gd name="connsiteY4" fmla="*/ 2736012 h 5548983"/>
              <a:gd name="connsiteX0" fmla="*/ 554850 w 10184885"/>
              <a:gd name="connsiteY0" fmla="*/ 2736012 h 6458633"/>
              <a:gd name="connsiteX1" fmla="*/ 2597365 w 10184885"/>
              <a:gd name="connsiteY1" fmla="*/ 0 h 6458633"/>
              <a:gd name="connsiteX2" fmla="*/ 10184885 w 10184885"/>
              <a:gd name="connsiteY2" fmla="*/ 6458633 h 6458633"/>
              <a:gd name="connsiteX3" fmla="*/ 0 w 10184885"/>
              <a:gd name="connsiteY3" fmla="*/ 5548983 h 6458633"/>
              <a:gd name="connsiteX4" fmla="*/ 554850 w 10184885"/>
              <a:gd name="connsiteY4" fmla="*/ 2736012 h 6458633"/>
              <a:gd name="connsiteX0" fmla="*/ 554850 w 10188669"/>
              <a:gd name="connsiteY0" fmla="*/ 2736012 h 5709975"/>
              <a:gd name="connsiteX1" fmla="*/ 2597365 w 10188669"/>
              <a:gd name="connsiteY1" fmla="*/ 0 h 5709975"/>
              <a:gd name="connsiteX2" fmla="*/ 10188669 w 10188669"/>
              <a:gd name="connsiteY2" fmla="*/ 5709975 h 5709975"/>
              <a:gd name="connsiteX3" fmla="*/ 0 w 10188669"/>
              <a:gd name="connsiteY3" fmla="*/ 5548983 h 5709975"/>
              <a:gd name="connsiteX4" fmla="*/ 554850 w 10188669"/>
              <a:gd name="connsiteY4" fmla="*/ 2736012 h 5709975"/>
              <a:gd name="connsiteX0" fmla="*/ 0 w 9633819"/>
              <a:gd name="connsiteY0" fmla="*/ 2736012 h 5709975"/>
              <a:gd name="connsiteX1" fmla="*/ 2042515 w 9633819"/>
              <a:gd name="connsiteY1" fmla="*/ 0 h 5709975"/>
              <a:gd name="connsiteX2" fmla="*/ 9633819 w 9633819"/>
              <a:gd name="connsiteY2" fmla="*/ 5709975 h 5709975"/>
              <a:gd name="connsiteX3" fmla="*/ 1435797 w 9633819"/>
              <a:gd name="connsiteY3" fmla="*/ 5582554 h 5709975"/>
              <a:gd name="connsiteX4" fmla="*/ 0 w 9633819"/>
              <a:gd name="connsiteY4" fmla="*/ 2736012 h 5709975"/>
              <a:gd name="connsiteX0" fmla="*/ 0 w 9633819"/>
              <a:gd name="connsiteY0" fmla="*/ 2774160 h 5748123"/>
              <a:gd name="connsiteX1" fmla="*/ 2023562 w 9633819"/>
              <a:gd name="connsiteY1" fmla="*/ 0 h 5748123"/>
              <a:gd name="connsiteX2" fmla="*/ 9633819 w 9633819"/>
              <a:gd name="connsiteY2" fmla="*/ 5748123 h 5748123"/>
              <a:gd name="connsiteX3" fmla="*/ 1435797 w 9633819"/>
              <a:gd name="connsiteY3" fmla="*/ 5620702 h 5748123"/>
              <a:gd name="connsiteX4" fmla="*/ 0 w 9633819"/>
              <a:gd name="connsiteY4" fmla="*/ 2774160 h 5748123"/>
              <a:gd name="connsiteX0" fmla="*/ 0 w 9633819"/>
              <a:gd name="connsiteY0" fmla="*/ 2774281 h 5748244"/>
              <a:gd name="connsiteX1" fmla="*/ 2023562 w 9633819"/>
              <a:gd name="connsiteY1" fmla="*/ 121 h 5748244"/>
              <a:gd name="connsiteX2" fmla="*/ 9633819 w 9633819"/>
              <a:gd name="connsiteY2" fmla="*/ 5748244 h 5748244"/>
              <a:gd name="connsiteX3" fmla="*/ 1435797 w 9633819"/>
              <a:gd name="connsiteY3" fmla="*/ 5620823 h 5748244"/>
              <a:gd name="connsiteX4" fmla="*/ 0 w 9633819"/>
              <a:gd name="connsiteY4" fmla="*/ 2774281 h 5748244"/>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633819"/>
              <a:gd name="connsiteY0" fmla="*/ 2806692 h 5780655"/>
              <a:gd name="connsiteX1" fmla="*/ 2012213 w 9633819"/>
              <a:gd name="connsiteY1" fmla="*/ 119 h 5780655"/>
              <a:gd name="connsiteX2" fmla="*/ 9633819 w 9633819"/>
              <a:gd name="connsiteY2" fmla="*/ 5780655 h 5780655"/>
              <a:gd name="connsiteX3" fmla="*/ 1435797 w 9633819"/>
              <a:gd name="connsiteY3" fmla="*/ 5653234 h 5780655"/>
              <a:gd name="connsiteX4" fmla="*/ 0 w 9633819"/>
              <a:gd name="connsiteY4" fmla="*/ 2806692 h 5780655"/>
              <a:gd name="connsiteX0" fmla="*/ 0 w 9431319"/>
              <a:gd name="connsiteY0" fmla="*/ 2806692 h 5653234"/>
              <a:gd name="connsiteX1" fmla="*/ 2012213 w 9431319"/>
              <a:gd name="connsiteY1" fmla="*/ 119 h 5653234"/>
              <a:gd name="connsiteX2" fmla="*/ 9431319 w 9431319"/>
              <a:gd name="connsiteY2" fmla="*/ 5648806 h 5653234"/>
              <a:gd name="connsiteX3" fmla="*/ 1435797 w 9431319"/>
              <a:gd name="connsiteY3" fmla="*/ 5653234 h 5653234"/>
              <a:gd name="connsiteX4" fmla="*/ 0 w 9431319"/>
              <a:gd name="connsiteY4" fmla="*/ 2806692 h 5653234"/>
              <a:gd name="connsiteX0" fmla="*/ 0 w 9431319"/>
              <a:gd name="connsiteY0" fmla="*/ 2806692 h 5728194"/>
              <a:gd name="connsiteX1" fmla="*/ 2012213 w 9431319"/>
              <a:gd name="connsiteY1" fmla="*/ 119 h 5728194"/>
              <a:gd name="connsiteX2" fmla="*/ 9431319 w 9431319"/>
              <a:gd name="connsiteY2" fmla="*/ 5648806 h 5728194"/>
              <a:gd name="connsiteX3" fmla="*/ 1493799 w 9431319"/>
              <a:gd name="connsiteY3" fmla="*/ 5728194 h 5728194"/>
              <a:gd name="connsiteX4" fmla="*/ 0 w 9431319"/>
              <a:gd name="connsiteY4" fmla="*/ 2806692 h 5728194"/>
              <a:gd name="connsiteX0" fmla="*/ 0 w 9512709"/>
              <a:gd name="connsiteY0" fmla="*/ 2806692 h 5728194"/>
              <a:gd name="connsiteX1" fmla="*/ 2012213 w 9512709"/>
              <a:gd name="connsiteY1" fmla="*/ 119 h 5728194"/>
              <a:gd name="connsiteX2" fmla="*/ 9512709 w 9512709"/>
              <a:gd name="connsiteY2" fmla="*/ 5678937 h 5728194"/>
              <a:gd name="connsiteX3" fmla="*/ 1493799 w 9512709"/>
              <a:gd name="connsiteY3" fmla="*/ 5728194 h 5728194"/>
              <a:gd name="connsiteX4" fmla="*/ 0 w 9512709"/>
              <a:gd name="connsiteY4" fmla="*/ 2806692 h 5728194"/>
              <a:gd name="connsiteX0" fmla="*/ 0 w 9466245"/>
              <a:gd name="connsiteY0" fmla="*/ 2806692 h 5728194"/>
              <a:gd name="connsiteX1" fmla="*/ 2012213 w 9466245"/>
              <a:gd name="connsiteY1" fmla="*/ 119 h 5728194"/>
              <a:gd name="connsiteX2" fmla="*/ 9466245 w 9466245"/>
              <a:gd name="connsiteY2" fmla="*/ 5643905 h 5728194"/>
              <a:gd name="connsiteX3" fmla="*/ 1493799 w 9466245"/>
              <a:gd name="connsiteY3" fmla="*/ 5728194 h 5728194"/>
              <a:gd name="connsiteX4" fmla="*/ 0 w 9466245"/>
              <a:gd name="connsiteY4" fmla="*/ 2806692 h 5728194"/>
              <a:gd name="connsiteX0" fmla="*/ 0 w 9446332"/>
              <a:gd name="connsiteY0" fmla="*/ 2806692 h 5728194"/>
              <a:gd name="connsiteX1" fmla="*/ 2012213 w 9446332"/>
              <a:gd name="connsiteY1" fmla="*/ 119 h 5728194"/>
              <a:gd name="connsiteX2" fmla="*/ 9446332 w 9446332"/>
              <a:gd name="connsiteY2" fmla="*/ 5628892 h 5728194"/>
              <a:gd name="connsiteX3" fmla="*/ 1493799 w 9446332"/>
              <a:gd name="connsiteY3" fmla="*/ 5728194 h 5728194"/>
              <a:gd name="connsiteX4" fmla="*/ 0 w 9446332"/>
              <a:gd name="connsiteY4" fmla="*/ 2806692 h 5728194"/>
              <a:gd name="connsiteX0" fmla="*/ 0 w 9464612"/>
              <a:gd name="connsiteY0" fmla="*/ 2803322 h 5728195"/>
              <a:gd name="connsiteX1" fmla="*/ 2030493 w 9464612"/>
              <a:gd name="connsiteY1" fmla="*/ 120 h 5728195"/>
              <a:gd name="connsiteX2" fmla="*/ 9464612 w 9464612"/>
              <a:gd name="connsiteY2" fmla="*/ 5628893 h 5728195"/>
              <a:gd name="connsiteX3" fmla="*/ 1512079 w 9464612"/>
              <a:gd name="connsiteY3" fmla="*/ 5728195 h 5728195"/>
              <a:gd name="connsiteX4" fmla="*/ 0 w 9464612"/>
              <a:gd name="connsiteY4" fmla="*/ 2803322 h 5728195"/>
              <a:gd name="connsiteX0" fmla="*/ 0 w 9393232"/>
              <a:gd name="connsiteY0" fmla="*/ 2803322 h 5728195"/>
              <a:gd name="connsiteX1" fmla="*/ 2030493 w 9393232"/>
              <a:gd name="connsiteY1" fmla="*/ 120 h 5728195"/>
              <a:gd name="connsiteX2" fmla="*/ 9393232 w 9393232"/>
              <a:gd name="connsiteY2" fmla="*/ 5585487 h 5728195"/>
              <a:gd name="connsiteX3" fmla="*/ 1512079 w 9393232"/>
              <a:gd name="connsiteY3" fmla="*/ 5728195 h 5728195"/>
              <a:gd name="connsiteX4" fmla="*/ 0 w 9393232"/>
              <a:gd name="connsiteY4" fmla="*/ 2803322 h 5728195"/>
              <a:gd name="connsiteX0" fmla="*/ 0 w 9393232"/>
              <a:gd name="connsiteY0" fmla="*/ 3478456 h 6403329"/>
              <a:gd name="connsiteX1" fmla="*/ 1969547 w 9393232"/>
              <a:gd name="connsiteY1" fmla="*/ 89 h 6403329"/>
              <a:gd name="connsiteX2" fmla="*/ 9393232 w 9393232"/>
              <a:gd name="connsiteY2" fmla="*/ 6260621 h 6403329"/>
              <a:gd name="connsiteX3" fmla="*/ 1512079 w 9393232"/>
              <a:gd name="connsiteY3" fmla="*/ 6403329 h 6403329"/>
              <a:gd name="connsiteX4" fmla="*/ 0 w 9393232"/>
              <a:gd name="connsiteY4" fmla="*/ 3478456 h 6403329"/>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478456 h 6740825"/>
              <a:gd name="connsiteX1" fmla="*/ 1969547 w 8661277"/>
              <a:gd name="connsiteY1" fmla="*/ 89 h 6740825"/>
              <a:gd name="connsiteX2" fmla="*/ 8661277 w 8661277"/>
              <a:gd name="connsiteY2" fmla="*/ 6740825 h 6740825"/>
              <a:gd name="connsiteX3" fmla="*/ 1512079 w 8661277"/>
              <a:gd name="connsiteY3" fmla="*/ 6403329 h 6740825"/>
              <a:gd name="connsiteX4" fmla="*/ 0 w 8661277"/>
              <a:gd name="connsiteY4" fmla="*/ 3478456 h 6740825"/>
              <a:gd name="connsiteX0" fmla="*/ 0 w 8661277"/>
              <a:gd name="connsiteY0" fmla="*/ 3637521 h 6899890"/>
              <a:gd name="connsiteX1" fmla="*/ 1969547 w 8661277"/>
              <a:gd name="connsiteY1" fmla="*/ 159154 h 6899890"/>
              <a:gd name="connsiteX2" fmla="*/ 8661277 w 8661277"/>
              <a:gd name="connsiteY2" fmla="*/ 6899890 h 6899890"/>
              <a:gd name="connsiteX3" fmla="*/ 1512079 w 8661277"/>
              <a:gd name="connsiteY3" fmla="*/ 6562394 h 6899890"/>
              <a:gd name="connsiteX4" fmla="*/ 0 w 8661277"/>
              <a:gd name="connsiteY4" fmla="*/ 3637521 h 6899890"/>
              <a:gd name="connsiteX0" fmla="*/ 32461 w 8693738"/>
              <a:gd name="connsiteY0" fmla="*/ 3967706 h 7230075"/>
              <a:gd name="connsiteX1" fmla="*/ 2002008 w 8693738"/>
              <a:gd name="connsiteY1" fmla="*/ 489339 h 7230075"/>
              <a:gd name="connsiteX2" fmla="*/ 8693738 w 8693738"/>
              <a:gd name="connsiteY2" fmla="*/ 7230075 h 7230075"/>
              <a:gd name="connsiteX3" fmla="*/ 1544540 w 8693738"/>
              <a:gd name="connsiteY3" fmla="*/ 6892579 h 7230075"/>
              <a:gd name="connsiteX4" fmla="*/ 32461 w 8693738"/>
              <a:gd name="connsiteY4" fmla="*/ 3967706 h 7230075"/>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8661277"/>
              <a:gd name="connsiteY0" fmla="*/ 3478367 h 6740736"/>
              <a:gd name="connsiteX1" fmla="*/ 1969547 w 8661277"/>
              <a:gd name="connsiteY1" fmla="*/ 0 h 6740736"/>
              <a:gd name="connsiteX2" fmla="*/ 8661277 w 8661277"/>
              <a:gd name="connsiteY2" fmla="*/ 6740736 h 6740736"/>
              <a:gd name="connsiteX3" fmla="*/ 1512079 w 8661277"/>
              <a:gd name="connsiteY3" fmla="*/ 6403240 h 6740736"/>
              <a:gd name="connsiteX4" fmla="*/ 0 w 8661277"/>
              <a:gd name="connsiteY4" fmla="*/ 3478367 h 6740736"/>
              <a:gd name="connsiteX0" fmla="*/ 0 w 9315075"/>
              <a:gd name="connsiteY0" fmla="*/ 3478367 h 7362449"/>
              <a:gd name="connsiteX1" fmla="*/ 1969547 w 9315075"/>
              <a:gd name="connsiteY1" fmla="*/ 0 h 7362449"/>
              <a:gd name="connsiteX2" fmla="*/ 9315075 w 9315075"/>
              <a:gd name="connsiteY2" fmla="*/ 7362449 h 7362449"/>
              <a:gd name="connsiteX3" fmla="*/ 1512079 w 9315075"/>
              <a:gd name="connsiteY3" fmla="*/ 6403240 h 7362449"/>
              <a:gd name="connsiteX4" fmla="*/ 0 w 9315075"/>
              <a:gd name="connsiteY4" fmla="*/ 3478367 h 7362449"/>
              <a:gd name="connsiteX0" fmla="*/ 0 w 9315075"/>
              <a:gd name="connsiteY0" fmla="*/ 3485330 h 7369412"/>
              <a:gd name="connsiteX1" fmla="*/ 2006774 w 9315075"/>
              <a:gd name="connsiteY1" fmla="*/ 0 h 7369412"/>
              <a:gd name="connsiteX2" fmla="*/ 9315075 w 9315075"/>
              <a:gd name="connsiteY2" fmla="*/ 7369412 h 7369412"/>
              <a:gd name="connsiteX3" fmla="*/ 1512079 w 9315075"/>
              <a:gd name="connsiteY3" fmla="*/ 6410203 h 7369412"/>
              <a:gd name="connsiteX4" fmla="*/ 0 w 9315075"/>
              <a:gd name="connsiteY4" fmla="*/ 3485330 h 7369412"/>
              <a:gd name="connsiteX0" fmla="*/ 0 w 9305607"/>
              <a:gd name="connsiteY0" fmla="*/ 3539234 h 7369412"/>
              <a:gd name="connsiteX1" fmla="*/ 1997306 w 9305607"/>
              <a:gd name="connsiteY1" fmla="*/ 0 h 7369412"/>
              <a:gd name="connsiteX2" fmla="*/ 9305607 w 9305607"/>
              <a:gd name="connsiteY2" fmla="*/ 7369412 h 7369412"/>
              <a:gd name="connsiteX3" fmla="*/ 1502611 w 9305607"/>
              <a:gd name="connsiteY3" fmla="*/ 6410203 h 7369412"/>
              <a:gd name="connsiteX4" fmla="*/ 0 w 9305607"/>
              <a:gd name="connsiteY4" fmla="*/ 3539234 h 736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607" h="7369412">
                <a:moveTo>
                  <a:pt x="0" y="3539234"/>
                </a:moveTo>
                <a:lnTo>
                  <a:pt x="1997306" y="0"/>
                </a:lnTo>
                <a:lnTo>
                  <a:pt x="9305607" y="7369412"/>
                </a:lnTo>
                <a:lnTo>
                  <a:pt x="1502611" y="6410203"/>
                </a:lnTo>
                <a:lnTo>
                  <a:pt x="0" y="3539234"/>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9" name="Suorakulmio 8"/>
          <p:cNvSpPr/>
          <p:nvPr userDrawn="1"/>
        </p:nvSpPr>
        <p:spPr>
          <a:xfrm rot="17323818">
            <a:off x="-13020" y="3225529"/>
            <a:ext cx="3554398" cy="4801346"/>
          </a:xfrm>
          <a:custGeom>
            <a:avLst/>
            <a:gdLst>
              <a:gd name="connsiteX0" fmla="*/ 0 w 3259683"/>
              <a:gd name="connsiteY0" fmla="*/ 0 h 3993456"/>
              <a:gd name="connsiteX1" fmla="*/ 3259683 w 3259683"/>
              <a:gd name="connsiteY1" fmla="*/ 0 h 3993456"/>
              <a:gd name="connsiteX2" fmla="*/ 3259683 w 3259683"/>
              <a:gd name="connsiteY2" fmla="*/ 3993456 h 3993456"/>
              <a:gd name="connsiteX3" fmla="*/ 0 w 3259683"/>
              <a:gd name="connsiteY3" fmla="*/ 3993456 h 3993456"/>
              <a:gd name="connsiteX4" fmla="*/ 0 w 3259683"/>
              <a:gd name="connsiteY4" fmla="*/ 0 h 3993456"/>
              <a:gd name="connsiteX0" fmla="*/ 292881 w 3259683"/>
              <a:gd name="connsiteY0" fmla="*/ 1354812 h 3993456"/>
              <a:gd name="connsiteX1" fmla="*/ 3259683 w 3259683"/>
              <a:gd name="connsiteY1" fmla="*/ 0 h 3993456"/>
              <a:gd name="connsiteX2" fmla="*/ 3259683 w 3259683"/>
              <a:gd name="connsiteY2" fmla="*/ 3993456 h 3993456"/>
              <a:gd name="connsiteX3" fmla="*/ 0 w 3259683"/>
              <a:gd name="connsiteY3" fmla="*/ 3993456 h 3993456"/>
              <a:gd name="connsiteX4" fmla="*/ 292881 w 3259683"/>
              <a:gd name="connsiteY4" fmla="*/ 1354812 h 3993456"/>
              <a:gd name="connsiteX0" fmla="*/ 0 w 3338021"/>
              <a:gd name="connsiteY0" fmla="*/ 1341042 h 3993456"/>
              <a:gd name="connsiteX1" fmla="*/ 3338021 w 3338021"/>
              <a:gd name="connsiteY1" fmla="*/ 0 h 3993456"/>
              <a:gd name="connsiteX2" fmla="*/ 3338021 w 3338021"/>
              <a:gd name="connsiteY2" fmla="*/ 3993456 h 3993456"/>
              <a:gd name="connsiteX3" fmla="*/ 78338 w 3338021"/>
              <a:gd name="connsiteY3" fmla="*/ 3993456 h 3993456"/>
              <a:gd name="connsiteX4" fmla="*/ 0 w 3338021"/>
              <a:gd name="connsiteY4" fmla="*/ 1341042 h 3993456"/>
              <a:gd name="connsiteX0" fmla="*/ 0 w 3456260"/>
              <a:gd name="connsiteY0" fmla="*/ 1405577 h 3993456"/>
              <a:gd name="connsiteX1" fmla="*/ 3456260 w 3456260"/>
              <a:gd name="connsiteY1" fmla="*/ 0 h 3993456"/>
              <a:gd name="connsiteX2" fmla="*/ 3456260 w 3456260"/>
              <a:gd name="connsiteY2" fmla="*/ 3993456 h 3993456"/>
              <a:gd name="connsiteX3" fmla="*/ 196577 w 3456260"/>
              <a:gd name="connsiteY3" fmla="*/ 3993456 h 3993456"/>
              <a:gd name="connsiteX4" fmla="*/ 0 w 3456260"/>
              <a:gd name="connsiteY4" fmla="*/ 1405577 h 3993456"/>
              <a:gd name="connsiteX0" fmla="*/ 0 w 3476270"/>
              <a:gd name="connsiteY0" fmla="*/ 1352045 h 3939924"/>
              <a:gd name="connsiteX1" fmla="*/ 3476270 w 3476270"/>
              <a:gd name="connsiteY1" fmla="*/ 0 h 3939924"/>
              <a:gd name="connsiteX2" fmla="*/ 3456260 w 3476270"/>
              <a:gd name="connsiteY2" fmla="*/ 3939924 h 3939924"/>
              <a:gd name="connsiteX3" fmla="*/ 196577 w 3476270"/>
              <a:gd name="connsiteY3" fmla="*/ 3939924 h 3939924"/>
              <a:gd name="connsiteX4" fmla="*/ 0 w 3476270"/>
              <a:gd name="connsiteY4" fmla="*/ 1352045 h 3939924"/>
              <a:gd name="connsiteX0" fmla="*/ 0 w 3476270"/>
              <a:gd name="connsiteY0" fmla="*/ 1352045 h 3939924"/>
              <a:gd name="connsiteX1" fmla="*/ 3476270 w 3476270"/>
              <a:gd name="connsiteY1" fmla="*/ 0 h 3939924"/>
              <a:gd name="connsiteX2" fmla="*/ 3456260 w 3476270"/>
              <a:gd name="connsiteY2" fmla="*/ 3939924 h 3939924"/>
              <a:gd name="connsiteX3" fmla="*/ 798773 w 3476270"/>
              <a:gd name="connsiteY3" fmla="*/ 3755500 h 3939924"/>
              <a:gd name="connsiteX4" fmla="*/ 0 w 3476270"/>
              <a:gd name="connsiteY4" fmla="*/ 1352045 h 3939924"/>
              <a:gd name="connsiteX0" fmla="*/ 0 w 3468484"/>
              <a:gd name="connsiteY0" fmla="*/ 1349135 h 3937014"/>
              <a:gd name="connsiteX1" fmla="*/ 3468484 w 3468484"/>
              <a:gd name="connsiteY1" fmla="*/ 0 h 3937014"/>
              <a:gd name="connsiteX2" fmla="*/ 3456260 w 3468484"/>
              <a:gd name="connsiteY2" fmla="*/ 3937014 h 3937014"/>
              <a:gd name="connsiteX3" fmla="*/ 798773 w 3468484"/>
              <a:gd name="connsiteY3" fmla="*/ 3752590 h 3937014"/>
              <a:gd name="connsiteX4" fmla="*/ 0 w 3468484"/>
              <a:gd name="connsiteY4" fmla="*/ 1349135 h 3937014"/>
              <a:gd name="connsiteX0" fmla="*/ 0 w 3424826"/>
              <a:gd name="connsiteY0" fmla="*/ 1465933 h 3937014"/>
              <a:gd name="connsiteX1" fmla="*/ 3424826 w 3424826"/>
              <a:gd name="connsiteY1" fmla="*/ 0 h 3937014"/>
              <a:gd name="connsiteX2" fmla="*/ 3412602 w 3424826"/>
              <a:gd name="connsiteY2" fmla="*/ 3937014 h 3937014"/>
              <a:gd name="connsiteX3" fmla="*/ 755115 w 3424826"/>
              <a:gd name="connsiteY3" fmla="*/ 3752590 h 3937014"/>
              <a:gd name="connsiteX4" fmla="*/ 0 w 3424826"/>
              <a:gd name="connsiteY4" fmla="*/ 1465933 h 3937014"/>
              <a:gd name="connsiteX0" fmla="*/ 0 w 3486968"/>
              <a:gd name="connsiteY0" fmla="*/ 1347170 h 3937014"/>
              <a:gd name="connsiteX1" fmla="*/ 3486968 w 3486968"/>
              <a:gd name="connsiteY1" fmla="*/ 0 h 3937014"/>
              <a:gd name="connsiteX2" fmla="*/ 3474744 w 3486968"/>
              <a:gd name="connsiteY2" fmla="*/ 3937014 h 3937014"/>
              <a:gd name="connsiteX3" fmla="*/ 817257 w 3486968"/>
              <a:gd name="connsiteY3" fmla="*/ 3752590 h 3937014"/>
              <a:gd name="connsiteX4" fmla="*/ 0 w 3486968"/>
              <a:gd name="connsiteY4" fmla="*/ 1347170 h 3937014"/>
              <a:gd name="connsiteX0" fmla="*/ 0 w 3485002"/>
              <a:gd name="connsiteY0" fmla="*/ 1328687 h 3937014"/>
              <a:gd name="connsiteX1" fmla="*/ 3485002 w 3485002"/>
              <a:gd name="connsiteY1" fmla="*/ 0 h 3937014"/>
              <a:gd name="connsiteX2" fmla="*/ 3472778 w 3485002"/>
              <a:gd name="connsiteY2" fmla="*/ 3937014 h 3937014"/>
              <a:gd name="connsiteX3" fmla="*/ 815291 w 3485002"/>
              <a:gd name="connsiteY3" fmla="*/ 3752590 h 3937014"/>
              <a:gd name="connsiteX4" fmla="*/ 0 w 3485002"/>
              <a:gd name="connsiteY4" fmla="*/ 1328687 h 3937014"/>
              <a:gd name="connsiteX0" fmla="*/ 0 w 3477216"/>
              <a:gd name="connsiteY0" fmla="*/ 1325775 h 3934102"/>
              <a:gd name="connsiteX1" fmla="*/ 3477216 w 3477216"/>
              <a:gd name="connsiteY1" fmla="*/ 0 h 3934102"/>
              <a:gd name="connsiteX2" fmla="*/ 3472778 w 3477216"/>
              <a:gd name="connsiteY2" fmla="*/ 3934102 h 3934102"/>
              <a:gd name="connsiteX3" fmla="*/ 815291 w 3477216"/>
              <a:gd name="connsiteY3" fmla="*/ 3749678 h 3934102"/>
              <a:gd name="connsiteX4" fmla="*/ 0 w 3477216"/>
              <a:gd name="connsiteY4" fmla="*/ 1325775 h 3934102"/>
              <a:gd name="connsiteX0" fmla="*/ 0 w 3485948"/>
              <a:gd name="connsiteY0" fmla="*/ 1302416 h 3910743"/>
              <a:gd name="connsiteX1" fmla="*/ 3485948 w 3485948"/>
              <a:gd name="connsiteY1" fmla="*/ 0 h 3910743"/>
              <a:gd name="connsiteX2" fmla="*/ 3472778 w 3485948"/>
              <a:gd name="connsiteY2" fmla="*/ 3910743 h 3910743"/>
              <a:gd name="connsiteX3" fmla="*/ 815291 w 3485948"/>
              <a:gd name="connsiteY3" fmla="*/ 3726319 h 3910743"/>
              <a:gd name="connsiteX4" fmla="*/ 0 w 3485948"/>
              <a:gd name="connsiteY4" fmla="*/ 1302416 h 3910743"/>
              <a:gd name="connsiteX0" fmla="*/ 0 w 3490825"/>
              <a:gd name="connsiteY0" fmla="*/ 1313112 h 3921439"/>
              <a:gd name="connsiteX1" fmla="*/ 3490825 w 3490825"/>
              <a:gd name="connsiteY1" fmla="*/ 0 h 3921439"/>
              <a:gd name="connsiteX2" fmla="*/ 3472778 w 3490825"/>
              <a:gd name="connsiteY2" fmla="*/ 3921439 h 3921439"/>
              <a:gd name="connsiteX3" fmla="*/ 815291 w 3490825"/>
              <a:gd name="connsiteY3" fmla="*/ 3737015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978808 w 3490825"/>
              <a:gd name="connsiteY3" fmla="*/ 3675894 h 3921439"/>
              <a:gd name="connsiteX4" fmla="*/ 0 w 3490825"/>
              <a:gd name="connsiteY4" fmla="*/ 1313112 h 3921439"/>
              <a:gd name="connsiteX0" fmla="*/ 0 w 3490825"/>
              <a:gd name="connsiteY0" fmla="*/ 1313112 h 3921439"/>
              <a:gd name="connsiteX1" fmla="*/ 3490825 w 3490825"/>
              <a:gd name="connsiteY1" fmla="*/ 0 h 3921439"/>
              <a:gd name="connsiteX2" fmla="*/ 3472778 w 3490825"/>
              <a:gd name="connsiteY2" fmla="*/ 3921439 h 3921439"/>
              <a:gd name="connsiteX3" fmla="*/ 1236783 w 3490825"/>
              <a:gd name="connsiteY3" fmla="*/ 3535091 h 3921439"/>
              <a:gd name="connsiteX4" fmla="*/ 0 w 3490825"/>
              <a:gd name="connsiteY4" fmla="*/ 1313112 h 3921439"/>
              <a:gd name="connsiteX0" fmla="*/ 0 w 3257229"/>
              <a:gd name="connsiteY0" fmla="*/ 1225795 h 3921439"/>
              <a:gd name="connsiteX1" fmla="*/ 3257229 w 3257229"/>
              <a:gd name="connsiteY1" fmla="*/ 0 h 3921439"/>
              <a:gd name="connsiteX2" fmla="*/ 3239182 w 3257229"/>
              <a:gd name="connsiteY2" fmla="*/ 3921439 h 3921439"/>
              <a:gd name="connsiteX3" fmla="*/ 1003187 w 3257229"/>
              <a:gd name="connsiteY3" fmla="*/ 3535091 h 3921439"/>
              <a:gd name="connsiteX4" fmla="*/ 0 w 3257229"/>
              <a:gd name="connsiteY4" fmla="*/ 1225795 h 3921439"/>
              <a:gd name="connsiteX0" fmla="*/ 0 w 3096623"/>
              <a:gd name="connsiteY0" fmla="*/ 1156887 h 3921439"/>
              <a:gd name="connsiteX1" fmla="*/ 3096623 w 3096623"/>
              <a:gd name="connsiteY1" fmla="*/ 0 h 3921439"/>
              <a:gd name="connsiteX2" fmla="*/ 3078576 w 3096623"/>
              <a:gd name="connsiteY2" fmla="*/ 3921439 h 3921439"/>
              <a:gd name="connsiteX3" fmla="*/ 842581 w 3096623"/>
              <a:gd name="connsiteY3" fmla="*/ 3535091 h 3921439"/>
              <a:gd name="connsiteX4" fmla="*/ 0 w 3096623"/>
              <a:gd name="connsiteY4" fmla="*/ 1156887 h 3921439"/>
              <a:gd name="connsiteX0" fmla="*/ 0 w 3257230"/>
              <a:gd name="connsiteY0" fmla="*/ 1225796 h 3921439"/>
              <a:gd name="connsiteX1" fmla="*/ 3257230 w 3257230"/>
              <a:gd name="connsiteY1" fmla="*/ 0 h 3921439"/>
              <a:gd name="connsiteX2" fmla="*/ 3239183 w 3257230"/>
              <a:gd name="connsiteY2" fmla="*/ 3921439 h 3921439"/>
              <a:gd name="connsiteX3" fmla="*/ 1003188 w 3257230"/>
              <a:gd name="connsiteY3" fmla="*/ 3535091 h 3921439"/>
              <a:gd name="connsiteX4" fmla="*/ 0 w 3257230"/>
              <a:gd name="connsiteY4" fmla="*/ 1225796 h 3921439"/>
              <a:gd name="connsiteX0" fmla="*/ 0 w 3239704"/>
              <a:gd name="connsiteY0" fmla="*/ 1214153 h 3909796"/>
              <a:gd name="connsiteX1" fmla="*/ 3226084 w 3239704"/>
              <a:gd name="connsiteY1" fmla="*/ 0 h 3909796"/>
              <a:gd name="connsiteX2" fmla="*/ 3239183 w 3239704"/>
              <a:gd name="connsiteY2" fmla="*/ 3909796 h 3909796"/>
              <a:gd name="connsiteX3" fmla="*/ 1003188 w 3239704"/>
              <a:gd name="connsiteY3" fmla="*/ 3523448 h 3909796"/>
              <a:gd name="connsiteX4" fmla="*/ 0 w 3239704"/>
              <a:gd name="connsiteY4" fmla="*/ 1214153 h 3909796"/>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338432"/>
              <a:gd name="connsiteY0" fmla="*/ 1081162 h 3776805"/>
              <a:gd name="connsiteX1" fmla="*/ 3338432 w 3338432"/>
              <a:gd name="connsiteY1" fmla="*/ 0 h 3776805"/>
              <a:gd name="connsiteX2" fmla="*/ 3239183 w 3338432"/>
              <a:gd name="connsiteY2" fmla="*/ 3776805 h 3776805"/>
              <a:gd name="connsiteX3" fmla="*/ 1003188 w 3338432"/>
              <a:gd name="connsiteY3" fmla="*/ 3390457 h 3776805"/>
              <a:gd name="connsiteX4" fmla="*/ 0 w 3338432"/>
              <a:gd name="connsiteY4" fmla="*/ 108116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483067"/>
              <a:gd name="connsiteY0" fmla="*/ 974352 h 3776805"/>
              <a:gd name="connsiteX1" fmla="*/ 3483067 w 3483067"/>
              <a:gd name="connsiteY1" fmla="*/ 0 h 3776805"/>
              <a:gd name="connsiteX2" fmla="*/ 3383818 w 3483067"/>
              <a:gd name="connsiteY2" fmla="*/ 3776805 h 3776805"/>
              <a:gd name="connsiteX3" fmla="*/ 1147823 w 3483067"/>
              <a:gd name="connsiteY3" fmla="*/ 3390457 h 3776805"/>
              <a:gd name="connsiteX4" fmla="*/ 0 w 3483067"/>
              <a:gd name="connsiteY4" fmla="*/ 974352 h 3776805"/>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09761"/>
              <a:gd name="connsiteY0" fmla="*/ 915308 h 3717761"/>
              <a:gd name="connsiteX1" fmla="*/ 3509761 w 3509761"/>
              <a:gd name="connsiteY1" fmla="*/ 0 h 3717761"/>
              <a:gd name="connsiteX2" fmla="*/ 3383818 w 3509761"/>
              <a:gd name="connsiteY2" fmla="*/ 3717761 h 3717761"/>
              <a:gd name="connsiteX3" fmla="*/ 1147823 w 3509761"/>
              <a:gd name="connsiteY3" fmla="*/ 3331413 h 3717761"/>
              <a:gd name="connsiteX4" fmla="*/ 0 w 3509761"/>
              <a:gd name="connsiteY4" fmla="*/ 915308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63736"/>
              <a:gd name="connsiteY0" fmla="*/ 844523 h 3717761"/>
              <a:gd name="connsiteX1" fmla="*/ 3563736 w 3563736"/>
              <a:gd name="connsiteY1" fmla="*/ 0 h 3717761"/>
              <a:gd name="connsiteX2" fmla="*/ 3437793 w 3563736"/>
              <a:gd name="connsiteY2" fmla="*/ 3717761 h 3717761"/>
              <a:gd name="connsiteX3" fmla="*/ 1201798 w 3563736"/>
              <a:gd name="connsiteY3" fmla="*/ 3331413 h 3717761"/>
              <a:gd name="connsiteX4" fmla="*/ 0 w 3563736"/>
              <a:gd name="connsiteY4" fmla="*/ 844523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581081"/>
              <a:gd name="connsiteY0" fmla="*/ 822241 h 3717761"/>
              <a:gd name="connsiteX1" fmla="*/ 3581081 w 3581081"/>
              <a:gd name="connsiteY1" fmla="*/ 0 h 3717761"/>
              <a:gd name="connsiteX2" fmla="*/ 3455138 w 3581081"/>
              <a:gd name="connsiteY2" fmla="*/ 3717761 h 3717761"/>
              <a:gd name="connsiteX3" fmla="*/ 1219143 w 3581081"/>
              <a:gd name="connsiteY3" fmla="*/ 3331413 h 3717761"/>
              <a:gd name="connsiteX4" fmla="*/ 0 w 3581081"/>
              <a:gd name="connsiteY4" fmla="*/ 822241 h 3717761"/>
              <a:gd name="connsiteX0" fmla="*/ 0 w 3871398"/>
              <a:gd name="connsiteY0" fmla="*/ 822241 h 3601009"/>
              <a:gd name="connsiteX1" fmla="*/ 3581081 w 3871398"/>
              <a:gd name="connsiteY1" fmla="*/ 0 h 3601009"/>
              <a:gd name="connsiteX2" fmla="*/ 3871357 w 3871398"/>
              <a:gd name="connsiteY2" fmla="*/ 3601009 h 3601009"/>
              <a:gd name="connsiteX3" fmla="*/ 1219143 w 3871398"/>
              <a:gd name="connsiteY3" fmla="*/ 3331413 h 3601009"/>
              <a:gd name="connsiteX4" fmla="*/ 0 w 3871398"/>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19143 w 3871357"/>
              <a:gd name="connsiteY3" fmla="*/ 3331413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 name="connsiteX0" fmla="*/ 0 w 3871357"/>
              <a:gd name="connsiteY0" fmla="*/ 822241 h 3601009"/>
              <a:gd name="connsiteX1" fmla="*/ 3581081 w 3871357"/>
              <a:gd name="connsiteY1" fmla="*/ 0 h 3601009"/>
              <a:gd name="connsiteX2" fmla="*/ 3871357 w 3871357"/>
              <a:gd name="connsiteY2" fmla="*/ 3601009 h 3601009"/>
              <a:gd name="connsiteX3" fmla="*/ 1273153 w 3871357"/>
              <a:gd name="connsiteY3" fmla="*/ 3344898 h 3601009"/>
              <a:gd name="connsiteX4" fmla="*/ 0 w 3871357"/>
              <a:gd name="connsiteY4" fmla="*/ 822241 h 360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1357" h="3601009">
                <a:moveTo>
                  <a:pt x="0" y="822241"/>
                </a:moveTo>
                <a:lnTo>
                  <a:pt x="3581081" y="0"/>
                </a:lnTo>
                <a:cubicBezTo>
                  <a:pt x="3661685" y="1253423"/>
                  <a:pt x="3670239" y="1410189"/>
                  <a:pt x="3871357" y="3601009"/>
                </a:cubicBezTo>
                <a:lnTo>
                  <a:pt x="1273153" y="3344898"/>
                </a:lnTo>
                <a:lnTo>
                  <a:pt x="0" y="822241"/>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p>
        </p:txBody>
      </p:sp>
      <p:sp>
        <p:nvSpPr>
          <p:cNvPr id="10" name="Tasakylkinen kolmio 9"/>
          <p:cNvSpPr/>
          <p:nvPr userDrawn="1"/>
        </p:nvSpPr>
        <p:spPr>
          <a:xfrm rot="8578768">
            <a:off x="768060" y="1944059"/>
            <a:ext cx="13912716" cy="7373353"/>
          </a:xfrm>
          <a:custGeom>
            <a:avLst/>
            <a:gdLst>
              <a:gd name="connsiteX0" fmla="*/ 0 w 13063587"/>
              <a:gd name="connsiteY0" fmla="*/ 8517539 h 8517539"/>
              <a:gd name="connsiteX1" fmla="*/ 4692049 w 13063587"/>
              <a:gd name="connsiteY1" fmla="*/ 0 h 8517539"/>
              <a:gd name="connsiteX2" fmla="*/ 13063587 w 13063587"/>
              <a:gd name="connsiteY2" fmla="*/ 8517539 h 8517539"/>
              <a:gd name="connsiteX3" fmla="*/ 0 w 13063587"/>
              <a:gd name="connsiteY3" fmla="*/ 8517539 h 8517539"/>
              <a:gd name="connsiteX0" fmla="*/ 0 w 12697893"/>
              <a:gd name="connsiteY0" fmla="*/ 8517539 h 8517539"/>
              <a:gd name="connsiteX1" fmla="*/ 4692049 w 12697893"/>
              <a:gd name="connsiteY1" fmla="*/ 0 h 8517539"/>
              <a:gd name="connsiteX2" fmla="*/ 12697893 w 12697893"/>
              <a:gd name="connsiteY2" fmla="*/ 8491640 h 8517539"/>
              <a:gd name="connsiteX3" fmla="*/ 0 w 12697893"/>
              <a:gd name="connsiteY3" fmla="*/ 8517539 h 8517539"/>
              <a:gd name="connsiteX0" fmla="*/ 0 w 12709863"/>
              <a:gd name="connsiteY0" fmla="*/ 8517539 h 8517539"/>
              <a:gd name="connsiteX1" fmla="*/ 4692049 w 12709863"/>
              <a:gd name="connsiteY1" fmla="*/ 0 h 8517539"/>
              <a:gd name="connsiteX2" fmla="*/ 12709863 w 12709863"/>
              <a:gd name="connsiteY2" fmla="*/ 8365318 h 8517539"/>
              <a:gd name="connsiteX3" fmla="*/ 0 w 12709863"/>
              <a:gd name="connsiteY3" fmla="*/ 8517539 h 8517539"/>
              <a:gd name="connsiteX0" fmla="*/ 0 w 11693951"/>
              <a:gd name="connsiteY0" fmla="*/ 8481971 h 8481971"/>
              <a:gd name="connsiteX1" fmla="*/ 3676137 w 11693951"/>
              <a:gd name="connsiteY1" fmla="*/ 0 h 8481971"/>
              <a:gd name="connsiteX2" fmla="*/ 11693951 w 11693951"/>
              <a:gd name="connsiteY2" fmla="*/ 8365318 h 8481971"/>
              <a:gd name="connsiteX3" fmla="*/ 0 w 11693951"/>
              <a:gd name="connsiteY3" fmla="*/ 8481971 h 8481971"/>
              <a:gd name="connsiteX0" fmla="*/ 0 w 11693951"/>
              <a:gd name="connsiteY0" fmla="*/ 5535196 h 5535196"/>
              <a:gd name="connsiteX1" fmla="*/ 4587780 w 11693951"/>
              <a:gd name="connsiteY1" fmla="*/ 0 h 5535196"/>
              <a:gd name="connsiteX2" fmla="*/ 11693951 w 11693951"/>
              <a:gd name="connsiteY2" fmla="*/ 5418543 h 5535196"/>
              <a:gd name="connsiteX3" fmla="*/ 0 w 11693951"/>
              <a:gd name="connsiteY3" fmla="*/ 5535196 h 5535196"/>
              <a:gd name="connsiteX0" fmla="*/ 0 w 11693951"/>
              <a:gd name="connsiteY0" fmla="*/ 5476336 h 5476336"/>
              <a:gd name="connsiteX1" fmla="*/ 4210226 w 11693951"/>
              <a:gd name="connsiteY1" fmla="*/ 0 h 5476336"/>
              <a:gd name="connsiteX2" fmla="*/ 11693951 w 11693951"/>
              <a:gd name="connsiteY2" fmla="*/ 5359683 h 5476336"/>
              <a:gd name="connsiteX3" fmla="*/ 0 w 11693951"/>
              <a:gd name="connsiteY3" fmla="*/ 5476336 h 5476336"/>
              <a:gd name="connsiteX0" fmla="*/ 0 w 11629103"/>
              <a:gd name="connsiteY0" fmla="*/ 5473181 h 5473181"/>
              <a:gd name="connsiteX1" fmla="*/ 4145378 w 11629103"/>
              <a:gd name="connsiteY1" fmla="*/ 0 h 5473181"/>
              <a:gd name="connsiteX2" fmla="*/ 11629103 w 11629103"/>
              <a:gd name="connsiteY2" fmla="*/ 5359683 h 5473181"/>
              <a:gd name="connsiteX3" fmla="*/ 0 w 11629103"/>
              <a:gd name="connsiteY3" fmla="*/ 5473181 h 5473181"/>
              <a:gd name="connsiteX0" fmla="*/ 0 w 11480691"/>
              <a:gd name="connsiteY0" fmla="*/ 5473181 h 5528875"/>
              <a:gd name="connsiteX1" fmla="*/ 4145378 w 11480691"/>
              <a:gd name="connsiteY1" fmla="*/ 0 h 5528875"/>
              <a:gd name="connsiteX2" fmla="*/ 11480691 w 11480691"/>
              <a:gd name="connsiteY2" fmla="*/ 5528875 h 5528875"/>
              <a:gd name="connsiteX3" fmla="*/ 0 w 11480691"/>
              <a:gd name="connsiteY3" fmla="*/ 5473181 h 5528875"/>
              <a:gd name="connsiteX0" fmla="*/ 0 w 11332280"/>
              <a:gd name="connsiteY0" fmla="*/ 5473181 h 5698065"/>
              <a:gd name="connsiteX1" fmla="*/ 4145378 w 11332280"/>
              <a:gd name="connsiteY1" fmla="*/ 0 h 5698065"/>
              <a:gd name="connsiteX2" fmla="*/ 11332280 w 11332280"/>
              <a:gd name="connsiteY2" fmla="*/ 5698065 h 5698065"/>
              <a:gd name="connsiteX3" fmla="*/ 0 w 11332280"/>
              <a:gd name="connsiteY3" fmla="*/ 5473181 h 5698065"/>
              <a:gd name="connsiteX0" fmla="*/ 0 w 11474055"/>
              <a:gd name="connsiteY0" fmla="*/ 5473181 h 5523870"/>
              <a:gd name="connsiteX1" fmla="*/ 4145378 w 11474055"/>
              <a:gd name="connsiteY1" fmla="*/ 0 h 5523870"/>
              <a:gd name="connsiteX2" fmla="*/ 11474055 w 11474055"/>
              <a:gd name="connsiteY2" fmla="*/ 5523870 h 5523870"/>
              <a:gd name="connsiteX3" fmla="*/ 0 w 11474055"/>
              <a:gd name="connsiteY3" fmla="*/ 5473181 h 5523870"/>
              <a:gd name="connsiteX0" fmla="*/ 0 w 11314002"/>
              <a:gd name="connsiteY0" fmla="*/ 5302359 h 5523870"/>
              <a:gd name="connsiteX1" fmla="*/ 3985325 w 11314002"/>
              <a:gd name="connsiteY1" fmla="*/ 0 h 5523870"/>
              <a:gd name="connsiteX2" fmla="*/ 11314002 w 11314002"/>
              <a:gd name="connsiteY2" fmla="*/ 5523870 h 5523870"/>
              <a:gd name="connsiteX3" fmla="*/ 0 w 11314002"/>
              <a:gd name="connsiteY3" fmla="*/ 5302359 h 5523870"/>
              <a:gd name="connsiteX0" fmla="*/ 0 w 11454145"/>
              <a:gd name="connsiteY0" fmla="*/ 5488196 h 5523870"/>
              <a:gd name="connsiteX1" fmla="*/ 4125468 w 11454145"/>
              <a:gd name="connsiteY1" fmla="*/ 0 h 5523870"/>
              <a:gd name="connsiteX2" fmla="*/ 11454145 w 11454145"/>
              <a:gd name="connsiteY2" fmla="*/ 5523870 h 5523870"/>
              <a:gd name="connsiteX3" fmla="*/ 0 w 11454145"/>
              <a:gd name="connsiteY3" fmla="*/ 5488196 h 5523870"/>
              <a:gd name="connsiteX0" fmla="*/ 0 w 11454145"/>
              <a:gd name="connsiteY0" fmla="*/ 6061949 h 6097623"/>
              <a:gd name="connsiteX1" fmla="*/ 3954089 w 11454145"/>
              <a:gd name="connsiteY1" fmla="*/ 0 h 6097623"/>
              <a:gd name="connsiteX2" fmla="*/ 11454145 w 11454145"/>
              <a:gd name="connsiteY2" fmla="*/ 6097623 h 6097623"/>
              <a:gd name="connsiteX3" fmla="*/ 0 w 11454145"/>
              <a:gd name="connsiteY3" fmla="*/ 6061949 h 6097623"/>
              <a:gd name="connsiteX0" fmla="*/ 0 w 10455814"/>
              <a:gd name="connsiteY0" fmla="*/ 5330155 h 6097623"/>
              <a:gd name="connsiteX1" fmla="*/ 2955758 w 10455814"/>
              <a:gd name="connsiteY1" fmla="*/ 0 h 6097623"/>
              <a:gd name="connsiteX2" fmla="*/ 10455814 w 10455814"/>
              <a:gd name="connsiteY2" fmla="*/ 6097623 h 6097623"/>
              <a:gd name="connsiteX3" fmla="*/ 0 w 10455814"/>
              <a:gd name="connsiteY3" fmla="*/ 5330155 h 6097623"/>
              <a:gd name="connsiteX0" fmla="*/ 0 w 10615911"/>
              <a:gd name="connsiteY0" fmla="*/ 5487965 h 6097623"/>
              <a:gd name="connsiteX1" fmla="*/ 3115855 w 10615911"/>
              <a:gd name="connsiteY1" fmla="*/ 0 h 6097623"/>
              <a:gd name="connsiteX2" fmla="*/ 10615911 w 10615911"/>
              <a:gd name="connsiteY2" fmla="*/ 6097623 h 6097623"/>
              <a:gd name="connsiteX3" fmla="*/ 0 w 10615911"/>
              <a:gd name="connsiteY3" fmla="*/ 5487965 h 6097623"/>
              <a:gd name="connsiteX0" fmla="*/ 0 w 10452196"/>
              <a:gd name="connsiteY0" fmla="*/ 5487965 h 7373444"/>
              <a:gd name="connsiteX1" fmla="*/ 3115855 w 10452196"/>
              <a:gd name="connsiteY1" fmla="*/ 0 h 7373444"/>
              <a:gd name="connsiteX2" fmla="*/ 10452196 w 10452196"/>
              <a:gd name="connsiteY2" fmla="*/ 7373444 h 7373444"/>
              <a:gd name="connsiteX3" fmla="*/ 0 w 10452196"/>
              <a:gd name="connsiteY3" fmla="*/ 5487965 h 7373444"/>
              <a:gd name="connsiteX0" fmla="*/ 0 w 10428135"/>
              <a:gd name="connsiteY0" fmla="*/ 5487965 h 7384672"/>
              <a:gd name="connsiteX1" fmla="*/ 3115855 w 10428135"/>
              <a:gd name="connsiteY1" fmla="*/ 0 h 7384672"/>
              <a:gd name="connsiteX2" fmla="*/ 10428135 w 10428135"/>
              <a:gd name="connsiteY2" fmla="*/ 7384672 h 7384672"/>
              <a:gd name="connsiteX3" fmla="*/ 0 w 10428135"/>
              <a:gd name="connsiteY3" fmla="*/ 5487965 h 7384672"/>
              <a:gd name="connsiteX0" fmla="*/ 0 w 10434537"/>
              <a:gd name="connsiteY0" fmla="*/ 5487965 h 7373353"/>
              <a:gd name="connsiteX1" fmla="*/ 3115855 w 10434537"/>
              <a:gd name="connsiteY1" fmla="*/ 0 h 7373353"/>
              <a:gd name="connsiteX2" fmla="*/ 10434537 w 10434537"/>
              <a:gd name="connsiteY2" fmla="*/ 7373353 h 7373353"/>
              <a:gd name="connsiteX3" fmla="*/ 0 w 10434537"/>
              <a:gd name="connsiteY3" fmla="*/ 5487965 h 7373353"/>
            </a:gdLst>
            <a:ahLst/>
            <a:cxnLst>
              <a:cxn ang="0">
                <a:pos x="connsiteX0" y="connsiteY0"/>
              </a:cxn>
              <a:cxn ang="0">
                <a:pos x="connsiteX1" y="connsiteY1"/>
              </a:cxn>
              <a:cxn ang="0">
                <a:pos x="connsiteX2" y="connsiteY2"/>
              </a:cxn>
              <a:cxn ang="0">
                <a:pos x="connsiteX3" y="connsiteY3"/>
              </a:cxn>
            </a:cxnLst>
            <a:rect l="l" t="t" r="r" b="b"/>
            <a:pathLst>
              <a:path w="10434537" h="7373353">
                <a:moveTo>
                  <a:pt x="0" y="5487965"/>
                </a:moveTo>
                <a:lnTo>
                  <a:pt x="3115855" y="0"/>
                </a:lnTo>
                <a:lnTo>
                  <a:pt x="10434537" y="7373353"/>
                </a:lnTo>
                <a:lnTo>
                  <a:pt x="0" y="5487965"/>
                </a:lnTo>
                <a:close/>
              </a:path>
            </a:pathLst>
          </a:cu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16433336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and Text">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7155"/>
            <a:ext cx="11233150" cy="4534233"/>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pic>
        <p:nvPicPr>
          <p:cNvPr id="2" name="Picture 1" descr="A blue letters on a black background&#10;&#10;Description automatically generated">
            <a:extLst>
              <a:ext uri="{FF2B5EF4-FFF2-40B4-BE49-F238E27FC236}">
                <a16:creationId xmlns:a16="http://schemas.microsoft.com/office/drawing/2014/main" id="{A06D018F-F123-CB01-91DA-D027EE03D24C}"/>
              </a:ext>
            </a:extLst>
          </p:cNvPr>
          <p:cNvPicPr>
            <a:picLocks noChangeAspect="1"/>
          </p:cNvPicPr>
          <p:nvPr userDrawn="1"/>
        </p:nvPicPr>
        <p:blipFill>
          <a:blip r:embed="rId5"/>
          <a:stretch>
            <a:fillRect/>
          </a:stretch>
        </p:blipFill>
        <p:spPr>
          <a:xfrm>
            <a:off x="10307937" y="6228261"/>
            <a:ext cx="1440000" cy="304460"/>
          </a:xfrm>
          <a:prstGeom prst="rect">
            <a:avLst/>
          </a:prstGeom>
        </p:spPr>
      </p:pic>
      <p:pic>
        <p:nvPicPr>
          <p:cNvPr id="7" name="Picture 6">
            <a:extLst>
              <a:ext uri="{FF2B5EF4-FFF2-40B4-BE49-F238E27FC236}">
                <a16:creationId xmlns:a16="http://schemas.microsoft.com/office/drawing/2014/main" id="{416D7742-4E21-4B24-48F9-DB51EE7CA8DC}"/>
              </a:ext>
            </a:extLst>
          </p:cNvPr>
          <p:cNvPicPr>
            <a:picLocks noChangeAspect="1"/>
          </p:cNvPicPr>
          <p:nvPr userDrawn="1"/>
        </p:nvPicPr>
        <p:blipFill>
          <a:blip r:embed="rId6">
            <a:alphaModFix/>
          </a:blip>
          <a:stretch>
            <a:fillRect/>
          </a:stretch>
        </p:blipFill>
        <p:spPr>
          <a:xfrm>
            <a:off x="9936033" y="6082281"/>
            <a:ext cx="2040850" cy="577599"/>
          </a:xfrm>
          <a:prstGeom prst="rect">
            <a:avLst/>
          </a:prstGeom>
        </p:spPr>
      </p:pic>
    </p:spTree>
    <p:extLst>
      <p:ext uri="{BB962C8B-B14F-4D97-AF65-F5344CB8AC3E}">
        <p14:creationId xmlns:p14="http://schemas.microsoft.com/office/powerpoint/2010/main" val="3150369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0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CBE928-C13A-FFBF-A987-C5118CD70CD0}"/>
              </a:ext>
            </a:extLst>
          </p:cNvPr>
          <p:cNvPicPr>
            <a:picLocks noChangeAspect="1"/>
          </p:cNvPicPr>
          <p:nvPr userDrawn="1"/>
        </p:nvPicPr>
        <p:blipFill rotWithShape="1">
          <a:blip r:embed="rId4"/>
          <a:srcRect l="11111"/>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5832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29056" y="3520440"/>
            <a:ext cx="5285232" cy="1258922"/>
          </a:xfrm>
          <a:prstGeom prst="rect">
            <a:avLst/>
          </a:prstGeom>
        </p:spPr>
        <p:txBody>
          <a:bodyPr vert="horz" lIns="0" tIns="0" rIns="0" bIns="0" anchor="ctr" anchorCtr="0">
            <a:noAutofit/>
          </a:bodyPr>
          <a:lstStyle>
            <a:lvl1pPr algn="l" rtl="0">
              <a:lnSpc>
                <a:spcPct val="93000"/>
              </a:lnSpc>
              <a:defRPr sz="3600" b="0" baseline="0">
                <a:solidFill>
                  <a:schemeClr val="bg1"/>
                </a:solidFill>
                <a:latin typeface="+mj-lt"/>
                <a:ea typeface="+mj-ea"/>
                <a:cs typeface="Calibri" panose="020F0502020204030204" pitchFamily="34" charset="0"/>
                <a:sym typeface="Trebuchet MS" panose="020B0603020202020204" pitchFamily="34" charset="0"/>
              </a:defRPr>
            </a:lvl1pPr>
          </a:lstStyle>
          <a:p>
            <a:r>
              <a:rPr lang="fi-FI">
                <a:latin typeface="+mj-lt"/>
              </a:rPr>
              <a:t>Tilaisuuden nimi</a:t>
            </a:r>
            <a:endParaRPr lang="fi-FI"/>
          </a:p>
        </p:txBody>
      </p:sp>
      <p:sp>
        <p:nvSpPr>
          <p:cNvPr id="23" name="Otsikon paikkamerkki 9">
            <a:extLst>
              <a:ext uri="{FF2B5EF4-FFF2-40B4-BE49-F238E27FC236}">
                <a16:creationId xmlns:a16="http://schemas.microsoft.com/office/drawing/2014/main" id="{25802FCD-2B2C-44FA-9354-1CD516D9E23A}"/>
              </a:ext>
            </a:extLst>
          </p:cNvPr>
          <p:cNvSpPr txBox="1">
            <a:spLocks/>
          </p:cNvSpPr>
          <p:nvPr userDrawn="1"/>
        </p:nvSpPr>
        <p:spPr>
          <a:xfrm>
            <a:off x="486507" y="6024806"/>
            <a:ext cx="1330570" cy="4111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1600" b="1" i="0" kern="1200" spc="0">
                <a:solidFill>
                  <a:schemeClr val="bg1"/>
                </a:solidFill>
                <a:latin typeface="Gilroy ExtraBold" pitchFamily="2" charset="77"/>
                <a:ea typeface="+mj-ea"/>
                <a:cs typeface="+mj-cs"/>
              </a:defRPr>
            </a:lvl1pPr>
          </a:lstStyle>
          <a:p>
            <a:pPr rtl="0"/>
            <a:r>
              <a:rPr lang="fi-FI" sz="1600" b="0" i="0" u="none" strike="noStrike" kern="1200" spc="0">
                <a:solidFill>
                  <a:schemeClr val="bg1"/>
                </a:solidFill>
                <a:effectLst/>
                <a:latin typeface="+mn-lt"/>
                <a:ea typeface="+mn-ea"/>
                <a:cs typeface="+mn-cs"/>
              </a:rPr>
              <a:t>©</a:t>
            </a:r>
            <a:r>
              <a:rPr lang="fi-FI" b="0" i="0">
                <a:solidFill>
                  <a:schemeClr val="bg1"/>
                </a:solidFill>
                <a:latin typeface="+mn-lt"/>
                <a:ea typeface="+mn-ea"/>
                <a:cs typeface="+mn-cs"/>
              </a:rPr>
              <a:t>Lentorata</a:t>
            </a:r>
          </a:p>
        </p:txBody>
      </p:sp>
      <p:sp>
        <p:nvSpPr>
          <p:cNvPr id="10" name="Text Placeholder 12">
            <a:extLst>
              <a:ext uri="{FF2B5EF4-FFF2-40B4-BE49-F238E27FC236}">
                <a16:creationId xmlns:a16="http://schemas.microsoft.com/office/drawing/2014/main" id="{691297B9-CF37-FFA5-1B9A-9BF8DF8AFBDC}"/>
              </a:ext>
            </a:extLst>
          </p:cNvPr>
          <p:cNvSpPr>
            <a:spLocks noGrp="1"/>
          </p:cNvSpPr>
          <p:nvPr>
            <p:ph type="body" sz="quarter" idx="10" hasCustomPrompt="1"/>
          </p:nvPr>
        </p:nvSpPr>
        <p:spPr>
          <a:xfrm>
            <a:off x="822325" y="5043997"/>
            <a:ext cx="5029835" cy="888491"/>
          </a:xfrm>
        </p:spPr>
        <p:txBody>
          <a:bodyPr tIns="0" anchor="ctr" anchorCtr="0"/>
          <a:lstStyle>
            <a:lvl1pPr marL="0" indent="0">
              <a:buFontTx/>
              <a:buNone/>
              <a:defRPr sz="2600" b="0" i="0">
                <a:solidFill>
                  <a:schemeClr val="bg1"/>
                </a:solidFill>
                <a:latin typeface="+mn-lt"/>
                <a:cs typeface="Calibri" panose="020F0502020204030204" pitchFamily="34" charset="0"/>
              </a:defRPr>
            </a:lvl1pPr>
          </a:lstStyle>
          <a:p>
            <a:pPr lvl="0"/>
            <a:r>
              <a:rPr lang="en-GB"/>
              <a:t>Esiintyjän nimi</a:t>
            </a:r>
          </a:p>
        </p:txBody>
      </p:sp>
      <p:pic>
        <p:nvPicPr>
          <p:cNvPr id="2" name="Picture 1" descr="A white text on a black background&#10;&#10;Description automatically generated">
            <a:extLst>
              <a:ext uri="{FF2B5EF4-FFF2-40B4-BE49-F238E27FC236}">
                <a16:creationId xmlns:a16="http://schemas.microsoft.com/office/drawing/2014/main" id="{5C1EAB1D-CCCE-F8C3-32BD-B0C50781F670}"/>
              </a:ext>
            </a:extLst>
          </p:cNvPr>
          <p:cNvPicPr>
            <a:picLocks noChangeAspect="1"/>
          </p:cNvPicPr>
          <p:nvPr userDrawn="1"/>
        </p:nvPicPr>
        <p:blipFill>
          <a:blip r:embed="rId7"/>
          <a:stretch>
            <a:fillRect/>
          </a:stretch>
        </p:blipFill>
        <p:spPr>
          <a:xfrm>
            <a:off x="8599708" y="5762869"/>
            <a:ext cx="3175000" cy="673100"/>
          </a:xfrm>
          <a:prstGeom prst="rect">
            <a:avLst/>
          </a:prstGeom>
        </p:spPr>
      </p:pic>
    </p:spTree>
    <p:extLst>
      <p:ext uri="{BB962C8B-B14F-4D97-AF65-F5344CB8AC3E}">
        <p14:creationId xmlns:p14="http://schemas.microsoft.com/office/powerpoint/2010/main" val="1992946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E052C0C-78F8-B8F7-0387-977B837435DE}"/>
              </a:ext>
            </a:extLst>
          </p:cNvPr>
          <p:cNvPicPr>
            <a:picLocks noChangeAspect="1"/>
          </p:cNvPicPr>
          <p:nvPr userDrawn="1"/>
        </p:nvPicPr>
        <p:blipFill>
          <a:blip r:embed="rId4"/>
          <a:src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5832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479425" y="716684"/>
            <a:ext cx="5285232" cy="1258922"/>
          </a:xfrm>
          <a:prstGeom prst="rect">
            <a:avLst/>
          </a:prstGeom>
        </p:spPr>
        <p:txBody>
          <a:bodyPr vert="horz" lIns="0" tIns="0" rIns="0" bIns="0" anchor="ctr" anchorCtr="0">
            <a:noAutofit/>
          </a:bodyPr>
          <a:lstStyle>
            <a:lvl1pPr algn="l" rtl="0">
              <a:lnSpc>
                <a:spcPct val="93000"/>
              </a:lnSpc>
              <a:defRPr sz="3600" b="0" baseline="0">
                <a:solidFill>
                  <a:schemeClr val="bg1"/>
                </a:solidFill>
                <a:latin typeface="+mj-lt"/>
                <a:ea typeface="+mj-ea"/>
                <a:cs typeface="Calibri" panose="020F0502020204030204" pitchFamily="34" charset="0"/>
                <a:sym typeface="Trebuchet MS" panose="020B0603020202020204" pitchFamily="34" charset="0"/>
              </a:defRPr>
            </a:lvl1pPr>
          </a:lstStyle>
          <a:p>
            <a:r>
              <a:rPr lang="fi-FI">
                <a:latin typeface="+mj-lt"/>
              </a:rPr>
              <a:t>Tilaisuuden nimi</a:t>
            </a:r>
            <a:endParaRPr lang="fi-FI"/>
          </a:p>
        </p:txBody>
      </p:sp>
      <p:sp>
        <p:nvSpPr>
          <p:cNvPr id="23" name="Otsikon paikkamerkki 9">
            <a:extLst>
              <a:ext uri="{FF2B5EF4-FFF2-40B4-BE49-F238E27FC236}">
                <a16:creationId xmlns:a16="http://schemas.microsoft.com/office/drawing/2014/main" id="{25802FCD-2B2C-44FA-9354-1CD516D9E23A}"/>
              </a:ext>
            </a:extLst>
          </p:cNvPr>
          <p:cNvSpPr txBox="1">
            <a:spLocks/>
          </p:cNvSpPr>
          <p:nvPr userDrawn="1"/>
        </p:nvSpPr>
        <p:spPr>
          <a:xfrm>
            <a:off x="401727" y="6024806"/>
            <a:ext cx="1330570" cy="4111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1600" b="1" i="0" kern="1200" spc="0">
                <a:solidFill>
                  <a:schemeClr val="bg1"/>
                </a:solidFill>
                <a:latin typeface="Gilroy ExtraBold" pitchFamily="2" charset="77"/>
                <a:ea typeface="+mj-ea"/>
                <a:cs typeface="+mj-cs"/>
              </a:defRPr>
            </a:lvl1pPr>
          </a:lstStyle>
          <a:p>
            <a:pPr rtl="0"/>
            <a:r>
              <a:rPr lang="fi-FI" sz="1600" b="0" i="0" u="none" strike="noStrike" kern="1200" spc="0">
                <a:solidFill>
                  <a:schemeClr val="bg1"/>
                </a:solidFill>
                <a:effectLst/>
                <a:latin typeface="+mn-lt"/>
                <a:ea typeface="+mn-ea"/>
                <a:cs typeface="+mn-cs"/>
              </a:rPr>
              <a:t>© </a:t>
            </a:r>
            <a:r>
              <a:rPr lang="fi-FI" b="0" i="0">
                <a:solidFill>
                  <a:schemeClr val="bg1"/>
                </a:solidFill>
                <a:latin typeface="+mn-lt"/>
                <a:ea typeface="+mn-ea"/>
                <a:cs typeface="+mn-cs"/>
              </a:rPr>
              <a:t>Lentorata</a:t>
            </a:r>
          </a:p>
        </p:txBody>
      </p:sp>
      <p:sp>
        <p:nvSpPr>
          <p:cNvPr id="10" name="Text Placeholder 12">
            <a:extLst>
              <a:ext uri="{FF2B5EF4-FFF2-40B4-BE49-F238E27FC236}">
                <a16:creationId xmlns:a16="http://schemas.microsoft.com/office/drawing/2014/main" id="{691297B9-CF37-FFA5-1B9A-9BF8DF8AFBDC}"/>
              </a:ext>
            </a:extLst>
          </p:cNvPr>
          <p:cNvSpPr>
            <a:spLocks noGrp="1"/>
          </p:cNvSpPr>
          <p:nvPr>
            <p:ph type="body" sz="quarter" idx="10" hasCustomPrompt="1"/>
          </p:nvPr>
        </p:nvSpPr>
        <p:spPr>
          <a:xfrm>
            <a:off x="479425" y="4539321"/>
            <a:ext cx="5029835" cy="888491"/>
          </a:xfrm>
        </p:spPr>
        <p:txBody>
          <a:bodyPr tIns="0" anchor="ctr" anchorCtr="0"/>
          <a:lstStyle>
            <a:lvl1pPr marL="0" indent="0">
              <a:buFontTx/>
              <a:buNone/>
              <a:defRPr sz="2600" b="0" i="0">
                <a:solidFill>
                  <a:schemeClr val="bg1"/>
                </a:solidFill>
                <a:latin typeface="+mn-lt"/>
                <a:cs typeface="Calibri" panose="020F0502020204030204" pitchFamily="34" charset="0"/>
              </a:defRPr>
            </a:lvl1pPr>
          </a:lstStyle>
          <a:p>
            <a:pPr lvl="0"/>
            <a:r>
              <a:rPr lang="en-GB" err="1"/>
              <a:t>Esiintyjän</a:t>
            </a:r>
            <a:r>
              <a:rPr lang="en-GB"/>
              <a:t> </a:t>
            </a:r>
            <a:r>
              <a:rPr lang="en-GB" err="1"/>
              <a:t>nimi</a:t>
            </a:r>
            <a:endParaRPr lang="en-GB"/>
          </a:p>
        </p:txBody>
      </p:sp>
      <p:pic>
        <p:nvPicPr>
          <p:cNvPr id="8" name="Picture 7" descr="A white text on a black background&#10;&#10;Description automatically generated">
            <a:extLst>
              <a:ext uri="{FF2B5EF4-FFF2-40B4-BE49-F238E27FC236}">
                <a16:creationId xmlns:a16="http://schemas.microsoft.com/office/drawing/2014/main" id="{39683BFB-8A7C-D04A-52A7-0581F99726E6}"/>
              </a:ext>
            </a:extLst>
          </p:cNvPr>
          <p:cNvPicPr>
            <a:picLocks noChangeAspect="1"/>
          </p:cNvPicPr>
          <p:nvPr userDrawn="1"/>
        </p:nvPicPr>
        <p:blipFill>
          <a:blip r:embed="rId7"/>
          <a:stretch>
            <a:fillRect/>
          </a:stretch>
        </p:blipFill>
        <p:spPr>
          <a:xfrm>
            <a:off x="8599708" y="5762869"/>
            <a:ext cx="3175000" cy="673100"/>
          </a:xfrm>
          <a:prstGeom prst="rect">
            <a:avLst/>
          </a:prstGeom>
        </p:spPr>
      </p:pic>
    </p:spTree>
    <p:extLst>
      <p:ext uri="{BB962C8B-B14F-4D97-AF65-F5344CB8AC3E}">
        <p14:creationId xmlns:p14="http://schemas.microsoft.com/office/powerpoint/2010/main" val="2030478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itle and two colum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pic>
        <p:nvPicPr>
          <p:cNvPr id="7" name="Picture 6" descr="A blue letters on a black background&#10;&#10;Description automatically generated">
            <a:extLst>
              <a:ext uri="{FF2B5EF4-FFF2-40B4-BE49-F238E27FC236}">
                <a16:creationId xmlns:a16="http://schemas.microsoft.com/office/drawing/2014/main" id="{E452BFB9-883C-3A01-DF20-097943603D70}"/>
              </a:ext>
            </a:extLst>
          </p:cNvPr>
          <p:cNvPicPr>
            <a:picLocks noChangeAspect="1"/>
          </p:cNvPicPr>
          <p:nvPr userDrawn="1"/>
        </p:nvPicPr>
        <p:blipFill>
          <a:blip r:embed="rId5"/>
          <a:stretch>
            <a:fillRect/>
          </a:stretch>
        </p:blipFill>
        <p:spPr>
          <a:xfrm>
            <a:off x="10307937" y="6228261"/>
            <a:ext cx="1440000" cy="304460"/>
          </a:xfrm>
          <a:prstGeom prst="rect">
            <a:avLst/>
          </a:prstGeom>
        </p:spPr>
      </p:pic>
      <p:pic>
        <p:nvPicPr>
          <p:cNvPr id="4" name="Picture 3">
            <a:extLst>
              <a:ext uri="{FF2B5EF4-FFF2-40B4-BE49-F238E27FC236}">
                <a16:creationId xmlns:a16="http://schemas.microsoft.com/office/drawing/2014/main" id="{134D3FAB-0A62-84A4-327D-3B3EAE597314}"/>
              </a:ext>
            </a:extLst>
          </p:cNvPr>
          <p:cNvPicPr>
            <a:picLocks noChangeAspect="1"/>
          </p:cNvPicPr>
          <p:nvPr userDrawn="1"/>
        </p:nvPicPr>
        <p:blipFill>
          <a:blip r:embed="rId6">
            <a:alphaModFix/>
          </a:blip>
          <a:stretch>
            <a:fillRect/>
          </a:stretch>
        </p:blipFill>
        <p:spPr>
          <a:xfrm>
            <a:off x="9936033" y="6082281"/>
            <a:ext cx="2040850" cy="577599"/>
          </a:xfrm>
          <a:prstGeom prst="rect">
            <a:avLst/>
          </a:prstGeom>
        </p:spPr>
      </p:pic>
    </p:spTree>
    <p:extLst>
      <p:ext uri="{BB962C8B-B14F-4D97-AF65-F5344CB8AC3E}">
        <p14:creationId xmlns:p14="http://schemas.microsoft.com/office/powerpoint/2010/main" val="1273119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Title_blank_logo">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pic>
        <p:nvPicPr>
          <p:cNvPr id="2" name="Picture 1" descr="A blue letters on a black background&#10;&#10;Description automatically generated">
            <a:extLst>
              <a:ext uri="{FF2B5EF4-FFF2-40B4-BE49-F238E27FC236}">
                <a16:creationId xmlns:a16="http://schemas.microsoft.com/office/drawing/2014/main" id="{A06D018F-F123-CB01-91DA-D027EE03D24C}"/>
              </a:ext>
            </a:extLst>
          </p:cNvPr>
          <p:cNvPicPr>
            <a:picLocks noChangeAspect="1"/>
          </p:cNvPicPr>
          <p:nvPr userDrawn="1"/>
        </p:nvPicPr>
        <p:blipFill>
          <a:blip r:embed="rId5"/>
          <a:stretch>
            <a:fillRect/>
          </a:stretch>
        </p:blipFill>
        <p:spPr>
          <a:xfrm>
            <a:off x="10307937" y="6228261"/>
            <a:ext cx="1440000" cy="304460"/>
          </a:xfrm>
          <a:prstGeom prst="rect">
            <a:avLst/>
          </a:prstGeom>
        </p:spPr>
      </p:pic>
      <p:pic>
        <p:nvPicPr>
          <p:cNvPr id="3" name="Picture 2">
            <a:extLst>
              <a:ext uri="{FF2B5EF4-FFF2-40B4-BE49-F238E27FC236}">
                <a16:creationId xmlns:a16="http://schemas.microsoft.com/office/drawing/2014/main" id="{8901926C-D9A6-975A-1CC3-899B647692D7}"/>
              </a:ext>
            </a:extLst>
          </p:cNvPr>
          <p:cNvPicPr>
            <a:picLocks noChangeAspect="1"/>
          </p:cNvPicPr>
          <p:nvPr userDrawn="1"/>
        </p:nvPicPr>
        <p:blipFill>
          <a:blip r:embed="rId6">
            <a:alphaModFix/>
          </a:blip>
          <a:stretch>
            <a:fillRect/>
          </a:stretch>
        </p:blipFill>
        <p:spPr>
          <a:xfrm>
            <a:off x="9936033" y="6082281"/>
            <a:ext cx="2040850" cy="577599"/>
          </a:xfrm>
          <a:prstGeom prst="rect">
            <a:avLst/>
          </a:prstGeom>
        </p:spPr>
      </p:pic>
    </p:spTree>
    <p:extLst>
      <p:ext uri="{BB962C8B-B14F-4D97-AF65-F5344CB8AC3E}">
        <p14:creationId xmlns:p14="http://schemas.microsoft.com/office/powerpoint/2010/main" val="2094821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Text_turkoosi-viiva">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6626352"/>
            <a:ext cx="12192000" cy="231648"/>
          </a:xfrm>
          <a:prstGeom prst="rect">
            <a:avLst/>
          </a:prstGeom>
          <a:solidFill>
            <a:schemeClr val="accent3"/>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80000" y="1487157"/>
            <a:ext cx="11232000" cy="4534232"/>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80000" y="420568"/>
            <a:ext cx="1123200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5" name="Google Shape;32;p23">
            <a:extLst>
              <a:ext uri="{FF2B5EF4-FFF2-40B4-BE49-F238E27FC236}">
                <a16:creationId xmlns:a16="http://schemas.microsoft.com/office/drawing/2014/main" id="{E842F218-9B9C-1BBD-9207-603727AC8B16}"/>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2" name="Picture 1" descr="A blue letters on a black background&#10;&#10;Description automatically generated">
            <a:extLst>
              <a:ext uri="{FF2B5EF4-FFF2-40B4-BE49-F238E27FC236}">
                <a16:creationId xmlns:a16="http://schemas.microsoft.com/office/drawing/2014/main" id="{611BAAC7-4D32-4AC3-9D01-51CBC6D72B15}"/>
              </a:ext>
            </a:extLst>
          </p:cNvPr>
          <p:cNvPicPr>
            <a:picLocks noChangeAspect="1"/>
          </p:cNvPicPr>
          <p:nvPr userDrawn="1"/>
        </p:nvPicPr>
        <p:blipFill>
          <a:blip r:embed="rId5"/>
          <a:stretch>
            <a:fillRect/>
          </a:stretch>
        </p:blipFill>
        <p:spPr>
          <a:xfrm>
            <a:off x="10307937" y="6228261"/>
            <a:ext cx="1440000" cy="304460"/>
          </a:xfrm>
          <a:prstGeom prst="rect">
            <a:avLst/>
          </a:prstGeom>
        </p:spPr>
      </p:pic>
      <p:sp>
        <p:nvSpPr>
          <p:cNvPr id="3" name="Date Placeholder 3">
            <a:extLst>
              <a:ext uri="{FF2B5EF4-FFF2-40B4-BE49-F238E27FC236}">
                <a16:creationId xmlns:a16="http://schemas.microsoft.com/office/drawing/2014/main" id="{4ECEE2D2-C365-477E-5F60-7D9C13005852}"/>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0" name="TextBox 9">
            <a:extLst>
              <a:ext uri="{FF2B5EF4-FFF2-40B4-BE49-F238E27FC236}">
                <a16:creationId xmlns:a16="http://schemas.microsoft.com/office/drawing/2014/main" id="{C11B361E-F184-150E-BE92-C96F7E5CBDF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7" name="Picture 6">
            <a:extLst>
              <a:ext uri="{FF2B5EF4-FFF2-40B4-BE49-F238E27FC236}">
                <a16:creationId xmlns:a16="http://schemas.microsoft.com/office/drawing/2014/main" id="{0934AB16-4F19-6FE3-8B0A-93BC64178E00}"/>
              </a:ext>
            </a:extLst>
          </p:cNvPr>
          <p:cNvPicPr>
            <a:picLocks noChangeAspect="1"/>
          </p:cNvPicPr>
          <p:nvPr userDrawn="1"/>
        </p:nvPicPr>
        <p:blipFill>
          <a:blip r:embed="rId6">
            <a:alphaModFix/>
          </a:blip>
          <a:srcRect b="22015"/>
          <a:stretch>
            <a:fillRect/>
          </a:stretch>
        </p:blipFill>
        <p:spPr>
          <a:xfrm>
            <a:off x="9936033" y="6082282"/>
            <a:ext cx="2040850" cy="450440"/>
          </a:xfrm>
          <a:prstGeom prst="rect">
            <a:avLst/>
          </a:prstGeom>
        </p:spPr>
      </p:pic>
    </p:spTree>
    <p:extLst>
      <p:ext uri="{BB962C8B-B14F-4D97-AF65-F5344CB8AC3E}">
        <p14:creationId xmlns:p14="http://schemas.microsoft.com/office/powerpoint/2010/main" val="171253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and two colums_turkoosi-viiva">
    <p:spTree>
      <p:nvGrpSpPr>
        <p:cNvPr id="1" name=""/>
        <p:cNvGrpSpPr/>
        <p:nvPr/>
      </p:nvGrpSpPr>
      <p:grpSpPr>
        <a:xfrm>
          <a:off x="0" y="0"/>
          <a:ext cx="0" cy="0"/>
          <a:chOff x="0" y="0"/>
          <a:chExt cx="0" cy="0"/>
        </a:xfrm>
      </p:grpSpPr>
      <p:sp>
        <p:nvSpPr>
          <p:cNvPr id="2" name="Google Shape;32;p23">
            <a:extLst>
              <a:ext uri="{FF2B5EF4-FFF2-40B4-BE49-F238E27FC236}">
                <a16:creationId xmlns:a16="http://schemas.microsoft.com/office/drawing/2014/main" id="{CD2E6237-A93E-BB5B-2F5A-701746E1116B}"/>
              </a:ext>
            </a:extLst>
          </p:cNvPr>
          <p:cNvSpPr/>
          <p:nvPr userDrawn="1"/>
        </p:nvSpPr>
        <p:spPr>
          <a:xfrm>
            <a:off x="0" y="6626352"/>
            <a:ext cx="12192000" cy="231648"/>
          </a:xfrm>
          <a:prstGeom prst="rect">
            <a:avLst/>
          </a:prstGeom>
          <a:solidFill>
            <a:schemeClr val="accent3"/>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pic>
        <p:nvPicPr>
          <p:cNvPr id="7" name="Picture 6" descr="A blue letters on a black background&#10;&#10;Description automatically generated">
            <a:extLst>
              <a:ext uri="{FF2B5EF4-FFF2-40B4-BE49-F238E27FC236}">
                <a16:creationId xmlns:a16="http://schemas.microsoft.com/office/drawing/2014/main" id="{E452BFB9-883C-3A01-DF20-097943603D70}"/>
              </a:ext>
            </a:extLst>
          </p:cNvPr>
          <p:cNvPicPr>
            <a:picLocks noChangeAspect="1"/>
          </p:cNvPicPr>
          <p:nvPr userDrawn="1"/>
        </p:nvPicPr>
        <p:blipFill>
          <a:blip r:embed="rId5"/>
          <a:stretch>
            <a:fillRect/>
          </a:stretch>
        </p:blipFill>
        <p:spPr>
          <a:xfrm>
            <a:off x="10307937" y="6228261"/>
            <a:ext cx="1440000" cy="304460"/>
          </a:xfrm>
          <a:prstGeom prst="rect">
            <a:avLst/>
          </a:prstGeom>
        </p:spPr>
      </p:pic>
      <p:sp>
        <p:nvSpPr>
          <p:cNvPr id="4" name="Date Placeholder 3">
            <a:extLst>
              <a:ext uri="{FF2B5EF4-FFF2-40B4-BE49-F238E27FC236}">
                <a16:creationId xmlns:a16="http://schemas.microsoft.com/office/drawing/2014/main" id="{888DA92B-704D-CC36-C347-491267D7EA19}"/>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7464B5EE-33C3-8290-A123-9CB6BC10CE40}"/>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FF1CE2B4-A41B-91A8-4A4F-925A69AEC584}"/>
              </a:ext>
            </a:extLst>
          </p:cNvPr>
          <p:cNvPicPr>
            <a:picLocks noChangeAspect="1"/>
          </p:cNvPicPr>
          <p:nvPr userDrawn="1"/>
        </p:nvPicPr>
        <p:blipFill>
          <a:blip r:embed="rId6">
            <a:alphaModFix/>
          </a:blip>
          <a:srcRect b="22015"/>
          <a:stretch>
            <a:fillRect/>
          </a:stretch>
        </p:blipFill>
        <p:spPr>
          <a:xfrm>
            <a:off x="9936033" y="6082282"/>
            <a:ext cx="2040850" cy="450440"/>
          </a:xfrm>
          <a:prstGeom prst="rect">
            <a:avLst/>
          </a:prstGeom>
        </p:spPr>
      </p:pic>
    </p:spTree>
    <p:extLst>
      <p:ext uri="{BB962C8B-B14F-4D97-AF65-F5344CB8AC3E}">
        <p14:creationId xmlns:p14="http://schemas.microsoft.com/office/powerpoint/2010/main" val="3722167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 kuvapaikkaa">
    <p:spTree>
      <p:nvGrpSpPr>
        <p:cNvPr id="1" name=""/>
        <p:cNvGrpSpPr/>
        <p:nvPr/>
      </p:nvGrpSpPr>
      <p:grpSpPr>
        <a:xfrm>
          <a:off x="0" y="0"/>
          <a:ext cx="0" cy="0"/>
          <a:chOff x="0" y="0"/>
          <a:chExt cx="0" cy="0"/>
        </a:xfrm>
      </p:grpSpPr>
      <p:sp>
        <p:nvSpPr>
          <p:cNvPr id="6" name="Kuvan paikkamerkki 5">
            <a:extLst>
              <a:ext uri="{FF2B5EF4-FFF2-40B4-BE49-F238E27FC236}">
                <a16:creationId xmlns:a16="http://schemas.microsoft.com/office/drawing/2014/main" id="{B6059080-D32E-8D58-F3A4-F25B6B179DD3}"/>
              </a:ext>
            </a:extLst>
          </p:cNvPr>
          <p:cNvSpPr>
            <a:spLocks noGrp="1"/>
          </p:cNvSpPr>
          <p:nvPr>
            <p:ph type="pic" sz="quarter" idx="10"/>
          </p:nvPr>
        </p:nvSpPr>
        <p:spPr>
          <a:xfrm>
            <a:off x="0" y="0"/>
            <a:ext cx="6096000" cy="3429000"/>
          </a:xfrm>
        </p:spPr>
        <p:txBody>
          <a:bodyPr/>
          <a:lstStyle/>
          <a:p>
            <a:r>
              <a:rPr lang="fi-FI"/>
              <a:t>Lisää kuva napsauttamalla kuvaketta</a:t>
            </a:r>
          </a:p>
        </p:txBody>
      </p:sp>
      <p:sp>
        <p:nvSpPr>
          <p:cNvPr id="2" name="Kuvan paikkamerkki 5">
            <a:extLst>
              <a:ext uri="{FF2B5EF4-FFF2-40B4-BE49-F238E27FC236}">
                <a16:creationId xmlns:a16="http://schemas.microsoft.com/office/drawing/2014/main" id="{4882092E-5C6A-1528-20CF-198CE4AF225B}"/>
              </a:ext>
            </a:extLst>
          </p:cNvPr>
          <p:cNvSpPr>
            <a:spLocks noGrp="1"/>
          </p:cNvSpPr>
          <p:nvPr>
            <p:ph type="pic" sz="quarter" idx="11"/>
          </p:nvPr>
        </p:nvSpPr>
        <p:spPr>
          <a:xfrm>
            <a:off x="0" y="3429000"/>
            <a:ext cx="6096000" cy="3429000"/>
          </a:xfrm>
        </p:spPr>
        <p:txBody>
          <a:bodyPr/>
          <a:lstStyle/>
          <a:p>
            <a:r>
              <a:rPr lang="fi-FI"/>
              <a:t>Lisää kuva napsauttamalla kuvaketta</a:t>
            </a:r>
          </a:p>
        </p:txBody>
      </p:sp>
      <p:sp>
        <p:nvSpPr>
          <p:cNvPr id="3" name="Kuvan paikkamerkki 5">
            <a:extLst>
              <a:ext uri="{FF2B5EF4-FFF2-40B4-BE49-F238E27FC236}">
                <a16:creationId xmlns:a16="http://schemas.microsoft.com/office/drawing/2014/main" id="{88B0D8E5-DC5B-AEC5-9EDB-423F93980903}"/>
              </a:ext>
            </a:extLst>
          </p:cNvPr>
          <p:cNvSpPr>
            <a:spLocks noGrp="1"/>
          </p:cNvSpPr>
          <p:nvPr>
            <p:ph type="pic" sz="quarter" idx="12"/>
          </p:nvPr>
        </p:nvSpPr>
        <p:spPr>
          <a:xfrm>
            <a:off x="6096000" y="0"/>
            <a:ext cx="6096000" cy="3429000"/>
          </a:xfrm>
        </p:spPr>
        <p:txBody>
          <a:bodyPr/>
          <a:lstStyle/>
          <a:p>
            <a:r>
              <a:rPr lang="fi-FI"/>
              <a:t>Lisää kuva napsauttamalla kuvaketta</a:t>
            </a:r>
          </a:p>
        </p:txBody>
      </p:sp>
      <p:sp>
        <p:nvSpPr>
          <p:cNvPr id="4" name="Kuvan paikkamerkki 5">
            <a:extLst>
              <a:ext uri="{FF2B5EF4-FFF2-40B4-BE49-F238E27FC236}">
                <a16:creationId xmlns:a16="http://schemas.microsoft.com/office/drawing/2014/main" id="{A140C5B4-9082-E19F-2326-F1BD31872041}"/>
              </a:ext>
            </a:extLst>
          </p:cNvPr>
          <p:cNvSpPr>
            <a:spLocks noGrp="1"/>
          </p:cNvSpPr>
          <p:nvPr>
            <p:ph type="pic" sz="quarter" idx="13"/>
          </p:nvPr>
        </p:nvSpPr>
        <p:spPr>
          <a:xfrm>
            <a:off x="6096000" y="3429000"/>
            <a:ext cx="6096000" cy="3429000"/>
          </a:xfrm>
        </p:spPr>
        <p:txBody>
          <a:bodyPr/>
          <a:lstStyle/>
          <a:p>
            <a:r>
              <a:rPr lang="fi-FI"/>
              <a:t>Lisää kuva napsauttamalla kuvaketta</a:t>
            </a:r>
          </a:p>
        </p:txBody>
      </p:sp>
    </p:spTree>
    <p:extLst>
      <p:ext uri="{BB962C8B-B14F-4D97-AF65-F5344CB8AC3E}">
        <p14:creationId xmlns:p14="http://schemas.microsoft.com/office/powerpoint/2010/main" val="2366079509"/>
      </p:ext>
    </p:extLst>
  </p:cSld>
  <p:clrMapOvr>
    <a:masterClrMapping/>
  </p:clrMapOvr>
  <p:hf sldNum="0"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Title and Text_korkea-turkoosi">
    <p:bg>
      <p:bgPr>
        <a:solidFill>
          <a:schemeClr val="bg1"/>
        </a:solidFill>
        <a:effectLst/>
      </p:bgPr>
    </p:bg>
    <p:spTree>
      <p:nvGrpSpPr>
        <p:cNvPr id="1" name=""/>
        <p:cNvGrpSpPr/>
        <p:nvPr/>
      </p:nvGrpSpPr>
      <p:grpSpPr>
        <a:xfrm>
          <a:off x="0" y="0"/>
          <a:ext cx="0" cy="0"/>
          <a:chOff x="0" y="0"/>
          <a:chExt cx="0" cy="0"/>
        </a:xfrm>
      </p:grpSpPr>
      <p:sp>
        <p:nvSpPr>
          <p:cNvPr id="10" name="Google Shape;28;p23">
            <a:extLst>
              <a:ext uri="{FF2B5EF4-FFF2-40B4-BE49-F238E27FC236}">
                <a16:creationId xmlns:a16="http://schemas.microsoft.com/office/drawing/2014/main" id="{E2674F69-89F5-40FA-2704-505F9BA04F79}"/>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1" name="Picture 10">
            <a:extLst>
              <a:ext uri="{FF2B5EF4-FFF2-40B4-BE49-F238E27FC236}">
                <a16:creationId xmlns:a16="http://schemas.microsoft.com/office/drawing/2014/main" id="{C1A5219F-72BA-F147-CB43-61FF228F4825}"/>
              </a:ext>
            </a:extLst>
          </p:cNvPr>
          <p:cNvPicPr>
            <a:picLocks noChangeAspect="1"/>
          </p:cNvPicPr>
          <p:nvPr userDrawn="1"/>
        </p:nvPicPr>
        <p:blipFill>
          <a:blip r:embed="rId3"/>
          <a:srcRect/>
          <a:stretch/>
        </p:blipFill>
        <p:spPr>
          <a:xfrm>
            <a:off x="10307937" y="6308646"/>
            <a:ext cx="1440000" cy="304457"/>
          </a:xfrm>
          <a:prstGeom prst="rect">
            <a:avLst/>
          </a:prstGeom>
        </p:spPr>
      </p:pic>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7155"/>
            <a:ext cx="11233150" cy="4534233"/>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2" name="Date Placeholder 3">
            <a:extLst>
              <a:ext uri="{FF2B5EF4-FFF2-40B4-BE49-F238E27FC236}">
                <a16:creationId xmlns:a16="http://schemas.microsoft.com/office/drawing/2014/main" id="{D1A552B7-C73B-2CF6-7978-295B2CEACC1A}"/>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30FCA8BC-DC0C-73F3-FC21-90FA4AD85694}"/>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17479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Title and two colums_korkea-turkoosi">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sp>
        <p:nvSpPr>
          <p:cNvPr id="14" name="TextBox 13">
            <a:extLst>
              <a:ext uri="{FF2B5EF4-FFF2-40B4-BE49-F238E27FC236}">
                <a16:creationId xmlns:a16="http://schemas.microsoft.com/office/drawing/2014/main" id="{F1791489-1BCC-9C83-8A7C-2F926F0FA72F}"/>
              </a:ext>
            </a:extLst>
          </p:cNvPr>
          <p:cNvSpPr txBox="1"/>
          <p:nvPr userDrawn="1"/>
        </p:nvSpPr>
        <p:spPr>
          <a:xfrm>
            <a:off x="11167872"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solidFill>
                <a:schemeClr val="bg1">
                  <a:lumMod val="50000"/>
                </a:schemeClr>
              </a:solidFill>
              <a:latin typeface="+mn-lt"/>
              <a:ea typeface="+mn-ea"/>
              <a:cs typeface="+mn-cs"/>
              <a:sym typeface="Trebuchet MS" panose="020B0603020202020204" pitchFamily="34" charset="0"/>
            </a:endParaRPr>
          </a:p>
        </p:txBody>
      </p:sp>
      <p:sp>
        <p:nvSpPr>
          <p:cNvPr id="2" name="Google Shape;28;p23">
            <a:extLst>
              <a:ext uri="{FF2B5EF4-FFF2-40B4-BE49-F238E27FC236}">
                <a16:creationId xmlns:a16="http://schemas.microsoft.com/office/drawing/2014/main" id="{8C7B4583-1299-284A-0AD4-478831DEE2E2}"/>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4" name="Picture 3">
            <a:extLst>
              <a:ext uri="{FF2B5EF4-FFF2-40B4-BE49-F238E27FC236}">
                <a16:creationId xmlns:a16="http://schemas.microsoft.com/office/drawing/2014/main" id="{18D29CED-6D8B-0689-A466-A6824E41FD51}"/>
              </a:ext>
            </a:extLst>
          </p:cNvPr>
          <p:cNvPicPr>
            <a:picLocks noChangeAspect="1"/>
          </p:cNvPicPr>
          <p:nvPr userDrawn="1"/>
        </p:nvPicPr>
        <p:blipFill>
          <a:blip r:embed="rId5"/>
          <a:srcRect/>
          <a:stretch/>
        </p:blipFill>
        <p:spPr>
          <a:xfrm>
            <a:off x="10307937" y="6308646"/>
            <a:ext cx="1440000" cy="304457"/>
          </a:xfrm>
          <a:prstGeom prst="rect">
            <a:avLst/>
          </a:prstGeom>
        </p:spPr>
      </p:pic>
      <p:sp>
        <p:nvSpPr>
          <p:cNvPr id="7" name="Date Placeholder 3">
            <a:extLst>
              <a:ext uri="{FF2B5EF4-FFF2-40B4-BE49-F238E27FC236}">
                <a16:creationId xmlns:a16="http://schemas.microsoft.com/office/drawing/2014/main" id="{78B40642-E640-ABA6-D4BF-8A77BF8C790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9" name="TextBox 8">
            <a:extLst>
              <a:ext uri="{FF2B5EF4-FFF2-40B4-BE49-F238E27FC236}">
                <a16:creationId xmlns:a16="http://schemas.microsoft.com/office/drawing/2014/main" id="{77C1AC23-78A5-F0C3-5D6C-71AAB8DAE2FA}"/>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42393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 Title, text, selected image-korkea-turkoosi">
    <p:bg>
      <p:bgPr>
        <a:solidFill>
          <a:schemeClr val="bg1"/>
        </a:solidFill>
        <a:effectLst/>
      </p:bgPr>
    </p:bg>
    <p:spTree>
      <p:nvGrpSpPr>
        <p:cNvPr id="1" name=""/>
        <p:cNvGrpSpPr/>
        <p:nvPr/>
      </p:nvGrpSpPr>
      <p:grpSpPr>
        <a:xfrm>
          <a:off x="0" y="0"/>
          <a:ext cx="0" cy="0"/>
          <a:chOff x="0" y="0"/>
          <a:chExt cx="0" cy="0"/>
        </a:xfrm>
      </p:grpSpPr>
      <p:pic>
        <p:nvPicPr>
          <p:cNvPr id="5" name="Picture Placeholder 13" descr="Hands typing on a computer&#10;&#10;Description automatically generated">
            <a:extLst>
              <a:ext uri="{FF2B5EF4-FFF2-40B4-BE49-F238E27FC236}">
                <a16:creationId xmlns:a16="http://schemas.microsoft.com/office/drawing/2014/main" id="{9269FDCE-B88F-072E-C490-AE708E8A6C7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345922" y="231782"/>
            <a:ext cx="5846078" cy="6073767"/>
          </a:xfrm>
          <a:prstGeom prst="rect">
            <a:avLst/>
          </a:prstGeom>
        </p:spPr>
      </p:pic>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4312"/>
            <a:ext cx="5686425" cy="4537075"/>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0" name="Google Shape;32;p23">
            <a:extLst>
              <a:ext uri="{FF2B5EF4-FFF2-40B4-BE49-F238E27FC236}">
                <a16:creationId xmlns:a16="http://schemas.microsoft.com/office/drawing/2014/main" id="{DA24C26F-60D6-4B1C-9DAC-87914A6D9F35}"/>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5686425"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endParaRPr lang="fi-FI"/>
          </a:p>
        </p:txBody>
      </p:sp>
      <p:sp>
        <p:nvSpPr>
          <p:cNvPr id="9" name="Google Shape;28;p23">
            <a:extLst>
              <a:ext uri="{FF2B5EF4-FFF2-40B4-BE49-F238E27FC236}">
                <a16:creationId xmlns:a16="http://schemas.microsoft.com/office/drawing/2014/main" id="{F84B88B2-BED3-9315-68F0-D68297B8C812}"/>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5" name="Picture 14">
            <a:extLst>
              <a:ext uri="{FF2B5EF4-FFF2-40B4-BE49-F238E27FC236}">
                <a16:creationId xmlns:a16="http://schemas.microsoft.com/office/drawing/2014/main" id="{FEA68DFF-558A-A615-0B4A-1C7815EDD1CF}"/>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99A11C89-B592-3EE9-42DB-237EA3C8164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3" name="TextBox 2">
            <a:extLst>
              <a:ext uri="{FF2B5EF4-FFF2-40B4-BE49-F238E27FC236}">
                <a16:creationId xmlns:a16="http://schemas.microsoft.com/office/drawing/2014/main" id="{47163AE5-00EF-9FCC-D086-AA17D226DA9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70320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 Title, text, insert image_korkea-turkoosi">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4312"/>
            <a:ext cx="5686425" cy="4537075"/>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0" name="Google Shape;32;p23">
            <a:extLst>
              <a:ext uri="{FF2B5EF4-FFF2-40B4-BE49-F238E27FC236}">
                <a16:creationId xmlns:a16="http://schemas.microsoft.com/office/drawing/2014/main" id="{DA24C26F-60D6-4B1C-9DAC-87914A6D9F35}"/>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5686425"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endParaRPr lang="fi-FI"/>
          </a:p>
        </p:txBody>
      </p:sp>
      <p:sp>
        <p:nvSpPr>
          <p:cNvPr id="6" name="Picture Placeholder 5">
            <a:extLst>
              <a:ext uri="{FF2B5EF4-FFF2-40B4-BE49-F238E27FC236}">
                <a16:creationId xmlns:a16="http://schemas.microsoft.com/office/drawing/2014/main" id="{E47ED439-3299-E5AC-BA3B-609D2F3EB589}"/>
              </a:ext>
            </a:extLst>
          </p:cNvPr>
          <p:cNvSpPr>
            <a:spLocks noGrp="1"/>
          </p:cNvSpPr>
          <p:nvPr>
            <p:ph type="pic" sz="quarter" idx="11"/>
          </p:nvPr>
        </p:nvSpPr>
        <p:spPr>
          <a:xfrm>
            <a:off x="6400800" y="238133"/>
            <a:ext cx="5791200" cy="6016752"/>
          </a:xfrm>
        </p:spPr>
        <p:txBody>
          <a:bodyPr/>
          <a:lstStyle/>
          <a:p>
            <a:r>
              <a:rPr lang="fi-FI"/>
              <a:t>Lisää kuva napsauttamalla kuvaketta</a:t>
            </a:r>
          </a:p>
        </p:txBody>
      </p:sp>
      <p:sp>
        <p:nvSpPr>
          <p:cNvPr id="9" name="Google Shape;28;p23">
            <a:extLst>
              <a:ext uri="{FF2B5EF4-FFF2-40B4-BE49-F238E27FC236}">
                <a16:creationId xmlns:a16="http://schemas.microsoft.com/office/drawing/2014/main" id="{F84B88B2-BED3-9315-68F0-D68297B8C812}"/>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5" name="Picture 14">
            <a:extLst>
              <a:ext uri="{FF2B5EF4-FFF2-40B4-BE49-F238E27FC236}">
                <a16:creationId xmlns:a16="http://schemas.microsoft.com/office/drawing/2014/main" id="{FEA68DFF-558A-A615-0B4A-1C7815EDD1CF}"/>
              </a:ext>
            </a:extLst>
          </p:cNvPr>
          <p:cNvPicPr>
            <a:picLocks noChangeAspect="1"/>
          </p:cNvPicPr>
          <p:nvPr userDrawn="1"/>
        </p:nvPicPr>
        <p:blipFill>
          <a:blip r:embed="rId5"/>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99A11C89-B592-3EE9-42DB-237EA3C8164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3" name="TextBox 2">
            <a:extLst>
              <a:ext uri="{FF2B5EF4-FFF2-40B4-BE49-F238E27FC236}">
                <a16:creationId xmlns:a16="http://schemas.microsoft.com/office/drawing/2014/main" id="{47163AE5-00EF-9FCC-D086-AA17D226DA9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51820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7_Dark blue arrow one third &amp; bullets">
    <p:bg>
      <p:bgPr>
        <a:solidFill>
          <a:schemeClr val="bg1"/>
        </a:solidFill>
        <a:effectLst/>
      </p:bgPr>
    </p:bg>
    <p:spTree>
      <p:nvGrpSpPr>
        <p:cNvPr id="1" name=""/>
        <p:cNvGrpSpPr/>
        <p:nvPr/>
      </p:nvGrpSpPr>
      <p:grpSpPr>
        <a:xfrm>
          <a:off x="0" y="0"/>
          <a:ext cx="0" cy="0"/>
          <a:chOff x="0" y="0"/>
          <a:chExt cx="0" cy="0"/>
        </a:xfrm>
      </p:grpSpPr>
      <p:sp>
        <p:nvSpPr>
          <p:cNvPr id="2" name="Google Shape;28;p23">
            <a:extLst>
              <a:ext uri="{FF2B5EF4-FFF2-40B4-BE49-F238E27FC236}">
                <a16:creationId xmlns:a16="http://schemas.microsoft.com/office/drawing/2014/main" id="{E8865FD9-0377-A1C2-08DA-43EC7A3D7599}"/>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5" name="Picture 4">
            <a:extLst>
              <a:ext uri="{FF2B5EF4-FFF2-40B4-BE49-F238E27FC236}">
                <a16:creationId xmlns:a16="http://schemas.microsoft.com/office/drawing/2014/main" id="{8E74D969-86FF-62F8-313B-753C983EC9BE}"/>
              </a:ext>
            </a:extLst>
          </p:cNvPr>
          <p:cNvPicPr>
            <a:picLocks noChangeAspect="1"/>
          </p:cNvPicPr>
          <p:nvPr userDrawn="1"/>
        </p:nvPicPr>
        <p:blipFill>
          <a:blip r:embed="rId3"/>
          <a:srcRect/>
          <a:stretch/>
        </p:blipFill>
        <p:spPr>
          <a:xfrm>
            <a:off x="10307937" y="6308646"/>
            <a:ext cx="1440000" cy="304457"/>
          </a:xfrm>
          <a:prstGeom prst="rect">
            <a:avLst/>
          </a:prstGeom>
        </p:spPr>
      </p:pic>
      <p:sp>
        <p:nvSpPr>
          <p:cNvPr id="13" name="Pentagon 3"/>
          <p:cNvSpPr/>
          <p:nvPr userDrawn="1"/>
        </p:nvSpPr>
        <p:spPr bwMode="white">
          <a:xfrm>
            <a:off x="0" y="-1"/>
            <a:ext cx="5177017" cy="6262577"/>
          </a:xfrm>
          <a:prstGeom prst="homePlate">
            <a:avLst>
              <a:gd name="adj" fmla="val 157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fi-FI" sz="1200">
              <a:solidFill>
                <a:prstClr val="white"/>
              </a:solidFill>
              <a:latin typeface="+mn-lt"/>
              <a:ea typeface="+mn-ea"/>
              <a:cs typeface="+mn-cs"/>
              <a:sym typeface="Trebuchet MS" panose="020B0603020202020204" pitchFamily="34" charset="0"/>
            </a:endParaRPr>
          </a:p>
        </p:txBody>
      </p:sp>
      <p:graphicFrame>
        <p:nvGraphicFramePr>
          <p:cNvPr id="3" name="Object 2" hidden="1">
            <a:extLst>
              <a:ext uri="{FF2B5EF4-FFF2-40B4-BE49-F238E27FC236}">
                <a16:creationId xmlns:a16="http://schemas.microsoft.com/office/drawing/2014/main" id="{A16F89AB-4CF7-42DB-9CAD-00C742C4CCA4}"/>
              </a:ext>
            </a:extLst>
          </p:cNvPr>
          <p:cNvGraphicFramePr>
            <a:graphicFrameLocks noChangeAspect="1"/>
          </p:cNvGraphicFramePr>
          <p:nvPr userDrawn="1">
            <p:custDataLst>
              <p:tags r:id="rId1"/>
            </p:custDataLst>
            <p:extLst>
              <p:ext uri="{D42A27DB-BD31-4B8C-83A1-F6EECF244321}">
                <p14:modId xmlns:p14="http://schemas.microsoft.com/office/powerpoint/2010/main" val="497088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a:extLst>
                          <a:ext uri="{FF2B5EF4-FFF2-40B4-BE49-F238E27FC236}">
                            <a16:creationId xmlns:a16="http://schemas.microsoft.com/office/drawing/2014/main" id="{A16F89AB-4CF7-42DB-9CAD-00C742C4CC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
          <p:cNvSpPr>
            <a:spLocks noGrp="1"/>
          </p:cNvSpPr>
          <p:nvPr>
            <p:ph type="title" hasCustomPrompt="1"/>
          </p:nvPr>
        </p:nvSpPr>
        <p:spPr>
          <a:xfrm>
            <a:off x="824948" y="1599110"/>
            <a:ext cx="3849320" cy="2690148"/>
          </a:xfrm>
          <a:prstGeom prst="rect">
            <a:avLst/>
          </a:prstGeom>
          <a:ln>
            <a:noFill/>
          </a:ln>
        </p:spPr>
        <p:txBody>
          <a:bodyPr vert="horz" lIns="0" tIns="45720" rIns="91440" bIns="45720" anchor="ctr">
            <a:noAutofit/>
          </a:bodyPr>
          <a:lstStyle>
            <a:lvl1pPr rtl="0">
              <a:defRPr sz="3000" b="0">
                <a:solidFill>
                  <a:srgbClr val="FFFFFF"/>
                </a:solidFill>
                <a:latin typeface="+mj-lt"/>
                <a:ea typeface="+mj-ea"/>
                <a:cs typeface="+mj-cs"/>
                <a:sym typeface="Trebuchet MS" panose="020B0603020202020204" pitchFamily="34" charset="0"/>
              </a:defRPr>
            </a:lvl1pPr>
          </a:lstStyle>
          <a:p>
            <a:r>
              <a:rPr lang="fi-FI" err="1"/>
              <a:t>Click</a:t>
            </a:r>
            <a:r>
              <a:rPr lang="fi-FI"/>
              <a:t> to </a:t>
            </a:r>
            <a:r>
              <a:rPr lang="fi-FI" err="1"/>
              <a:t>add</a:t>
            </a:r>
            <a:r>
              <a:rPr lang="fi-FI"/>
              <a:t> </a:t>
            </a:r>
            <a:r>
              <a:rPr lang="fi-FI" err="1"/>
              <a:t>title</a:t>
            </a:r>
            <a:endParaRPr lang="fi-FI"/>
          </a:p>
        </p:txBody>
      </p:sp>
      <p:sp>
        <p:nvSpPr>
          <p:cNvPr id="4" name="Content Placeholder 3">
            <a:extLst>
              <a:ext uri="{FF2B5EF4-FFF2-40B4-BE49-F238E27FC236}">
                <a16:creationId xmlns:a16="http://schemas.microsoft.com/office/drawing/2014/main" id="{11C7E4FD-7D8C-5EE9-61B0-29F1E0F3775B}"/>
              </a:ext>
            </a:extLst>
          </p:cNvPr>
          <p:cNvSpPr>
            <a:spLocks noGrp="1"/>
          </p:cNvSpPr>
          <p:nvPr>
            <p:ph sz="quarter" idx="10" hasCustomPrompt="1"/>
          </p:nvPr>
        </p:nvSpPr>
        <p:spPr>
          <a:xfrm>
            <a:off x="5438274" y="1001486"/>
            <a:ext cx="5896476" cy="4484914"/>
          </a:xfrm>
        </p:spPr>
        <p:txBody>
          <a:bodyPr rIns="72000" anchor="ctr" anchorCtr="0"/>
          <a:lstStyle>
            <a:lvl1pPr>
              <a:lnSpc>
                <a:spcPct val="100000"/>
              </a:lnSpc>
              <a:spcBef>
                <a:spcPts val="0"/>
              </a:spcBef>
              <a:spcAft>
                <a:spcPts val="1800"/>
              </a:spcAft>
              <a:defRPr sz="2000"/>
            </a:lvl1pPr>
            <a:lvl2pPr>
              <a:lnSpc>
                <a:spcPct val="100000"/>
              </a:lnSpc>
              <a:spcBef>
                <a:spcPts val="0"/>
              </a:spcBef>
              <a:spcAft>
                <a:spcPts val="1800"/>
              </a:spcAft>
              <a:defRPr sz="2000"/>
            </a:lvl2pPr>
            <a:lvl3pPr>
              <a:lnSpc>
                <a:spcPct val="100000"/>
              </a:lnSpc>
              <a:spcBef>
                <a:spcPts val="0"/>
              </a:spcBef>
              <a:spcAft>
                <a:spcPts val="1800"/>
              </a:spcAft>
              <a:defRPr sz="2000"/>
            </a:lvl3pPr>
          </a:lstStyle>
          <a:p>
            <a:pPr lvl="0"/>
            <a:r>
              <a:rPr lang="en-GB"/>
              <a:t>Click to edit Master text styles, font Arial</a:t>
            </a:r>
          </a:p>
          <a:p>
            <a:pPr lvl="1"/>
            <a:r>
              <a:rPr lang="en-GB"/>
              <a:t>Second level</a:t>
            </a:r>
          </a:p>
          <a:p>
            <a:pPr lvl="2"/>
            <a:r>
              <a:rPr lang="en-GB"/>
              <a:t>Third level</a:t>
            </a:r>
            <a:endParaRPr lang="fi-FI"/>
          </a:p>
        </p:txBody>
      </p:sp>
      <p:grpSp>
        <p:nvGrpSpPr>
          <p:cNvPr id="59" name="Group 58">
            <a:extLst>
              <a:ext uri="{FF2B5EF4-FFF2-40B4-BE49-F238E27FC236}">
                <a16:creationId xmlns:a16="http://schemas.microsoft.com/office/drawing/2014/main" id="{65D8B0E2-B201-DE87-FBE7-BFD19DEA17F0}"/>
              </a:ext>
            </a:extLst>
          </p:cNvPr>
          <p:cNvGrpSpPr/>
          <p:nvPr userDrawn="1"/>
        </p:nvGrpSpPr>
        <p:grpSpPr>
          <a:xfrm>
            <a:off x="252173" y="6293565"/>
            <a:ext cx="7699778" cy="504000"/>
            <a:chOff x="188377" y="6209593"/>
            <a:chExt cx="7699778" cy="548559"/>
          </a:xfrm>
          <a:solidFill>
            <a:schemeClr val="bg1"/>
          </a:solidFill>
        </p:grpSpPr>
        <p:grpSp>
          <p:nvGrpSpPr>
            <p:cNvPr id="19" name="Group 18">
              <a:extLst>
                <a:ext uri="{FF2B5EF4-FFF2-40B4-BE49-F238E27FC236}">
                  <a16:creationId xmlns:a16="http://schemas.microsoft.com/office/drawing/2014/main" id="{018B3BB4-A633-DD16-7DDC-C08E1F619F79}"/>
                </a:ext>
              </a:extLst>
            </p:cNvPr>
            <p:cNvGrpSpPr/>
            <p:nvPr userDrawn="1"/>
          </p:nvGrpSpPr>
          <p:grpSpPr>
            <a:xfrm>
              <a:off x="188377" y="6267399"/>
              <a:ext cx="126000" cy="485497"/>
              <a:chOff x="372309" y="6272654"/>
              <a:chExt cx="119465" cy="485497"/>
            </a:xfrm>
            <a:grpFill/>
          </p:grpSpPr>
          <p:sp>
            <p:nvSpPr>
              <p:cNvPr id="11" name="Rectangle 10">
                <a:extLst>
                  <a:ext uri="{FF2B5EF4-FFF2-40B4-BE49-F238E27FC236}">
                    <a16:creationId xmlns:a16="http://schemas.microsoft.com/office/drawing/2014/main" id="{F7FC2A99-4F69-0CEE-CE94-9F27EAAF417F}"/>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12" name="Rectangle 11">
                <a:extLst>
                  <a:ext uri="{FF2B5EF4-FFF2-40B4-BE49-F238E27FC236}">
                    <a16:creationId xmlns:a16="http://schemas.microsoft.com/office/drawing/2014/main" id="{BCDAD4B3-0DEC-6757-4E6B-D604A0FEE629}"/>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20" name="Group 19">
              <a:extLst>
                <a:ext uri="{FF2B5EF4-FFF2-40B4-BE49-F238E27FC236}">
                  <a16:creationId xmlns:a16="http://schemas.microsoft.com/office/drawing/2014/main" id="{7FC021DE-392E-98C1-2C61-AE1BE3981F97}"/>
                </a:ext>
              </a:extLst>
            </p:cNvPr>
            <p:cNvGrpSpPr/>
            <p:nvPr userDrawn="1"/>
          </p:nvGrpSpPr>
          <p:grpSpPr>
            <a:xfrm rot="2678555">
              <a:off x="1822738" y="6214847"/>
              <a:ext cx="126000" cy="485497"/>
              <a:chOff x="372309" y="6272654"/>
              <a:chExt cx="119465" cy="485497"/>
            </a:xfrm>
            <a:grpFill/>
          </p:grpSpPr>
          <p:sp>
            <p:nvSpPr>
              <p:cNvPr id="21" name="Rectangle 20">
                <a:extLst>
                  <a:ext uri="{FF2B5EF4-FFF2-40B4-BE49-F238E27FC236}">
                    <a16:creationId xmlns:a16="http://schemas.microsoft.com/office/drawing/2014/main" id="{88803CC6-A180-1BA4-4446-679BC2788C37}"/>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22" name="Rectangle 21">
                <a:extLst>
                  <a:ext uri="{FF2B5EF4-FFF2-40B4-BE49-F238E27FC236}">
                    <a16:creationId xmlns:a16="http://schemas.microsoft.com/office/drawing/2014/main" id="{A853675A-267C-A296-6543-3D909C609826}"/>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23" name="Group 22">
              <a:extLst>
                <a:ext uri="{FF2B5EF4-FFF2-40B4-BE49-F238E27FC236}">
                  <a16:creationId xmlns:a16="http://schemas.microsoft.com/office/drawing/2014/main" id="{FA142C47-8CEC-F6F7-0774-DCB97D4B0E36}"/>
                </a:ext>
              </a:extLst>
            </p:cNvPr>
            <p:cNvGrpSpPr/>
            <p:nvPr userDrawn="1"/>
          </p:nvGrpSpPr>
          <p:grpSpPr>
            <a:xfrm rot="18881942">
              <a:off x="939868" y="6340970"/>
              <a:ext cx="126000" cy="485497"/>
              <a:chOff x="372309" y="6272654"/>
              <a:chExt cx="119465" cy="485497"/>
            </a:xfrm>
            <a:grpFill/>
          </p:grpSpPr>
          <p:sp>
            <p:nvSpPr>
              <p:cNvPr id="24" name="Rectangle 23">
                <a:extLst>
                  <a:ext uri="{FF2B5EF4-FFF2-40B4-BE49-F238E27FC236}">
                    <a16:creationId xmlns:a16="http://schemas.microsoft.com/office/drawing/2014/main" id="{7DF86EC7-1303-6B4C-B88B-2FC3987E8668}"/>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25" name="Rectangle 24">
                <a:extLst>
                  <a:ext uri="{FF2B5EF4-FFF2-40B4-BE49-F238E27FC236}">
                    <a16:creationId xmlns:a16="http://schemas.microsoft.com/office/drawing/2014/main" id="{C938322D-60DA-3E2A-6E03-6E05FE4C2FAB}"/>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35" name="Group 34">
              <a:extLst>
                <a:ext uri="{FF2B5EF4-FFF2-40B4-BE49-F238E27FC236}">
                  <a16:creationId xmlns:a16="http://schemas.microsoft.com/office/drawing/2014/main" id="{C490ABB3-4F70-AEE1-FAB8-859078AFB942}"/>
                </a:ext>
              </a:extLst>
            </p:cNvPr>
            <p:cNvGrpSpPr/>
            <p:nvPr userDrawn="1"/>
          </p:nvGrpSpPr>
          <p:grpSpPr>
            <a:xfrm>
              <a:off x="3215357" y="6267400"/>
              <a:ext cx="126000" cy="485497"/>
              <a:chOff x="372309" y="6272654"/>
              <a:chExt cx="119465" cy="485497"/>
            </a:xfrm>
            <a:grpFill/>
          </p:grpSpPr>
          <p:sp>
            <p:nvSpPr>
              <p:cNvPr id="36" name="Rectangle 35">
                <a:extLst>
                  <a:ext uri="{FF2B5EF4-FFF2-40B4-BE49-F238E27FC236}">
                    <a16:creationId xmlns:a16="http://schemas.microsoft.com/office/drawing/2014/main" id="{0B43D687-8C1B-021A-BE84-4BC1D19395F0}"/>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37" name="Rectangle 36">
                <a:extLst>
                  <a:ext uri="{FF2B5EF4-FFF2-40B4-BE49-F238E27FC236}">
                    <a16:creationId xmlns:a16="http://schemas.microsoft.com/office/drawing/2014/main" id="{F5C367CE-CED1-AEBD-622B-FBF122C03A8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38" name="Group 37">
              <a:extLst>
                <a:ext uri="{FF2B5EF4-FFF2-40B4-BE49-F238E27FC236}">
                  <a16:creationId xmlns:a16="http://schemas.microsoft.com/office/drawing/2014/main" id="{4664A8EB-A51F-01D1-FD39-8E0D91A9829D}"/>
                </a:ext>
              </a:extLst>
            </p:cNvPr>
            <p:cNvGrpSpPr/>
            <p:nvPr userDrawn="1"/>
          </p:nvGrpSpPr>
          <p:grpSpPr>
            <a:xfrm rot="2678555">
              <a:off x="4849718" y="6214848"/>
              <a:ext cx="126000" cy="485497"/>
              <a:chOff x="372309" y="6272654"/>
              <a:chExt cx="119465" cy="485497"/>
            </a:xfrm>
            <a:grpFill/>
          </p:grpSpPr>
          <p:sp>
            <p:nvSpPr>
              <p:cNvPr id="39" name="Rectangle 38">
                <a:extLst>
                  <a:ext uri="{FF2B5EF4-FFF2-40B4-BE49-F238E27FC236}">
                    <a16:creationId xmlns:a16="http://schemas.microsoft.com/office/drawing/2014/main" id="{26F72560-1E1C-CE90-D951-464FCC2B3427}"/>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0" name="Rectangle 39">
                <a:extLst>
                  <a:ext uri="{FF2B5EF4-FFF2-40B4-BE49-F238E27FC236}">
                    <a16:creationId xmlns:a16="http://schemas.microsoft.com/office/drawing/2014/main" id="{B6FB0DA2-DF64-A3E5-59DF-405EC23CDDF8}"/>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1" name="Group 40">
              <a:extLst>
                <a:ext uri="{FF2B5EF4-FFF2-40B4-BE49-F238E27FC236}">
                  <a16:creationId xmlns:a16="http://schemas.microsoft.com/office/drawing/2014/main" id="{5514B5D8-B243-512F-797E-F51B11B21EE8}"/>
                </a:ext>
              </a:extLst>
            </p:cNvPr>
            <p:cNvGrpSpPr/>
            <p:nvPr userDrawn="1"/>
          </p:nvGrpSpPr>
          <p:grpSpPr>
            <a:xfrm rot="18881942">
              <a:off x="3966848" y="6340971"/>
              <a:ext cx="126000" cy="485497"/>
              <a:chOff x="372309" y="6272654"/>
              <a:chExt cx="119465" cy="485497"/>
            </a:xfrm>
            <a:grpFill/>
          </p:grpSpPr>
          <p:sp>
            <p:nvSpPr>
              <p:cNvPr id="42" name="Rectangle 41">
                <a:extLst>
                  <a:ext uri="{FF2B5EF4-FFF2-40B4-BE49-F238E27FC236}">
                    <a16:creationId xmlns:a16="http://schemas.microsoft.com/office/drawing/2014/main" id="{2807236D-706C-C495-EC56-13BC11F037DA}"/>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3" name="Rectangle 42">
                <a:extLst>
                  <a:ext uri="{FF2B5EF4-FFF2-40B4-BE49-F238E27FC236}">
                    <a16:creationId xmlns:a16="http://schemas.microsoft.com/office/drawing/2014/main" id="{1F91F07C-F34B-C61C-C7E5-715A4CF0022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4" name="Group 43">
              <a:extLst>
                <a:ext uri="{FF2B5EF4-FFF2-40B4-BE49-F238E27FC236}">
                  <a16:creationId xmlns:a16="http://schemas.microsoft.com/office/drawing/2014/main" id="{56008001-891A-4C16-80A4-23015A4389A9}"/>
                </a:ext>
              </a:extLst>
            </p:cNvPr>
            <p:cNvGrpSpPr/>
            <p:nvPr userDrawn="1"/>
          </p:nvGrpSpPr>
          <p:grpSpPr>
            <a:xfrm rot="5400000">
              <a:off x="2479632" y="6409289"/>
              <a:ext cx="126000" cy="485497"/>
              <a:chOff x="372309" y="6272654"/>
              <a:chExt cx="119465" cy="485497"/>
            </a:xfrm>
            <a:grpFill/>
          </p:grpSpPr>
          <p:sp>
            <p:nvSpPr>
              <p:cNvPr id="45" name="Rectangle 44">
                <a:extLst>
                  <a:ext uri="{FF2B5EF4-FFF2-40B4-BE49-F238E27FC236}">
                    <a16:creationId xmlns:a16="http://schemas.microsoft.com/office/drawing/2014/main" id="{1C9DD28C-8C97-39EE-46EF-B1CDA3375AB6}"/>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6" name="Rectangle 45">
                <a:extLst>
                  <a:ext uri="{FF2B5EF4-FFF2-40B4-BE49-F238E27FC236}">
                    <a16:creationId xmlns:a16="http://schemas.microsoft.com/office/drawing/2014/main" id="{84B933B2-9F8B-47D5-BD5B-C70CD2F4A4A9}"/>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7" name="Group 46">
              <a:extLst>
                <a:ext uri="{FF2B5EF4-FFF2-40B4-BE49-F238E27FC236}">
                  <a16:creationId xmlns:a16="http://schemas.microsoft.com/office/drawing/2014/main" id="{C32DA56A-9F7A-16A0-0A6F-DEEFE40B85B3}"/>
                </a:ext>
              </a:extLst>
            </p:cNvPr>
            <p:cNvGrpSpPr/>
            <p:nvPr userDrawn="1"/>
          </p:nvGrpSpPr>
          <p:grpSpPr>
            <a:xfrm rot="5400000">
              <a:off x="5501358" y="6414547"/>
              <a:ext cx="126000" cy="485497"/>
              <a:chOff x="372309" y="6272654"/>
              <a:chExt cx="119465" cy="485497"/>
            </a:xfrm>
            <a:grpFill/>
          </p:grpSpPr>
          <p:sp>
            <p:nvSpPr>
              <p:cNvPr id="48" name="Rectangle 47">
                <a:extLst>
                  <a:ext uri="{FF2B5EF4-FFF2-40B4-BE49-F238E27FC236}">
                    <a16:creationId xmlns:a16="http://schemas.microsoft.com/office/drawing/2014/main" id="{DC65C60A-12FB-BBF4-6147-FACA04B9EECE}"/>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9" name="Rectangle 48">
                <a:extLst>
                  <a:ext uri="{FF2B5EF4-FFF2-40B4-BE49-F238E27FC236}">
                    <a16:creationId xmlns:a16="http://schemas.microsoft.com/office/drawing/2014/main" id="{2AA4D70C-09BA-C362-A2D6-5F31D9F851F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0" name="Group 49">
              <a:extLst>
                <a:ext uri="{FF2B5EF4-FFF2-40B4-BE49-F238E27FC236}">
                  <a16:creationId xmlns:a16="http://schemas.microsoft.com/office/drawing/2014/main" id="{842A9FDE-5A82-ABD6-93FF-91FE2535F7DF}"/>
                </a:ext>
              </a:extLst>
            </p:cNvPr>
            <p:cNvGrpSpPr/>
            <p:nvPr userDrawn="1"/>
          </p:nvGrpSpPr>
          <p:grpSpPr>
            <a:xfrm>
              <a:off x="6242337" y="6272655"/>
              <a:ext cx="126000" cy="485497"/>
              <a:chOff x="372309" y="6272654"/>
              <a:chExt cx="119465" cy="485497"/>
            </a:xfrm>
            <a:grpFill/>
          </p:grpSpPr>
          <p:sp>
            <p:nvSpPr>
              <p:cNvPr id="51" name="Rectangle 50">
                <a:extLst>
                  <a:ext uri="{FF2B5EF4-FFF2-40B4-BE49-F238E27FC236}">
                    <a16:creationId xmlns:a16="http://schemas.microsoft.com/office/drawing/2014/main" id="{7140C44F-6322-91E1-402E-5C86B423D5C5}"/>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2" name="Rectangle 51">
                <a:extLst>
                  <a:ext uri="{FF2B5EF4-FFF2-40B4-BE49-F238E27FC236}">
                    <a16:creationId xmlns:a16="http://schemas.microsoft.com/office/drawing/2014/main" id="{C0220DEA-71E5-642E-2224-119C3B601E46}"/>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3" name="Group 52">
              <a:extLst>
                <a:ext uri="{FF2B5EF4-FFF2-40B4-BE49-F238E27FC236}">
                  <a16:creationId xmlns:a16="http://schemas.microsoft.com/office/drawing/2014/main" id="{FAC451F2-5C1A-C624-0B78-B16A07AE68D3}"/>
                </a:ext>
              </a:extLst>
            </p:cNvPr>
            <p:cNvGrpSpPr/>
            <p:nvPr userDrawn="1"/>
          </p:nvGrpSpPr>
          <p:grpSpPr>
            <a:xfrm rot="2678555">
              <a:off x="6925511" y="6209593"/>
              <a:ext cx="126000" cy="485497"/>
              <a:chOff x="372309" y="6272654"/>
              <a:chExt cx="119465" cy="485497"/>
            </a:xfrm>
            <a:grpFill/>
          </p:grpSpPr>
          <p:sp>
            <p:nvSpPr>
              <p:cNvPr id="54" name="Rectangle 53">
                <a:extLst>
                  <a:ext uri="{FF2B5EF4-FFF2-40B4-BE49-F238E27FC236}">
                    <a16:creationId xmlns:a16="http://schemas.microsoft.com/office/drawing/2014/main" id="{D0516035-B055-2078-2040-646FAD6D08B9}"/>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5" name="Rectangle 54">
                <a:extLst>
                  <a:ext uri="{FF2B5EF4-FFF2-40B4-BE49-F238E27FC236}">
                    <a16:creationId xmlns:a16="http://schemas.microsoft.com/office/drawing/2014/main" id="{C89E3CBA-50CD-C288-84AC-B373B3235913}"/>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6" name="Group 55">
              <a:extLst>
                <a:ext uri="{FF2B5EF4-FFF2-40B4-BE49-F238E27FC236}">
                  <a16:creationId xmlns:a16="http://schemas.microsoft.com/office/drawing/2014/main" id="{1E737443-9DCD-0E27-1926-E6AF646DF0A6}"/>
                </a:ext>
              </a:extLst>
            </p:cNvPr>
            <p:cNvGrpSpPr/>
            <p:nvPr userDrawn="1"/>
          </p:nvGrpSpPr>
          <p:grpSpPr>
            <a:xfrm rot="5400000">
              <a:off x="7582407" y="6409293"/>
              <a:ext cx="126000" cy="485497"/>
              <a:chOff x="372309" y="6272654"/>
              <a:chExt cx="119465" cy="485497"/>
            </a:xfrm>
            <a:grpFill/>
          </p:grpSpPr>
          <p:sp>
            <p:nvSpPr>
              <p:cNvPr id="57" name="Rectangle 56">
                <a:extLst>
                  <a:ext uri="{FF2B5EF4-FFF2-40B4-BE49-F238E27FC236}">
                    <a16:creationId xmlns:a16="http://schemas.microsoft.com/office/drawing/2014/main" id="{049F2289-973A-6ED7-7686-B1AB8B696443}"/>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8" name="Rectangle 57">
                <a:extLst>
                  <a:ext uri="{FF2B5EF4-FFF2-40B4-BE49-F238E27FC236}">
                    <a16:creationId xmlns:a16="http://schemas.microsoft.com/office/drawing/2014/main" id="{27E43809-2663-128F-7674-FD725DA1BE8A}"/>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sp>
        <p:nvSpPr>
          <p:cNvPr id="8" name="Date Placeholder 3">
            <a:extLst>
              <a:ext uri="{FF2B5EF4-FFF2-40B4-BE49-F238E27FC236}">
                <a16:creationId xmlns:a16="http://schemas.microsoft.com/office/drawing/2014/main" id="{5E1E01F6-0547-EF2D-4A41-708004048082}"/>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9" name="TextBox 8">
            <a:extLst>
              <a:ext uri="{FF2B5EF4-FFF2-40B4-BE49-F238E27FC236}">
                <a16:creationId xmlns:a16="http://schemas.microsoft.com/office/drawing/2014/main" id="{F9D24FEB-9500-8636-96AC-5386E1C03E45}"/>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671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and Text_violetti-viiva">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6626352"/>
            <a:ext cx="12192000" cy="231648"/>
          </a:xfrm>
          <a:prstGeom prst="rect">
            <a:avLst/>
          </a:prstGeom>
          <a:solidFill>
            <a:schemeClr val="accent4"/>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80000" y="1487157"/>
            <a:ext cx="11232000" cy="4534232"/>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80000" y="420568"/>
            <a:ext cx="1123200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5" name="Google Shape;32;p23">
            <a:extLst>
              <a:ext uri="{FF2B5EF4-FFF2-40B4-BE49-F238E27FC236}">
                <a16:creationId xmlns:a16="http://schemas.microsoft.com/office/drawing/2014/main" id="{E842F218-9B9C-1BBD-9207-603727AC8B16}"/>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2" name="Picture 1" descr="A blue letters on a black background&#10;&#10;Description automatically generated">
            <a:extLst>
              <a:ext uri="{FF2B5EF4-FFF2-40B4-BE49-F238E27FC236}">
                <a16:creationId xmlns:a16="http://schemas.microsoft.com/office/drawing/2014/main" id="{611BAAC7-4D32-4AC3-9D01-51CBC6D72B15}"/>
              </a:ext>
            </a:extLst>
          </p:cNvPr>
          <p:cNvPicPr>
            <a:picLocks noChangeAspect="1"/>
          </p:cNvPicPr>
          <p:nvPr userDrawn="1"/>
        </p:nvPicPr>
        <p:blipFill>
          <a:blip r:embed="rId5"/>
          <a:stretch>
            <a:fillRect/>
          </a:stretch>
        </p:blipFill>
        <p:spPr>
          <a:xfrm>
            <a:off x="10307937" y="6228261"/>
            <a:ext cx="1440000" cy="304460"/>
          </a:xfrm>
          <a:prstGeom prst="rect">
            <a:avLst/>
          </a:prstGeom>
        </p:spPr>
      </p:pic>
      <p:sp>
        <p:nvSpPr>
          <p:cNvPr id="3" name="Date Placeholder 3">
            <a:extLst>
              <a:ext uri="{FF2B5EF4-FFF2-40B4-BE49-F238E27FC236}">
                <a16:creationId xmlns:a16="http://schemas.microsoft.com/office/drawing/2014/main" id="{4ECEE2D2-C365-477E-5F60-7D9C13005852}"/>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0" name="TextBox 9">
            <a:extLst>
              <a:ext uri="{FF2B5EF4-FFF2-40B4-BE49-F238E27FC236}">
                <a16:creationId xmlns:a16="http://schemas.microsoft.com/office/drawing/2014/main" id="{C11B361E-F184-150E-BE92-C96F7E5CBDF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7" name="Picture 6">
            <a:extLst>
              <a:ext uri="{FF2B5EF4-FFF2-40B4-BE49-F238E27FC236}">
                <a16:creationId xmlns:a16="http://schemas.microsoft.com/office/drawing/2014/main" id="{3FD29E9F-B82E-721B-C432-8332BF7EBCDB}"/>
              </a:ext>
            </a:extLst>
          </p:cNvPr>
          <p:cNvPicPr>
            <a:picLocks noChangeAspect="1"/>
          </p:cNvPicPr>
          <p:nvPr userDrawn="1"/>
        </p:nvPicPr>
        <p:blipFill>
          <a:blip r:embed="rId6">
            <a:alphaModFix/>
          </a:blip>
          <a:srcRect b="22015"/>
          <a:stretch>
            <a:fillRect/>
          </a:stretch>
        </p:blipFill>
        <p:spPr>
          <a:xfrm>
            <a:off x="9936033" y="6082282"/>
            <a:ext cx="2040850" cy="450440"/>
          </a:xfrm>
          <a:prstGeom prst="rect">
            <a:avLst/>
          </a:prstGeom>
        </p:spPr>
      </p:pic>
    </p:spTree>
    <p:extLst>
      <p:ext uri="{BB962C8B-B14F-4D97-AF65-F5344CB8AC3E}">
        <p14:creationId xmlns:p14="http://schemas.microsoft.com/office/powerpoint/2010/main" val="1792735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and two colums_violetti-viiva">
    <p:spTree>
      <p:nvGrpSpPr>
        <p:cNvPr id="1" name=""/>
        <p:cNvGrpSpPr/>
        <p:nvPr/>
      </p:nvGrpSpPr>
      <p:grpSpPr>
        <a:xfrm>
          <a:off x="0" y="0"/>
          <a:ext cx="0" cy="0"/>
          <a:chOff x="0" y="0"/>
          <a:chExt cx="0" cy="0"/>
        </a:xfrm>
      </p:grpSpPr>
      <p:sp>
        <p:nvSpPr>
          <p:cNvPr id="2" name="Google Shape;32;p23">
            <a:extLst>
              <a:ext uri="{FF2B5EF4-FFF2-40B4-BE49-F238E27FC236}">
                <a16:creationId xmlns:a16="http://schemas.microsoft.com/office/drawing/2014/main" id="{CD2E6237-A93E-BB5B-2F5A-701746E1116B}"/>
              </a:ext>
            </a:extLst>
          </p:cNvPr>
          <p:cNvSpPr/>
          <p:nvPr userDrawn="1"/>
        </p:nvSpPr>
        <p:spPr>
          <a:xfrm>
            <a:off x="0" y="6626352"/>
            <a:ext cx="12192000" cy="231648"/>
          </a:xfrm>
          <a:prstGeom prst="rect">
            <a:avLst/>
          </a:prstGeom>
          <a:solidFill>
            <a:schemeClr val="accent4"/>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pic>
        <p:nvPicPr>
          <p:cNvPr id="7" name="Picture 6" descr="A blue letters on a black background&#10;&#10;Description automatically generated">
            <a:extLst>
              <a:ext uri="{FF2B5EF4-FFF2-40B4-BE49-F238E27FC236}">
                <a16:creationId xmlns:a16="http://schemas.microsoft.com/office/drawing/2014/main" id="{E452BFB9-883C-3A01-DF20-097943603D70}"/>
              </a:ext>
            </a:extLst>
          </p:cNvPr>
          <p:cNvPicPr>
            <a:picLocks noChangeAspect="1"/>
          </p:cNvPicPr>
          <p:nvPr userDrawn="1"/>
        </p:nvPicPr>
        <p:blipFill>
          <a:blip r:embed="rId5"/>
          <a:stretch>
            <a:fillRect/>
          </a:stretch>
        </p:blipFill>
        <p:spPr>
          <a:xfrm>
            <a:off x="10307937" y="6228261"/>
            <a:ext cx="1440000" cy="304460"/>
          </a:xfrm>
          <a:prstGeom prst="rect">
            <a:avLst/>
          </a:prstGeom>
        </p:spPr>
      </p:pic>
      <p:sp>
        <p:nvSpPr>
          <p:cNvPr id="4" name="Date Placeholder 3">
            <a:extLst>
              <a:ext uri="{FF2B5EF4-FFF2-40B4-BE49-F238E27FC236}">
                <a16:creationId xmlns:a16="http://schemas.microsoft.com/office/drawing/2014/main" id="{888DA92B-704D-CC36-C347-491267D7EA19}"/>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7464B5EE-33C3-8290-A123-9CB6BC10CE40}"/>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C03DBDAC-B97F-2B01-AD43-BA881210B549}"/>
              </a:ext>
            </a:extLst>
          </p:cNvPr>
          <p:cNvPicPr>
            <a:picLocks noChangeAspect="1"/>
          </p:cNvPicPr>
          <p:nvPr userDrawn="1"/>
        </p:nvPicPr>
        <p:blipFill>
          <a:blip r:embed="rId6">
            <a:alphaModFix/>
          </a:blip>
          <a:srcRect b="22015"/>
          <a:stretch>
            <a:fillRect/>
          </a:stretch>
        </p:blipFill>
        <p:spPr>
          <a:xfrm>
            <a:off x="9936033" y="6082282"/>
            <a:ext cx="2040850" cy="450440"/>
          </a:xfrm>
          <a:prstGeom prst="rect">
            <a:avLst/>
          </a:prstGeom>
        </p:spPr>
      </p:pic>
    </p:spTree>
    <p:extLst>
      <p:ext uri="{BB962C8B-B14F-4D97-AF65-F5344CB8AC3E}">
        <p14:creationId xmlns:p14="http://schemas.microsoft.com/office/powerpoint/2010/main" val="2619112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_Title and Text_korkea_violetti">
    <p:bg>
      <p:bgPr>
        <a:solidFill>
          <a:schemeClr val="bg1"/>
        </a:solidFill>
        <a:effectLst/>
      </p:bgPr>
    </p:bg>
    <p:spTree>
      <p:nvGrpSpPr>
        <p:cNvPr id="1" name=""/>
        <p:cNvGrpSpPr/>
        <p:nvPr/>
      </p:nvGrpSpPr>
      <p:grpSpPr>
        <a:xfrm>
          <a:off x="0" y="0"/>
          <a:ext cx="0" cy="0"/>
          <a:chOff x="0" y="0"/>
          <a:chExt cx="0" cy="0"/>
        </a:xfrm>
      </p:grpSpPr>
      <p:sp>
        <p:nvSpPr>
          <p:cNvPr id="10" name="Google Shape;28;p23">
            <a:extLst>
              <a:ext uri="{FF2B5EF4-FFF2-40B4-BE49-F238E27FC236}">
                <a16:creationId xmlns:a16="http://schemas.microsoft.com/office/drawing/2014/main" id="{E2674F69-89F5-40FA-2704-505F9BA04F79}"/>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1" name="Picture 10">
            <a:extLst>
              <a:ext uri="{FF2B5EF4-FFF2-40B4-BE49-F238E27FC236}">
                <a16:creationId xmlns:a16="http://schemas.microsoft.com/office/drawing/2014/main" id="{C1A5219F-72BA-F147-CB43-61FF228F4825}"/>
              </a:ext>
            </a:extLst>
          </p:cNvPr>
          <p:cNvPicPr>
            <a:picLocks noChangeAspect="1"/>
          </p:cNvPicPr>
          <p:nvPr userDrawn="1"/>
        </p:nvPicPr>
        <p:blipFill>
          <a:blip r:embed="rId3"/>
          <a:srcRect/>
          <a:stretch/>
        </p:blipFill>
        <p:spPr>
          <a:xfrm>
            <a:off x="10307937" y="6308646"/>
            <a:ext cx="1440000" cy="304457"/>
          </a:xfrm>
          <a:prstGeom prst="rect">
            <a:avLst/>
          </a:prstGeom>
        </p:spPr>
      </p:pic>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7155"/>
            <a:ext cx="11233150" cy="4534233"/>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2" name="Date Placeholder 3">
            <a:extLst>
              <a:ext uri="{FF2B5EF4-FFF2-40B4-BE49-F238E27FC236}">
                <a16:creationId xmlns:a16="http://schemas.microsoft.com/office/drawing/2014/main" id="{D1A552B7-C73B-2CF6-7978-295B2CEACC1A}"/>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30FCA8BC-DC0C-73F3-FC21-90FA4AD85694}"/>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885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6_Title and two colums_korkea _violetti">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r>
              <a:rPr lang="fi-FI"/>
              <a:t>Muokkaa tekstin perustyylejä napsauttamalla</a:t>
            </a:r>
          </a:p>
        </p:txBody>
      </p:sp>
      <p:sp>
        <p:nvSpPr>
          <p:cNvPr id="14" name="TextBox 13">
            <a:extLst>
              <a:ext uri="{FF2B5EF4-FFF2-40B4-BE49-F238E27FC236}">
                <a16:creationId xmlns:a16="http://schemas.microsoft.com/office/drawing/2014/main" id="{F1791489-1BCC-9C83-8A7C-2F926F0FA72F}"/>
              </a:ext>
            </a:extLst>
          </p:cNvPr>
          <p:cNvSpPr txBox="1"/>
          <p:nvPr userDrawn="1"/>
        </p:nvSpPr>
        <p:spPr>
          <a:xfrm>
            <a:off x="11167872"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solidFill>
                <a:schemeClr val="bg1">
                  <a:lumMod val="50000"/>
                </a:schemeClr>
              </a:solidFill>
              <a:latin typeface="+mn-lt"/>
              <a:ea typeface="+mn-ea"/>
              <a:cs typeface="+mn-cs"/>
              <a:sym typeface="Trebuchet MS" panose="020B0603020202020204" pitchFamily="34" charset="0"/>
            </a:endParaRPr>
          </a:p>
        </p:txBody>
      </p:sp>
      <p:sp>
        <p:nvSpPr>
          <p:cNvPr id="2" name="Google Shape;28;p23">
            <a:extLst>
              <a:ext uri="{FF2B5EF4-FFF2-40B4-BE49-F238E27FC236}">
                <a16:creationId xmlns:a16="http://schemas.microsoft.com/office/drawing/2014/main" id="{8C7B4583-1299-284A-0AD4-478831DEE2E2}"/>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4" name="Picture 3">
            <a:extLst>
              <a:ext uri="{FF2B5EF4-FFF2-40B4-BE49-F238E27FC236}">
                <a16:creationId xmlns:a16="http://schemas.microsoft.com/office/drawing/2014/main" id="{18D29CED-6D8B-0689-A466-A6824E41FD51}"/>
              </a:ext>
            </a:extLst>
          </p:cNvPr>
          <p:cNvPicPr>
            <a:picLocks noChangeAspect="1"/>
          </p:cNvPicPr>
          <p:nvPr userDrawn="1"/>
        </p:nvPicPr>
        <p:blipFill>
          <a:blip r:embed="rId5"/>
          <a:srcRect/>
          <a:stretch/>
        </p:blipFill>
        <p:spPr>
          <a:xfrm>
            <a:off x="10307937" y="6308646"/>
            <a:ext cx="1440000" cy="304457"/>
          </a:xfrm>
          <a:prstGeom prst="rect">
            <a:avLst/>
          </a:prstGeom>
        </p:spPr>
      </p:pic>
      <p:sp>
        <p:nvSpPr>
          <p:cNvPr id="7" name="Date Placeholder 3">
            <a:extLst>
              <a:ext uri="{FF2B5EF4-FFF2-40B4-BE49-F238E27FC236}">
                <a16:creationId xmlns:a16="http://schemas.microsoft.com/office/drawing/2014/main" id="{549B75F9-8A55-117B-C8F3-0840E39CBD1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9" name="TextBox 8">
            <a:extLst>
              <a:ext uri="{FF2B5EF4-FFF2-40B4-BE49-F238E27FC236}">
                <a16:creationId xmlns:a16="http://schemas.microsoft.com/office/drawing/2014/main" id="{A51C4B8E-3AFA-5A8C-8601-E18456D835AB}"/>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54296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7_Title, text and selected image_korkea_violetti">
    <p:bg>
      <p:bgPr>
        <a:solidFill>
          <a:schemeClr val="bg1"/>
        </a:solidFill>
        <a:effectLst/>
      </p:bgPr>
    </p:bg>
    <p:spTree>
      <p:nvGrpSpPr>
        <p:cNvPr id="1" name=""/>
        <p:cNvGrpSpPr/>
        <p:nvPr/>
      </p:nvGrpSpPr>
      <p:grpSpPr>
        <a:xfrm>
          <a:off x="0" y="0"/>
          <a:ext cx="0" cy="0"/>
          <a:chOff x="0" y="0"/>
          <a:chExt cx="0" cy="0"/>
        </a:xfrm>
      </p:grpSpPr>
      <p:pic>
        <p:nvPicPr>
          <p:cNvPr id="5" name="Picture Placeholder 7" descr="A person and a child walking in a train station&#10;&#10;Description automatically generated">
            <a:extLst>
              <a:ext uri="{FF2B5EF4-FFF2-40B4-BE49-F238E27FC236}">
                <a16:creationId xmlns:a16="http://schemas.microsoft.com/office/drawing/2014/main" id="{BEBC3374-510B-A2EE-5162-CDE399494231}"/>
              </a:ext>
            </a:extLst>
          </p:cNvPr>
          <p:cNvPicPr>
            <a:picLocks noChangeAspect="1"/>
          </p:cNvPicPr>
          <p:nvPr userDrawn="1"/>
        </p:nvPicPr>
        <p:blipFill rotWithShape="1">
          <a:blip r:embed="rId3"/>
          <a:srcRect l="17916" r="17916"/>
          <a:stretch/>
        </p:blipFill>
        <p:spPr>
          <a:xfrm>
            <a:off x="6388100" y="231782"/>
            <a:ext cx="5803900" cy="6029947"/>
          </a:xfrm>
          <a:prstGeom prst="rect">
            <a:avLst/>
          </a:prstGeom>
        </p:spPr>
      </p:pic>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4312"/>
            <a:ext cx="5686425" cy="4537075"/>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0" name="Google Shape;32;p23">
            <a:extLst>
              <a:ext uri="{FF2B5EF4-FFF2-40B4-BE49-F238E27FC236}">
                <a16:creationId xmlns:a16="http://schemas.microsoft.com/office/drawing/2014/main" id="{DA24C26F-60D6-4B1C-9DAC-87914A6D9F35}"/>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5686425"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endParaRPr lang="fi-FI"/>
          </a:p>
        </p:txBody>
      </p:sp>
      <p:sp>
        <p:nvSpPr>
          <p:cNvPr id="9" name="Google Shape;28;p23">
            <a:extLst>
              <a:ext uri="{FF2B5EF4-FFF2-40B4-BE49-F238E27FC236}">
                <a16:creationId xmlns:a16="http://schemas.microsoft.com/office/drawing/2014/main" id="{F84B88B2-BED3-9315-68F0-D68297B8C812}"/>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5" name="Picture 14">
            <a:extLst>
              <a:ext uri="{FF2B5EF4-FFF2-40B4-BE49-F238E27FC236}">
                <a16:creationId xmlns:a16="http://schemas.microsoft.com/office/drawing/2014/main" id="{FEA68DFF-558A-A615-0B4A-1C7815EDD1CF}"/>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99A11C89-B592-3EE9-42DB-237EA3C8164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3" name="TextBox 2">
            <a:extLst>
              <a:ext uri="{FF2B5EF4-FFF2-40B4-BE49-F238E27FC236}">
                <a16:creationId xmlns:a16="http://schemas.microsoft.com/office/drawing/2014/main" id="{47163AE5-00EF-9FCC-D086-AA17D226DA9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298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logan FI">
    <p:bg>
      <p:bgPr>
        <a:solidFill>
          <a:srgbClr val="152A96"/>
        </a:solidFill>
        <a:effectLst/>
      </p:bgPr>
    </p:bg>
    <p:spTree>
      <p:nvGrpSpPr>
        <p:cNvPr id="1" name=""/>
        <p:cNvGrpSpPr/>
        <p:nvPr/>
      </p:nvGrpSpPr>
      <p:grpSpPr>
        <a:xfrm>
          <a:off x="0" y="0"/>
          <a:ext cx="0" cy="0"/>
          <a:chOff x="0" y="0"/>
          <a:chExt cx="0" cy="0"/>
        </a:xfrm>
      </p:grpSpPr>
      <p:pic>
        <p:nvPicPr>
          <p:cNvPr id="3" name="Kuva 2">
            <a:extLst>
              <a:ext uri="{FF2B5EF4-FFF2-40B4-BE49-F238E27FC236}">
                <a16:creationId xmlns:a16="http://schemas.microsoft.com/office/drawing/2014/main" id="{20818181-6127-EC75-7C24-CDE7BD82028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45832">
            <a:off x="8412543" y="-1165516"/>
            <a:ext cx="4256989" cy="4256989"/>
          </a:xfrm>
          <a:prstGeom prst="rect">
            <a:avLst/>
          </a:prstGeom>
        </p:spPr>
      </p:pic>
      <p:pic>
        <p:nvPicPr>
          <p:cNvPr id="5" name="Kuva 4">
            <a:extLst>
              <a:ext uri="{FF2B5EF4-FFF2-40B4-BE49-F238E27FC236}">
                <a16:creationId xmlns:a16="http://schemas.microsoft.com/office/drawing/2014/main" id="{304B88FC-0C3E-5186-A089-04907021C04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208032" y="1887482"/>
            <a:ext cx="7775936" cy="3083037"/>
          </a:xfrm>
          <a:prstGeom prst="rect">
            <a:avLst/>
          </a:prstGeom>
        </p:spPr>
      </p:pic>
      <p:pic>
        <p:nvPicPr>
          <p:cNvPr id="2" name="Kuva 1">
            <a:extLst>
              <a:ext uri="{FF2B5EF4-FFF2-40B4-BE49-F238E27FC236}">
                <a16:creationId xmlns:a16="http://schemas.microsoft.com/office/drawing/2014/main" id="{C83AA99B-C4B2-8FA6-66EA-555A6759CC1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45832">
            <a:off x="8412543" y="-1165516"/>
            <a:ext cx="4256989" cy="4256989"/>
          </a:xfrm>
          <a:prstGeom prst="rect">
            <a:avLst/>
          </a:prstGeom>
        </p:spPr>
      </p:pic>
      <p:pic>
        <p:nvPicPr>
          <p:cNvPr id="4" name="Kuva 3">
            <a:extLst>
              <a:ext uri="{FF2B5EF4-FFF2-40B4-BE49-F238E27FC236}">
                <a16:creationId xmlns:a16="http://schemas.microsoft.com/office/drawing/2014/main" id="{B8E42041-4E70-590A-1D29-A54E6CCD9A1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208032" y="1887482"/>
            <a:ext cx="7775936" cy="3083037"/>
          </a:xfrm>
          <a:prstGeom prst="rect">
            <a:avLst/>
          </a:prstGeom>
        </p:spPr>
      </p:pic>
    </p:spTree>
    <p:extLst>
      <p:ext uri="{BB962C8B-B14F-4D97-AF65-F5344CB8AC3E}">
        <p14:creationId xmlns:p14="http://schemas.microsoft.com/office/powerpoint/2010/main" val="2485421924"/>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8_Title, text, insert image-korkea_violetti">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4312"/>
            <a:ext cx="5686425" cy="4537075"/>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0" name="Google Shape;32;p23">
            <a:extLst>
              <a:ext uri="{FF2B5EF4-FFF2-40B4-BE49-F238E27FC236}">
                <a16:creationId xmlns:a16="http://schemas.microsoft.com/office/drawing/2014/main" id="{DA24C26F-60D6-4B1C-9DAC-87914A6D9F35}"/>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5686425"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endParaRPr lang="fi-FI"/>
          </a:p>
        </p:txBody>
      </p:sp>
      <p:sp>
        <p:nvSpPr>
          <p:cNvPr id="6" name="Picture Placeholder 5">
            <a:extLst>
              <a:ext uri="{FF2B5EF4-FFF2-40B4-BE49-F238E27FC236}">
                <a16:creationId xmlns:a16="http://schemas.microsoft.com/office/drawing/2014/main" id="{E47ED439-3299-E5AC-BA3B-609D2F3EB589}"/>
              </a:ext>
            </a:extLst>
          </p:cNvPr>
          <p:cNvSpPr>
            <a:spLocks noGrp="1"/>
          </p:cNvSpPr>
          <p:nvPr>
            <p:ph type="pic" sz="quarter" idx="11"/>
          </p:nvPr>
        </p:nvSpPr>
        <p:spPr>
          <a:xfrm>
            <a:off x="6400800" y="238133"/>
            <a:ext cx="5791200" cy="6016752"/>
          </a:xfrm>
        </p:spPr>
        <p:txBody>
          <a:bodyPr/>
          <a:lstStyle/>
          <a:p>
            <a:r>
              <a:rPr lang="fi-FI"/>
              <a:t>Lisää kuva napsauttamalla kuvaketta</a:t>
            </a:r>
          </a:p>
        </p:txBody>
      </p:sp>
      <p:sp>
        <p:nvSpPr>
          <p:cNvPr id="9" name="Google Shape;28;p23">
            <a:extLst>
              <a:ext uri="{FF2B5EF4-FFF2-40B4-BE49-F238E27FC236}">
                <a16:creationId xmlns:a16="http://schemas.microsoft.com/office/drawing/2014/main" id="{F84B88B2-BED3-9315-68F0-D68297B8C812}"/>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5" name="Picture 14">
            <a:extLst>
              <a:ext uri="{FF2B5EF4-FFF2-40B4-BE49-F238E27FC236}">
                <a16:creationId xmlns:a16="http://schemas.microsoft.com/office/drawing/2014/main" id="{FEA68DFF-558A-A615-0B4A-1C7815EDD1CF}"/>
              </a:ext>
            </a:extLst>
          </p:cNvPr>
          <p:cNvPicPr>
            <a:picLocks noChangeAspect="1"/>
          </p:cNvPicPr>
          <p:nvPr userDrawn="1"/>
        </p:nvPicPr>
        <p:blipFill>
          <a:blip r:embed="rId5"/>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99A11C89-B592-3EE9-42DB-237EA3C8164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3" name="TextBox 2">
            <a:extLst>
              <a:ext uri="{FF2B5EF4-FFF2-40B4-BE49-F238E27FC236}">
                <a16:creationId xmlns:a16="http://schemas.microsoft.com/office/drawing/2014/main" id="{47163AE5-00EF-9FCC-D086-AA17D226DA9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11892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9_Dark blue arrow one third &amp; bullets">
    <p:bg>
      <p:bgPr>
        <a:solidFill>
          <a:schemeClr val="bg1"/>
        </a:solidFill>
        <a:effectLst/>
      </p:bgPr>
    </p:bg>
    <p:spTree>
      <p:nvGrpSpPr>
        <p:cNvPr id="1" name=""/>
        <p:cNvGrpSpPr/>
        <p:nvPr/>
      </p:nvGrpSpPr>
      <p:grpSpPr>
        <a:xfrm>
          <a:off x="0" y="0"/>
          <a:ext cx="0" cy="0"/>
          <a:chOff x="0" y="0"/>
          <a:chExt cx="0" cy="0"/>
        </a:xfrm>
      </p:grpSpPr>
      <p:sp>
        <p:nvSpPr>
          <p:cNvPr id="2" name="Google Shape;28;p23">
            <a:extLst>
              <a:ext uri="{FF2B5EF4-FFF2-40B4-BE49-F238E27FC236}">
                <a16:creationId xmlns:a16="http://schemas.microsoft.com/office/drawing/2014/main" id="{E8865FD9-0377-A1C2-08DA-43EC7A3D7599}"/>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5" name="Picture 4">
            <a:extLst>
              <a:ext uri="{FF2B5EF4-FFF2-40B4-BE49-F238E27FC236}">
                <a16:creationId xmlns:a16="http://schemas.microsoft.com/office/drawing/2014/main" id="{8E74D969-86FF-62F8-313B-753C983EC9BE}"/>
              </a:ext>
            </a:extLst>
          </p:cNvPr>
          <p:cNvPicPr>
            <a:picLocks noChangeAspect="1"/>
          </p:cNvPicPr>
          <p:nvPr userDrawn="1"/>
        </p:nvPicPr>
        <p:blipFill>
          <a:blip r:embed="rId3"/>
          <a:srcRect/>
          <a:stretch/>
        </p:blipFill>
        <p:spPr>
          <a:xfrm>
            <a:off x="10307937" y="6308646"/>
            <a:ext cx="1440000" cy="304457"/>
          </a:xfrm>
          <a:prstGeom prst="rect">
            <a:avLst/>
          </a:prstGeom>
        </p:spPr>
      </p:pic>
      <p:sp>
        <p:nvSpPr>
          <p:cNvPr id="13" name="Pentagon 3"/>
          <p:cNvSpPr/>
          <p:nvPr userDrawn="1"/>
        </p:nvSpPr>
        <p:spPr bwMode="white">
          <a:xfrm>
            <a:off x="0" y="-1"/>
            <a:ext cx="5177017" cy="6262577"/>
          </a:xfrm>
          <a:prstGeom prst="homePlate">
            <a:avLst>
              <a:gd name="adj" fmla="val 157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fi-FI" sz="1200">
              <a:solidFill>
                <a:prstClr val="white"/>
              </a:solidFill>
              <a:latin typeface="+mn-lt"/>
              <a:ea typeface="+mn-ea"/>
              <a:cs typeface="+mn-cs"/>
              <a:sym typeface="Trebuchet MS" panose="020B0603020202020204" pitchFamily="34" charset="0"/>
            </a:endParaRPr>
          </a:p>
        </p:txBody>
      </p:sp>
      <p:graphicFrame>
        <p:nvGraphicFramePr>
          <p:cNvPr id="3" name="Object 2" hidden="1">
            <a:extLst>
              <a:ext uri="{FF2B5EF4-FFF2-40B4-BE49-F238E27FC236}">
                <a16:creationId xmlns:a16="http://schemas.microsoft.com/office/drawing/2014/main" id="{A16F89AB-4CF7-42DB-9CAD-00C742C4CCA4}"/>
              </a:ext>
            </a:extLst>
          </p:cNvPr>
          <p:cNvGraphicFramePr>
            <a:graphicFrameLocks noChangeAspect="1"/>
          </p:cNvGraphicFramePr>
          <p:nvPr userDrawn="1">
            <p:custDataLst>
              <p:tags r:id="rId1"/>
            </p:custDataLst>
            <p:extLst>
              <p:ext uri="{D42A27DB-BD31-4B8C-83A1-F6EECF244321}">
                <p14:modId xmlns:p14="http://schemas.microsoft.com/office/powerpoint/2010/main" val="497088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a:extLst>
                          <a:ext uri="{FF2B5EF4-FFF2-40B4-BE49-F238E27FC236}">
                            <a16:creationId xmlns:a16="http://schemas.microsoft.com/office/drawing/2014/main" id="{A16F89AB-4CF7-42DB-9CAD-00C742C4CC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
          <p:cNvSpPr>
            <a:spLocks noGrp="1"/>
          </p:cNvSpPr>
          <p:nvPr>
            <p:ph type="title" hasCustomPrompt="1"/>
          </p:nvPr>
        </p:nvSpPr>
        <p:spPr>
          <a:xfrm>
            <a:off x="824948" y="1599110"/>
            <a:ext cx="3849320" cy="2690148"/>
          </a:xfrm>
          <a:prstGeom prst="rect">
            <a:avLst/>
          </a:prstGeom>
          <a:ln>
            <a:noFill/>
          </a:ln>
        </p:spPr>
        <p:txBody>
          <a:bodyPr vert="horz" lIns="0" tIns="45720" rIns="91440" bIns="45720" anchor="ctr">
            <a:noAutofit/>
          </a:bodyPr>
          <a:lstStyle>
            <a:lvl1pPr rtl="0">
              <a:defRPr sz="3000" b="0">
                <a:solidFill>
                  <a:srgbClr val="FFFFFF"/>
                </a:solidFill>
                <a:latin typeface="+mj-lt"/>
                <a:ea typeface="+mj-ea"/>
                <a:cs typeface="+mj-cs"/>
                <a:sym typeface="Trebuchet MS" panose="020B0603020202020204" pitchFamily="34" charset="0"/>
              </a:defRPr>
            </a:lvl1pPr>
          </a:lstStyle>
          <a:p>
            <a:r>
              <a:rPr lang="fi-FI" err="1"/>
              <a:t>Click</a:t>
            </a:r>
            <a:r>
              <a:rPr lang="fi-FI"/>
              <a:t> to </a:t>
            </a:r>
            <a:r>
              <a:rPr lang="fi-FI" err="1"/>
              <a:t>add</a:t>
            </a:r>
            <a:r>
              <a:rPr lang="fi-FI"/>
              <a:t> </a:t>
            </a:r>
            <a:r>
              <a:rPr lang="fi-FI" err="1"/>
              <a:t>title</a:t>
            </a:r>
            <a:endParaRPr lang="fi-FI"/>
          </a:p>
        </p:txBody>
      </p:sp>
      <p:sp>
        <p:nvSpPr>
          <p:cNvPr id="4" name="Content Placeholder 3">
            <a:extLst>
              <a:ext uri="{FF2B5EF4-FFF2-40B4-BE49-F238E27FC236}">
                <a16:creationId xmlns:a16="http://schemas.microsoft.com/office/drawing/2014/main" id="{11C7E4FD-7D8C-5EE9-61B0-29F1E0F3775B}"/>
              </a:ext>
            </a:extLst>
          </p:cNvPr>
          <p:cNvSpPr>
            <a:spLocks noGrp="1"/>
          </p:cNvSpPr>
          <p:nvPr>
            <p:ph sz="quarter" idx="10" hasCustomPrompt="1"/>
          </p:nvPr>
        </p:nvSpPr>
        <p:spPr>
          <a:xfrm>
            <a:off x="5438274" y="1001486"/>
            <a:ext cx="5896476" cy="4484914"/>
          </a:xfrm>
        </p:spPr>
        <p:txBody>
          <a:bodyPr rIns="72000" anchor="ctr" anchorCtr="0"/>
          <a:lstStyle>
            <a:lvl1pPr>
              <a:lnSpc>
                <a:spcPct val="100000"/>
              </a:lnSpc>
              <a:spcBef>
                <a:spcPts val="0"/>
              </a:spcBef>
              <a:spcAft>
                <a:spcPts val="1800"/>
              </a:spcAft>
              <a:defRPr sz="2000"/>
            </a:lvl1pPr>
            <a:lvl2pPr>
              <a:lnSpc>
                <a:spcPct val="100000"/>
              </a:lnSpc>
              <a:spcBef>
                <a:spcPts val="0"/>
              </a:spcBef>
              <a:spcAft>
                <a:spcPts val="1800"/>
              </a:spcAft>
              <a:defRPr sz="2000"/>
            </a:lvl2pPr>
            <a:lvl3pPr>
              <a:lnSpc>
                <a:spcPct val="100000"/>
              </a:lnSpc>
              <a:spcBef>
                <a:spcPts val="0"/>
              </a:spcBef>
              <a:spcAft>
                <a:spcPts val="1800"/>
              </a:spcAft>
              <a:defRPr sz="2000"/>
            </a:lvl3pPr>
          </a:lstStyle>
          <a:p>
            <a:pPr lvl="0"/>
            <a:r>
              <a:rPr lang="en-GB"/>
              <a:t>Click to edit Master text styles, font Arial</a:t>
            </a:r>
          </a:p>
          <a:p>
            <a:pPr lvl="1"/>
            <a:r>
              <a:rPr lang="en-GB"/>
              <a:t>Second level</a:t>
            </a:r>
          </a:p>
          <a:p>
            <a:pPr lvl="2"/>
            <a:r>
              <a:rPr lang="en-GB"/>
              <a:t>Third level</a:t>
            </a:r>
            <a:endParaRPr lang="fi-FI"/>
          </a:p>
        </p:txBody>
      </p:sp>
      <p:grpSp>
        <p:nvGrpSpPr>
          <p:cNvPr id="59" name="Group 58">
            <a:extLst>
              <a:ext uri="{FF2B5EF4-FFF2-40B4-BE49-F238E27FC236}">
                <a16:creationId xmlns:a16="http://schemas.microsoft.com/office/drawing/2014/main" id="{65D8B0E2-B201-DE87-FBE7-BFD19DEA17F0}"/>
              </a:ext>
            </a:extLst>
          </p:cNvPr>
          <p:cNvGrpSpPr/>
          <p:nvPr userDrawn="1"/>
        </p:nvGrpSpPr>
        <p:grpSpPr>
          <a:xfrm>
            <a:off x="252173" y="6293565"/>
            <a:ext cx="7699778" cy="504000"/>
            <a:chOff x="188377" y="6209593"/>
            <a:chExt cx="7699778" cy="548559"/>
          </a:xfrm>
          <a:solidFill>
            <a:schemeClr val="bg1"/>
          </a:solidFill>
        </p:grpSpPr>
        <p:grpSp>
          <p:nvGrpSpPr>
            <p:cNvPr id="19" name="Group 18">
              <a:extLst>
                <a:ext uri="{FF2B5EF4-FFF2-40B4-BE49-F238E27FC236}">
                  <a16:creationId xmlns:a16="http://schemas.microsoft.com/office/drawing/2014/main" id="{018B3BB4-A633-DD16-7DDC-C08E1F619F79}"/>
                </a:ext>
              </a:extLst>
            </p:cNvPr>
            <p:cNvGrpSpPr/>
            <p:nvPr userDrawn="1"/>
          </p:nvGrpSpPr>
          <p:grpSpPr>
            <a:xfrm>
              <a:off x="188377" y="6267399"/>
              <a:ext cx="126000" cy="485497"/>
              <a:chOff x="372309" y="6272654"/>
              <a:chExt cx="119465" cy="485497"/>
            </a:xfrm>
            <a:grpFill/>
          </p:grpSpPr>
          <p:sp>
            <p:nvSpPr>
              <p:cNvPr id="11" name="Rectangle 10">
                <a:extLst>
                  <a:ext uri="{FF2B5EF4-FFF2-40B4-BE49-F238E27FC236}">
                    <a16:creationId xmlns:a16="http://schemas.microsoft.com/office/drawing/2014/main" id="{F7FC2A99-4F69-0CEE-CE94-9F27EAAF417F}"/>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12" name="Rectangle 11">
                <a:extLst>
                  <a:ext uri="{FF2B5EF4-FFF2-40B4-BE49-F238E27FC236}">
                    <a16:creationId xmlns:a16="http://schemas.microsoft.com/office/drawing/2014/main" id="{BCDAD4B3-0DEC-6757-4E6B-D604A0FEE629}"/>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20" name="Group 19">
              <a:extLst>
                <a:ext uri="{FF2B5EF4-FFF2-40B4-BE49-F238E27FC236}">
                  <a16:creationId xmlns:a16="http://schemas.microsoft.com/office/drawing/2014/main" id="{7FC021DE-392E-98C1-2C61-AE1BE3981F97}"/>
                </a:ext>
              </a:extLst>
            </p:cNvPr>
            <p:cNvGrpSpPr/>
            <p:nvPr userDrawn="1"/>
          </p:nvGrpSpPr>
          <p:grpSpPr>
            <a:xfrm rot="2678555">
              <a:off x="1822738" y="6214847"/>
              <a:ext cx="126000" cy="485497"/>
              <a:chOff x="372309" y="6272654"/>
              <a:chExt cx="119465" cy="485497"/>
            </a:xfrm>
            <a:grpFill/>
          </p:grpSpPr>
          <p:sp>
            <p:nvSpPr>
              <p:cNvPr id="21" name="Rectangle 20">
                <a:extLst>
                  <a:ext uri="{FF2B5EF4-FFF2-40B4-BE49-F238E27FC236}">
                    <a16:creationId xmlns:a16="http://schemas.microsoft.com/office/drawing/2014/main" id="{88803CC6-A180-1BA4-4446-679BC2788C37}"/>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22" name="Rectangle 21">
                <a:extLst>
                  <a:ext uri="{FF2B5EF4-FFF2-40B4-BE49-F238E27FC236}">
                    <a16:creationId xmlns:a16="http://schemas.microsoft.com/office/drawing/2014/main" id="{A853675A-267C-A296-6543-3D909C609826}"/>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23" name="Group 22">
              <a:extLst>
                <a:ext uri="{FF2B5EF4-FFF2-40B4-BE49-F238E27FC236}">
                  <a16:creationId xmlns:a16="http://schemas.microsoft.com/office/drawing/2014/main" id="{FA142C47-8CEC-F6F7-0774-DCB97D4B0E36}"/>
                </a:ext>
              </a:extLst>
            </p:cNvPr>
            <p:cNvGrpSpPr/>
            <p:nvPr userDrawn="1"/>
          </p:nvGrpSpPr>
          <p:grpSpPr>
            <a:xfrm rot="18881942">
              <a:off x="939868" y="6340970"/>
              <a:ext cx="126000" cy="485497"/>
              <a:chOff x="372309" y="6272654"/>
              <a:chExt cx="119465" cy="485497"/>
            </a:xfrm>
            <a:grpFill/>
          </p:grpSpPr>
          <p:sp>
            <p:nvSpPr>
              <p:cNvPr id="24" name="Rectangle 23">
                <a:extLst>
                  <a:ext uri="{FF2B5EF4-FFF2-40B4-BE49-F238E27FC236}">
                    <a16:creationId xmlns:a16="http://schemas.microsoft.com/office/drawing/2014/main" id="{7DF86EC7-1303-6B4C-B88B-2FC3987E8668}"/>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25" name="Rectangle 24">
                <a:extLst>
                  <a:ext uri="{FF2B5EF4-FFF2-40B4-BE49-F238E27FC236}">
                    <a16:creationId xmlns:a16="http://schemas.microsoft.com/office/drawing/2014/main" id="{C938322D-60DA-3E2A-6E03-6E05FE4C2FAB}"/>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35" name="Group 34">
              <a:extLst>
                <a:ext uri="{FF2B5EF4-FFF2-40B4-BE49-F238E27FC236}">
                  <a16:creationId xmlns:a16="http://schemas.microsoft.com/office/drawing/2014/main" id="{C490ABB3-4F70-AEE1-FAB8-859078AFB942}"/>
                </a:ext>
              </a:extLst>
            </p:cNvPr>
            <p:cNvGrpSpPr/>
            <p:nvPr userDrawn="1"/>
          </p:nvGrpSpPr>
          <p:grpSpPr>
            <a:xfrm>
              <a:off x="3215357" y="6267400"/>
              <a:ext cx="126000" cy="485497"/>
              <a:chOff x="372309" y="6272654"/>
              <a:chExt cx="119465" cy="485497"/>
            </a:xfrm>
            <a:grpFill/>
          </p:grpSpPr>
          <p:sp>
            <p:nvSpPr>
              <p:cNvPr id="36" name="Rectangle 35">
                <a:extLst>
                  <a:ext uri="{FF2B5EF4-FFF2-40B4-BE49-F238E27FC236}">
                    <a16:creationId xmlns:a16="http://schemas.microsoft.com/office/drawing/2014/main" id="{0B43D687-8C1B-021A-BE84-4BC1D19395F0}"/>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37" name="Rectangle 36">
                <a:extLst>
                  <a:ext uri="{FF2B5EF4-FFF2-40B4-BE49-F238E27FC236}">
                    <a16:creationId xmlns:a16="http://schemas.microsoft.com/office/drawing/2014/main" id="{F5C367CE-CED1-AEBD-622B-FBF122C03A8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38" name="Group 37">
              <a:extLst>
                <a:ext uri="{FF2B5EF4-FFF2-40B4-BE49-F238E27FC236}">
                  <a16:creationId xmlns:a16="http://schemas.microsoft.com/office/drawing/2014/main" id="{4664A8EB-A51F-01D1-FD39-8E0D91A9829D}"/>
                </a:ext>
              </a:extLst>
            </p:cNvPr>
            <p:cNvGrpSpPr/>
            <p:nvPr userDrawn="1"/>
          </p:nvGrpSpPr>
          <p:grpSpPr>
            <a:xfrm rot="2678555">
              <a:off x="4849718" y="6214848"/>
              <a:ext cx="126000" cy="485497"/>
              <a:chOff x="372309" y="6272654"/>
              <a:chExt cx="119465" cy="485497"/>
            </a:xfrm>
            <a:grpFill/>
          </p:grpSpPr>
          <p:sp>
            <p:nvSpPr>
              <p:cNvPr id="39" name="Rectangle 38">
                <a:extLst>
                  <a:ext uri="{FF2B5EF4-FFF2-40B4-BE49-F238E27FC236}">
                    <a16:creationId xmlns:a16="http://schemas.microsoft.com/office/drawing/2014/main" id="{26F72560-1E1C-CE90-D951-464FCC2B3427}"/>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0" name="Rectangle 39">
                <a:extLst>
                  <a:ext uri="{FF2B5EF4-FFF2-40B4-BE49-F238E27FC236}">
                    <a16:creationId xmlns:a16="http://schemas.microsoft.com/office/drawing/2014/main" id="{B6FB0DA2-DF64-A3E5-59DF-405EC23CDDF8}"/>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1" name="Group 40">
              <a:extLst>
                <a:ext uri="{FF2B5EF4-FFF2-40B4-BE49-F238E27FC236}">
                  <a16:creationId xmlns:a16="http://schemas.microsoft.com/office/drawing/2014/main" id="{5514B5D8-B243-512F-797E-F51B11B21EE8}"/>
                </a:ext>
              </a:extLst>
            </p:cNvPr>
            <p:cNvGrpSpPr/>
            <p:nvPr userDrawn="1"/>
          </p:nvGrpSpPr>
          <p:grpSpPr>
            <a:xfrm rot="18881942">
              <a:off x="3966848" y="6340971"/>
              <a:ext cx="126000" cy="485497"/>
              <a:chOff x="372309" y="6272654"/>
              <a:chExt cx="119465" cy="485497"/>
            </a:xfrm>
            <a:grpFill/>
          </p:grpSpPr>
          <p:sp>
            <p:nvSpPr>
              <p:cNvPr id="42" name="Rectangle 41">
                <a:extLst>
                  <a:ext uri="{FF2B5EF4-FFF2-40B4-BE49-F238E27FC236}">
                    <a16:creationId xmlns:a16="http://schemas.microsoft.com/office/drawing/2014/main" id="{2807236D-706C-C495-EC56-13BC11F037DA}"/>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3" name="Rectangle 42">
                <a:extLst>
                  <a:ext uri="{FF2B5EF4-FFF2-40B4-BE49-F238E27FC236}">
                    <a16:creationId xmlns:a16="http://schemas.microsoft.com/office/drawing/2014/main" id="{1F91F07C-F34B-C61C-C7E5-715A4CF0022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4" name="Group 43">
              <a:extLst>
                <a:ext uri="{FF2B5EF4-FFF2-40B4-BE49-F238E27FC236}">
                  <a16:creationId xmlns:a16="http://schemas.microsoft.com/office/drawing/2014/main" id="{56008001-891A-4C16-80A4-23015A4389A9}"/>
                </a:ext>
              </a:extLst>
            </p:cNvPr>
            <p:cNvGrpSpPr/>
            <p:nvPr userDrawn="1"/>
          </p:nvGrpSpPr>
          <p:grpSpPr>
            <a:xfrm rot="5400000">
              <a:off x="2479632" y="6409289"/>
              <a:ext cx="126000" cy="485497"/>
              <a:chOff x="372309" y="6272654"/>
              <a:chExt cx="119465" cy="485497"/>
            </a:xfrm>
            <a:grpFill/>
          </p:grpSpPr>
          <p:sp>
            <p:nvSpPr>
              <p:cNvPr id="45" name="Rectangle 44">
                <a:extLst>
                  <a:ext uri="{FF2B5EF4-FFF2-40B4-BE49-F238E27FC236}">
                    <a16:creationId xmlns:a16="http://schemas.microsoft.com/office/drawing/2014/main" id="{1C9DD28C-8C97-39EE-46EF-B1CDA3375AB6}"/>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6" name="Rectangle 45">
                <a:extLst>
                  <a:ext uri="{FF2B5EF4-FFF2-40B4-BE49-F238E27FC236}">
                    <a16:creationId xmlns:a16="http://schemas.microsoft.com/office/drawing/2014/main" id="{84B933B2-9F8B-47D5-BD5B-C70CD2F4A4A9}"/>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7" name="Group 46">
              <a:extLst>
                <a:ext uri="{FF2B5EF4-FFF2-40B4-BE49-F238E27FC236}">
                  <a16:creationId xmlns:a16="http://schemas.microsoft.com/office/drawing/2014/main" id="{C32DA56A-9F7A-16A0-0A6F-DEEFE40B85B3}"/>
                </a:ext>
              </a:extLst>
            </p:cNvPr>
            <p:cNvGrpSpPr/>
            <p:nvPr userDrawn="1"/>
          </p:nvGrpSpPr>
          <p:grpSpPr>
            <a:xfrm rot="5400000">
              <a:off x="5501358" y="6414547"/>
              <a:ext cx="126000" cy="485497"/>
              <a:chOff x="372309" y="6272654"/>
              <a:chExt cx="119465" cy="485497"/>
            </a:xfrm>
            <a:grpFill/>
          </p:grpSpPr>
          <p:sp>
            <p:nvSpPr>
              <p:cNvPr id="48" name="Rectangle 47">
                <a:extLst>
                  <a:ext uri="{FF2B5EF4-FFF2-40B4-BE49-F238E27FC236}">
                    <a16:creationId xmlns:a16="http://schemas.microsoft.com/office/drawing/2014/main" id="{DC65C60A-12FB-BBF4-6147-FACA04B9EECE}"/>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9" name="Rectangle 48">
                <a:extLst>
                  <a:ext uri="{FF2B5EF4-FFF2-40B4-BE49-F238E27FC236}">
                    <a16:creationId xmlns:a16="http://schemas.microsoft.com/office/drawing/2014/main" id="{2AA4D70C-09BA-C362-A2D6-5F31D9F851F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0" name="Group 49">
              <a:extLst>
                <a:ext uri="{FF2B5EF4-FFF2-40B4-BE49-F238E27FC236}">
                  <a16:creationId xmlns:a16="http://schemas.microsoft.com/office/drawing/2014/main" id="{842A9FDE-5A82-ABD6-93FF-91FE2535F7DF}"/>
                </a:ext>
              </a:extLst>
            </p:cNvPr>
            <p:cNvGrpSpPr/>
            <p:nvPr userDrawn="1"/>
          </p:nvGrpSpPr>
          <p:grpSpPr>
            <a:xfrm>
              <a:off x="6242337" y="6272655"/>
              <a:ext cx="126000" cy="485497"/>
              <a:chOff x="372309" y="6272654"/>
              <a:chExt cx="119465" cy="485497"/>
            </a:xfrm>
            <a:grpFill/>
          </p:grpSpPr>
          <p:sp>
            <p:nvSpPr>
              <p:cNvPr id="51" name="Rectangle 50">
                <a:extLst>
                  <a:ext uri="{FF2B5EF4-FFF2-40B4-BE49-F238E27FC236}">
                    <a16:creationId xmlns:a16="http://schemas.microsoft.com/office/drawing/2014/main" id="{7140C44F-6322-91E1-402E-5C86B423D5C5}"/>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2" name="Rectangle 51">
                <a:extLst>
                  <a:ext uri="{FF2B5EF4-FFF2-40B4-BE49-F238E27FC236}">
                    <a16:creationId xmlns:a16="http://schemas.microsoft.com/office/drawing/2014/main" id="{C0220DEA-71E5-642E-2224-119C3B601E46}"/>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3" name="Group 52">
              <a:extLst>
                <a:ext uri="{FF2B5EF4-FFF2-40B4-BE49-F238E27FC236}">
                  <a16:creationId xmlns:a16="http://schemas.microsoft.com/office/drawing/2014/main" id="{FAC451F2-5C1A-C624-0B78-B16A07AE68D3}"/>
                </a:ext>
              </a:extLst>
            </p:cNvPr>
            <p:cNvGrpSpPr/>
            <p:nvPr userDrawn="1"/>
          </p:nvGrpSpPr>
          <p:grpSpPr>
            <a:xfrm rot="2678555">
              <a:off x="6925511" y="6209593"/>
              <a:ext cx="126000" cy="485497"/>
              <a:chOff x="372309" y="6272654"/>
              <a:chExt cx="119465" cy="485497"/>
            </a:xfrm>
            <a:grpFill/>
          </p:grpSpPr>
          <p:sp>
            <p:nvSpPr>
              <p:cNvPr id="54" name="Rectangle 53">
                <a:extLst>
                  <a:ext uri="{FF2B5EF4-FFF2-40B4-BE49-F238E27FC236}">
                    <a16:creationId xmlns:a16="http://schemas.microsoft.com/office/drawing/2014/main" id="{D0516035-B055-2078-2040-646FAD6D08B9}"/>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5" name="Rectangle 54">
                <a:extLst>
                  <a:ext uri="{FF2B5EF4-FFF2-40B4-BE49-F238E27FC236}">
                    <a16:creationId xmlns:a16="http://schemas.microsoft.com/office/drawing/2014/main" id="{C89E3CBA-50CD-C288-84AC-B373B3235913}"/>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6" name="Group 55">
              <a:extLst>
                <a:ext uri="{FF2B5EF4-FFF2-40B4-BE49-F238E27FC236}">
                  <a16:creationId xmlns:a16="http://schemas.microsoft.com/office/drawing/2014/main" id="{1E737443-9DCD-0E27-1926-E6AF646DF0A6}"/>
                </a:ext>
              </a:extLst>
            </p:cNvPr>
            <p:cNvGrpSpPr/>
            <p:nvPr userDrawn="1"/>
          </p:nvGrpSpPr>
          <p:grpSpPr>
            <a:xfrm rot="5400000">
              <a:off x="7582407" y="6409293"/>
              <a:ext cx="126000" cy="485497"/>
              <a:chOff x="372309" y="6272654"/>
              <a:chExt cx="119465" cy="485497"/>
            </a:xfrm>
            <a:grpFill/>
          </p:grpSpPr>
          <p:sp>
            <p:nvSpPr>
              <p:cNvPr id="57" name="Rectangle 56">
                <a:extLst>
                  <a:ext uri="{FF2B5EF4-FFF2-40B4-BE49-F238E27FC236}">
                    <a16:creationId xmlns:a16="http://schemas.microsoft.com/office/drawing/2014/main" id="{049F2289-973A-6ED7-7686-B1AB8B696443}"/>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8" name="Rectangle 57">
                <a:extLst>
                  <a:ext uri="{FF2B5EF4-FFF2-40B4-BE49-F238E27FC236}">
                    <a16:creationId xmlns:a16="http://schemas.microsoft.com/office/drawing/2014/main" id="{27E43809-2663-128F-7674-FD725DA1BE8A}"/>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sp>
        <p:nvSpPr>
          <p:cNvPr id="8" name="Date Placeholder 3">
            <a:extLst>
              <a:ext uri="{FF2B5EF4-FFF2-40B4-BE49-F238E27FC236}">
                <a16:creationId xmlns:a16="http://schemas.microsoft.com/office/drawing/2014/main" id="{5E1E01F6-0547-EF2D-4A41-708004048082}"/>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9" name="TextBox 8">
            <a:extLst>
              <a:ext uri="{FF2B5EF4-FFF2-40B4-BE49-F238E27FC236}">
                <a16:creationId xmlns:a16="http://schemas.microsoft.com/office/drawing/2014/main" id="{F9D24FEB-9500-8636-96AC-5386E1C03E45}"/>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50166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0_Title and Text_no_logo">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7155"/>
            <a:ext cx="11233150" cy="4534233"/>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2" name="Date Placeholder 3">
            <a:extLst>
              <a:ext uri="{FF2B5EF4-FFF2-40B4-BE49-F238E27FC236}">
                <a16:creationId xmlns:a16="http://schemas.microsoft.com/office/drawing/2014/main" id="{CA727C65-10EA-EA61-C69A-2B1B230A836C}"/>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tx1">
                    <a:lumMod val="50000"/>
                    <a:lumOff val="50000"/>
                  </a:schemeClr>
                </a:solidFill>
                <a:latin typeface="+mn-lt"/>
                <a:sym typeface="Trebuchet MS" panose="020B0603020202020204" pitchFamily="34" charset="0"/>
              </a:defRPr>
            </a:lvl1pPr>
          </a:lstStyle>
          <a:p>
            <a:endParaRPr lang="fi-FI"/>
          </a:p>
        </p:txBody>
      </p:sp>
      <p:pic>
        <p:nvPicPr>
          <p:cNvPr id="3" name="Picture 2">
            <a:extLst>
              <a:ext uri="{FF2B5EF4-FFF2-40B4-BE49-F238E27FC236}">
                <a16:creationId xmlns:a16="http://schemas.microsoft.com/office/drawing/2014/main" id="{B4756A47-4937-9D5D-2B50-F422A9BBCF12}"/>
              </a:ext>
            </a:extLst>
          </p:cNvPr>
          <p:cNvPicPr>
            <a:picLocks noChangeAspect="1"/>
          </p:cNvPicPr>
          <p:nvPr userDrawn="1"/>
        </p:nvPicPr>
        <p:blipFill>
          <a:blip r:embed="rId5">
            <a:alphaModFix/>
          </a:blip>
          <a:srcRect b="22015"/>
          <a:stretch>
            <a:fillRect/>
          </a:stretch>
        </p:blipFill>
        <p:spPr>
          <a:xfrm>
            <a:off x="9936033" y="6082282"/>
            <a:ext cx="2040850" cy="450440"/>
          </a:xfrm>
          <a:prstGeom prst="rect">
            <a:avLst/>
          </a:prstGeom>
        </p:spPr>
      </p:pic>
    </p:spTree>
    <p:extLst>
      <p:ext uri="{BB962C8B-B14F-4D97-AF65-F5344CB8AC3E}">
        <p14:creationId xmlns:p14="http://schemas.microsoft.com/office/powerpoint/2010/main" val="797264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1_blank_logo">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blue letters on a black background&#10;&#10;Description automatically generated">
            <a:extLst>
              <a:ext uri="{FF2B5EF4-FFF2-40B4-BE49-F238E27FC236}">
                <a16:creationId xmlns:a16="http://schemas.microsoft.com/office/drawing/2014/main" id="{A06D018F-F123-CB01-91DA-D027EE03D24C}"/>
              </a:ext>
            </a:extLst>
          </p:cNvPr>
          <p:cNvPicPr>
            <a:picLocks noChangeAspect="1"/>
          </p:cNvPicPr>
          <p:nvPr userDrawn="1"/>
        </p:nvPicPr>
        <p:blipFill>
          <a:blip r:embed="rId5"/>
          <a:stretch>
            <a:fillRect/>
          </a:stretch>
        </p:blipFill>
        <p:spPr>
          <a:xfrm>
            <a:off x="10307937" y="6228261"/>
            <a:ext cx="1440000" cy="304460"/>
          </a:xfrm>
          <a:prstGeom prst="rect">
            <a:avLst/>
          </a:prstGeom>
        </p:spPr>
      </p:pic>
      <p:pic>
        <p:nvPicPr>
          <p:cNvPr id="3" name="Picture 2">
            <a:extLst>
              <a:ext uri="{FF2B5EF4-FFF2-40B4-BE49-F238E27FC236}">
                <a16:creationId xmlns:a16="http://schemas.microsoft.com/office/drawing/2014/main" id="{245B1235-F8BA-7070-5F68-AC4EA20510CF}"/>
              </a:ext>
            </a:extLst>
          </p:cNvPr>
          <p:cNvPicPr>
            <a:picLocks noChangeAspect="1"/>
          </p:cNvPicPr>
          <p:nvPr userDrawn="1"/>
        </p:nvPicPr>
        <p:blipFill>
          <a:blip r:embed="rId6">
            <a:alphaModFix/>
          </a:blip>
          <a:srcRect b="22015"/>
          <a:stretch>
            <a:fillRect/>
          </a:stretch>
        </p:blipFill>
        <p:spPr>
          <a:xfrm>
            <a:off x="9936033" y="6082282"/>
            <a:ext cx="2040850" cy="450440"/>
          </a:xfrm>
          <a:prstGeom prst="rect">
            <a:avLst/>
          </a:prstGeom>
        </p:spPr>
      </p:pic>
    </p:spTree>
    <p:extLst>
      <p:ext uri="{BB962C8B-B14F-4D97-AF65-F5344CB8AC3E}">
        <p14:creationId xmlns:p14="http://schemas.microsoft.com/office/powerpoint/2010/main" val="77350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Sub-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140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solidFill>
                <a:schemeClr val="tx2"/>
              </a:solidFill>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10" name="Title 1">
            <a:extLst>
              <a:ext uri="{FF2B5EF4-FFF2-40B4-BE49-F238E27FC236}">
                <a16:creationId xmlns:a16="http://schemas.microsoft.com/office/drawing/2014/main" id="{FA2F9386-90D4-03DE-3450-696FF6062764}"/>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3600" b="0" baseline="0">
                <a:solidFill>
                  <a:schemeClr val="bg1"/>
                </a:solidFill>
                <a:latin typeface="+mj-lt"/>
                <a:ea typeface="+mj-ea"/>
                <a:cs typeface="+mj-cs"/>
                <a:sym typeface="Trebuchet MS" panose="020B0603020202020204" pitchFamily="34" charset="0"/>
              </a:defRPr>
            </a:lvl1pPr>
          </a:lstStyle>
          <a:p>
            <a:r>
              <a:rPr lang="fi-FI"/>
              <a:t>Otsikko</a:t>
            </a:r>
          </a:p>
        </p:txBody>
      </p:sp>
      <p:pic>
        <p:nvPicPr>
          <p:cNvPr id="9" name="Picture 8">
            <a:extLst>
              <a:ext uri="{FF2B5EF4-FFF2-40B4-BE49-F238E27FC236}">
                <a16:creationId xmlns:a16="http://schemas.microsoft.com/office/drawing/2014/main" id="{B2B11D02-E0B9-FEEB-8F70-3AFA2DFEED5C}"/>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27B99B8B-4385-9A1D-E346-1D70E29F1473}"/>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1813F007-FA4F-F4D4-DD93-76B722A79684}"/>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765D5CA5-CB97-BDC6-C353-42A5B0C6604E}"/>
              </a:ext>
            </a:extLst>
          </p:cNvPr>
          <p:cNvPicPr>
            <a:picLocks noChangeAspect="1"/>
          </p:cNvPicPr>
          <p:nvPr userDrawn="1"/>
        </p:nvPicPr>
        <p:blipFill>
          <a:blip r:embed="rId7"/>
          <a:srcRect/>
          <a:stretch/>
        </p:blipFill>
        <p:spPr>
          <a:xfrm>
            <a:off x="2" y="-1"/>
            <a:ext cx="12191996" cy="3492498"/>
          </a:xfrm>
          <a:prstGeom prst="rect">
            <a:avLst/>
          </a:prstGeom>
        </p:spPr>
      </p:pic>
    </p:spTree>
    <p:extLst>
      <p:ext uri="{BB962C8B-B14F-4D97-AF65-F5344CB8AC3E}">
        <p14:creationId xmlns:p14="http://schemas.microsoft.com/office/powerpoint/2010/main" val="3570680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Sub-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140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solidFill>
                <a:schemeClr val="tx2"/>
              </a:solidFill>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10" name="Title 1">
            <a:extLst>
              <a:ext uri="{FF2B5EF4-FFF2-40B4-BE49-F238E27FC236}">
                <a16:creationId xmlns:a16="http://schemas.microsoft.com/office/drawing/2014/main" id="{FA2F9386-90D4-03DE-3450-696FF6062764}"/>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3600" b="0" baseline="0">
                <a:solidFill>
                  <a:schemeClr val="bg1"/>
                </a:solidFill>
                <a:latin typeface="+mj-lt"/>
                <a:ea typeface="+mj-ea"/>
                <a:cs typeface="+mj-cs"/>
                <a:sym typeface="Trebuchet MS" panose="020B0603020202020204" pitchFamily="34" charset="0"/>
              </a:defRPr>
            </a:lvl1pPr>
          </a:lstStyle>
          <a:p>
            <a:r>
              <a:rPr lang="fi-FI"/>
              <a:t>Otsikko</a:t>
            </a:r>
          </a:p>
        </p:txBody>
      </p:sp>
      <p:pic>
        <p:nvPicPr>
          <p:cNvPr id="9" name="Picture 8">
            <a:extLst>
              <a:ext uri="{FF2B5EF4-FFF2-40B4-BE49-F238E27FC236}">
                <a16:creationId xmlns:a16="http://schemas.microsoft.com/office/drawing/2014/main" id="{B2B11D02-E0B9-FEEB-8F70-3AFA2DFEED5C}"/>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66A2A5FD-8484-86A2-FE3F-882809B12A5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646E9DD3-EC42-A912-D0A2-E9E4FE99199B}"/>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765D5CA5-CB97-BDC6-C353-42A5B0C6604E}"/>
              </a:ext>
            </a:extLst>
          </p:cNvPr>
          <p:cNvPicPr>
            <a:picLocks noChangeAspect="1"/>
          </p:cNvPicPr>
          <p:nvPr userDrawn="1"/>
        </p:nvPicPr>
        <p:blipFill>
          <a:blip r:embed="rId7"/>
          <a:srcRect/>
          <a:stretch/>
        </p:blipFill>
        <p:spPr>
          <a:xfrm>
            <a:off x="2" y="-1"/>
            <a:ext cx="12191996" cy="3492498"/>
          </a:xfrm>
          <a:prstGeom prst="rect">
            <a:avLst/>
          </a:prstGeom>
        </p:spPr>
      </p:pic>
    </p:spTree>
    <p:extLst>
      <p:ext uri="{BB962C8B-B14F-4D97-AF65-F5344CB8AC3E}">
        <p14:creationId xmlns:p14="http://schemas.microsoft.com/office/powerpoint/2010/main" val="3171857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3_Sub-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140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solidFill>
                <a:schemeClr val="tx2"/>
              </a:solidFill>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10" name="Title 1">
            <a:extLst>
              <a:ext uri="{FF2B5EF4-FFF2-40B4-BE49-F238E27FC236}">
                <a16:creationId xmlns:a16="http://schemas.microsoft.com/office/drawing/2014/main" id="{FA2F9386-90D4-03DE-3450-696FF6062764}"/>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3600" b="0" baseline="0">
                <a:solidFill>
                  <a:schemeClr val="bg1"/>
                </a:solidFill>
                <a:latin typeface="+mj-lt"/>
                <a:ea typeface="+mj-ea"/>
                <a:cs typeface="+mj-cs"/>
                <a:sym typeface="Trebuchet MS" panose="020B0603020202020204" pitchFamily="34" charset="0"/>
              </a:defRPr>
            </a:lvl1pPr>
          </a:lstStyle>
          <a:p>
            <a:r>
              <a:rPr lang="fi-FI"/>
              <a:t>Otsikko</a:t>
            </a:r>
          </a:p>
        </p:txBody>
      </p:sp>
      <p:pic>
        <p:nvPicPr>
          <p:cNvPr id="9" name="Picture 8">
            <a:extLst>
              <a:ext uri="{FF2B5EF4-FFF2-40B4-BE49-F238E27FC236}">
                <a16:creationId xmlns:a16="http://schemas.microsoft.com/office/drawing/2014/main" id="{B2B11D02-E0B9-FEEB-8F70-3AFA2DFEED5C}"/>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711289D3-08FE-D5E4-67BB-D7F6F8E4F4AA}"/>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8C0270EB-6777-5793-C83E-ED57E3B63F6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765D5CA5-CB97-BDC6-C353-42A5B0C6604E}"/>
              </a:ext>
            </a:extLst>
          </p:cNvPr>
          <p:cNvPicPr>
            <a:picLocks noChangeAspect="1"/>
          </p:cNvPicPr>
          <p:nvPr userDrawn="1"/>
        </p:nvPicPr>
        <p:blipFill>
          <a:blip r:embed="rId7"/>
          <a:srcRect/>
          <a:stretch/>
        </p:blipFill>
        <p:spPr>
          <a:xfrm>
            <a:off x="3" y="-1"/>
            <a:ext cx="12191993" cy="3492498"/>
          </a:xfrm>
          <a:prstGeom prst="rect">
            <a:avLst/>
          </a:prstGeom>
        </p:spPr>
      </p:pic>
    </p:spTree>
    <p:extLst>
      <p:ext uri="{BB962C8B-B14F-4D97-AF65-F5344CB8AC3E}">
        <p14:creationId xmlns:p14="http://schemas.microsoft.com/office/powerpoint/2010/main" val="789597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4_Sub-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140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solidFill>
                <a:schemeClr val="tx2"/>
              </a:solidFill>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10" name="Title 1">
            <a:extLst>
              <a:ext uri="{FF2B5EF4-FFF2-40B4-BE49-F238E27FC236}">
                <a16:creationId xmlns:a16="http://schemas.microsoft.com/office/drawing/2014/main" id="{FA2F9386-90D4-03DE-3450-696FF6062764}"/>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3600" b="0" baseline="0">
                <a:solidFill>
                  <a:schemeClr val="bg1"/>
                </a:solidFill>
                <a:latin typeface="+mj-lt"/>
                <a:ea typeface="+mj-ea"/>
                <a:cs typeface="+mj-cs"/>
                <a:sym typeface="Trebuchet MS" panose="020B0603020202020204" pitchFamily="34" charset="0"/>
              </a:defRPr>
            </a:lvl1pPr>
          </a:lstStyle>
          <a:p>
            <a:r>
              <a:rPr lang="fi-FI"/>
              <a:t>Otsikko</a:t>
            </a:r>
          </a:p>
        </p:txBody>
      </p:sp>
      <p:pic>
        <p:nvPicPr>
          <p:cNvPr id="9" name="Picture 8">
            <a:extLst>
              <a:ext uri="{FF2B5EF4-FFF2-40B4-BE49-F238E27FC236}">
                <a16:creationId xmlns:a16="http://schemas.microsoft.com/office/drawing/2014/main" id="{B2B11D02-E0B9-FEEB-8F70-3AFA2DFEED5C}"/>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A1BDAF98-31C3-21D6-96BD-FDD2328D6273}"/>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04614073-6201-7A2C-EDD2-4DB70854A80E}"/>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765D5CA5-CB97-BDC6-C353-42A5B0C6604E}"/>
              </a:ext>
            </a:extLst>
          </p:cNvPr>
          <p:cNvPicPr>
            <a:picLocks noChangeAspect="1"/>
          </p:cNvPicPr>
          <p:nvPr userDrawn="1"/>
        </p:nvPicPr>
        <p:blipFill>
          <a:blip r:embed="rId7"/>
          <a:srcRect/>
          <a:stretch/>
        </p:blipFill>
        <p:spPr>
          <a:xfrm>
            <a:off x="5" y="-1"/>
            <a:ext cx="12191989" cy="3492496"/>
          </a:xfrm>
          <a:prstGeom prst="rect">
            <a:avLst/>
          </a:prstGeom>
        </p:spPr>
      </p:pic>
    </p:spTree>
    <p:extLst>
      <p:ext uri="{BB962C8B-B14F-4D97-AF65-F5344CB8AC3E}">
        <p14:creationId xmlns:p14="http://schemas.microsoft.com/office/powerpoint/2010/main" val="4015267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Sub-title slide_turkoosi">
    <p:spTree>
      <p:nvGrpSpPr>
        <p:cNvPr id="1" name=""/>
        <p:cNvGrpSpPr/>
        <p:nvPr/>
      </p:nvGrpSpPr>
      <p:grpSpPr>
        <a:xfrm>
          <a:off x="0" y="0"/>
          <a:ext cx="0" cy="0"/>
          <a:chOff x="0" y="0"/>
          <a:chExt cx="0" cy="0"/>
        </a:xfrm>
      </p:grpSpPr>
      <p:pic>
        <p:nvPicPr>
          <p:cNvPr id="12" name="Picture 11" descr="A train on the tracks&#10;&#10;Description automatically generated">
            <a:extLst>
              <a:ext uri="{FF2B5EF4-FFF2-40B4-BE49-F238E27FC236}">
                <a16:creationId xmlns:a16="http://schemas.microsoft.com/office/drawing/2014/main" id="{9FDC09A4-E79B-6EA0-FD99-2730DE5A201F}"/>
              </a:ext>
            </a:extLst>
          </p:cNvPr>
          <p:cNvPicPr>
            <a:picLocks noChangeAspect="1"/>
          </p:cNvPicPr>
          <p:nvPr userDrawn="1"/>
        </p:nvPicPr>
        <p:blipFill rotWithShape="1">
          <a:blip r:embed="rId4"/>
          <a:srcRect r="11218"/>
          <a:stretch/>
        </p:blipFill>
        <p:spPr>
          <a:xfrm>
            <a:off x="3054097" y="0"/>
            <a:ext cx="9137903" cy="6870153"/>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836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orakulmio 2">
            <a:extLst>
              <a:ext uri="{FF2B5EF4-FFF2-40B4-BE49-F238E27FC236}">
                <a16:creationId xmlns:a16="http://schemas.microsoft.com/office/drawing/2014/main" id="{9186B914-0DAD-4B52-99E8-C361FEA7735C}"/>
              </a:ext>
            </a:extLst>
          </p:cNvPr>
          <p:cNvSpPr/>
          <p:nvPr userDrawn="1"/>
        </p:nvSpPr>
        <p:spPr>
          <a:xfrm>
            <a:off x="0" y="-5679"/>
            <a:ext cx="6389440" cy="6863680"/>
          </a:xfrm>
          <a:custGeom>
            <a:avLst/>
            <a:gdLst>
              <a:gd name="connsiteX0" fmla="*/ 0 w 5276258"/>
              <a:gd name="connsiteY0" fmla="*/ 0 h 6858000"/>
              <a:gd name="connsiteX1" fmla="*/ 5276258 w 5276258"/>
              <a:gd name="connsiteY1" fmla="*/ 0 h 6858000"/>
              <a:gd name="connsiteX2" fmla="*/ 5276258 w 5276258"/>
              <a:gd name="connsiteY2" fmla="*/ 6858000 h 6858000"/>
              <a:gd name="connsiteX3" fmla="*/ 0 w 5276258"/>
              <a:gd name="connsiteY3" fmla="*/ 6858000 h 6858000"/>
              <a:gd name="connsiteX4" fmla="*/ 0 w 5276258"/>
              <a:gd name="connsiteY4" fmla="*/ 0 h 6858000"/>
              <a:gd name="connsiteX0" fmla="*/ 0 w 7178891"/>
              <a:gd name="connsiteY0" fmla="*/ 5680 h 6863680"/>
              <a:gd name="connsiteX1" fmla="*/ 7178891 w 7178891"/>
              <a:gd name="connsiteY1" fmla="*/ 0 h 6863680"/>
              <a:gd name="connsiteX2" fmla="*/ 5276258 w 7178891"/>
              <a:gd name="connsiteY2" fmla="*/ 6863680 h 6863680"/>
              <a:gd name="connsiteX3" fmla="*/ 0 w 7178891"/>
              <a:gd name="connsiteY3" fmla="*/ 6863680 h 6863680"/>
              <a:gd name="connsiteX4" fmla="*/ 0 w 7178891"/>
              <a:gd name="connsiteY4" fmla="*/ 5680 h 6863680"/>
              <a:gd name="connsiteX0" fmla="*/ 0 w 6389440"/>
              <a:gd name="connsiteY0" fmla="*/ 5680 h 6863680"/>
              <a:gd name="connsiteX1" fmla="*/ 6389440 w 6389440"/>
              <a:gd name="connsiteY1" fmla="*/ 0 h 6863680"/>
              <a:gd name="connsiteX2" fmla="*/ 5276258 w 6389440"/>
              <a:gd name="connsiteY2" fmla="*/ 6863680 h 6863680"/>
              <a:gd name="connsiteX3" fmla="*/ 0 w 6389440"/>
              <a:gd name="connsiteY3" fmla="*/ 6863680 h 6863680"/>
              <a:gd name="connsiteX4" fmla="*/ 0 w 6389440"/>
              <a:gd name="connsiteY4" fmla="*/ 5680 h 6863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9440" h="6863680">
                <a:moveTo>
                  <a:pt x="0" y="5680"/>
                </a:moveTo>
                <a:lnTo>
                  <a:pt x="6389440" y="0"/>
                </a:lnTo>
                <a:lnTo>
                  <a:pt x="5276258" y="6863680"/>
                </a:lnTo>
                <a:lnTo>
                  <a:pt x="0" y="6863680"/>
                </a:lnTo>
                <a:lnTo>
                  <a:pt x="0" y="568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4750280-FE26-7EDE-23B8-314C0DD648BB}"/>
              </a:ext>
            </a:extLst>
          </p:cNvPr>
          <p:cNvSpPr>
            <a:spLocks noGrp="1"/>
          </p:cNvSpPr>
          <p:nvPr>
            <p:ph type="ctrTitle"/>
          </p:nvPr>
        </p:nvSpPr>
        <p:spPr bwMode="ltGray">
          <a:xfrm>
            <a:off x="819150" y="1484313"/>
            <a:ext cx="4780676" cy="979487"/>
          </a:xfrm>
          <a:prstGeom prst="rect">
            <a:avLst/>
          </a:prstGeom>
        </p:spPr>
        <p:txBody>
          <a:bodyPr vert="horz" anchor="t">
            <a:noAutofit/>
          </a:bodyPr>
          <a:lstStyle>
            <a:lvl1pPr algn="l" rtl="0">
              <a:lnSpc>
                <a:spcPct val="93000"/>
              </a:lnSpc>
              <a:defRPr sz="3200" b="0" baseline="0">
                <a:solidFill>
                  <a:schemeClr val="bg1"/>
                </a:solidFill>
                <a:latin typeface="+mj-lt"/>
                <a:ea typeface="+mj-ea"/>
                <a:cs typeface="+mj-cs"/>
                <a:sym typeface="Trebuchet MS" panose="020B0603020202020204" pitchFamily="34" charset="0"/>
              </a:defRPr>
            </a:lvl1pPr>
          </a:lstStyle>
          <a:p>
            <a:r>
              <a:rPr lang="fi-FI"/>
              <a:t>Muokkaa ots. perustyyl. napsautt.</a:t>
            </a:r>
          </a:p>
        </p:txBody>
      </p:sp>
      <p:pic>
        <p:nvPicPr>
          <p:cNvPr id="2" name="Picture 1">
            <a:extLst>
              <a:ext uri="{FF2B5EF4-FFF2-40B4-BE49-F238E27FC236}">
                <a16:creationId xmlns:a16="http://schemas.microsoft.com/office/drawing/2014/main" id="{5860C2B0-3F50-D738-FB2A-1CD1774BAFC9}"/>
              </a:ext>
            </a:extLst>
          </p:cNvPr>
          <p:cNvPicPr>
            <a:picLocks noChangeAspect="1"/>
          </p:cNvPicPr>
          <p:nvPr userDrawn="1"/>
        </p:nvPicPr>
        <p:blipFill>
          <a:blip r:embed="rId7"/>
          <a:srcRect/>
          <a:stretch/>
        </p:blipFill>
        <p:spPr>
          <a:xfrm>
            <a:off x="10307937" y="6308646"/>
            <a:ext cx="1440000" cy="304457"/>
          </a:xfrm>
          <a:prstGeom prst="rect">
            <a:avLst/>
          </a:prstGeom>
        </p:spPr>
      </p:pic>
      <p:sp>
        <p:nvSpPr>
          <p:cNvPr id="10" name="Date Placeholder 3">
            <a:extLst>
              <a:ext uri="{FF2B5EF4-FFF2-40B4-BE49-F238E27FC236}">
                <a16:creationId xmlns:a16="http://schemas.microsoft.com/office/drawing/2014/main" id="{C1F3421B-156F-4C95-D2C9-18FE8369AB96}"/>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1" name="TextBox 10">
            <a:extLst>
              <a:ext uri="{FF2B5EF4-FFF2-40B4-BE49-F238E27FC236}">
                <a16:creationId xmlns:a16="http://schemas.microsoft.com/office/drawing/2014/main" id="{E163AF03-0560-8462-7DC2-95D6522BD9B0}"/>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
        <p:nvSpPr>
          <p:cNvPr id="6" name="Text Placeholder 5">
            <a:extLst>
              <a:ext uri="{FF2B5EF4-FFF2-40B4-BE49-F238E27FC236}">
                <a16:creationId xmlns:a16="http://schemas.microsoft.com/office/drawing/2014/main" id="{13D77ECC-9502-2B1F-BC5C-440529C9BC1F}"/>
              </a:ext>
            </a:extLst>
          </p:cNvPr>
          <p:cNvSpPr>
            <a:spLocks noGrp="1"/>
          </p:cNvSpPr>
          <p:nvPr>
            <p:ph type="body" sz="quarter" idx="10"/>
          </p:nvPr>
        </p:nvSpPr>
        <p:spPr>
          <a:xfrm>
            <a:off x="819150" y="2647950"/>
            <a:ext cx="4254500" cy="3575050"/>
          </a:xfrm>
        </p:spPr>
        <p:txBody>
          <a:bodyPr/>
          <a:lstStyle>
            <a:lvl1pPr>
              <a:defRPr sz="2200">
                <a:solidFill>
                  <a:schemeClr val="bg1"/>
                </a:solidFill>
              </a:defRPr>
            </a:lvl1pPr>
            <a:lvl2pPr>
              <a:defRPr>
                <a:solidFill>
                  <a:schemeClr val="bg1"/>
                </a:solidFill>
              </a:defRPr>
            </a:lvl2pPr>
            <a:lvl3pPr>
              <a:defRPr sz="1800">
                <a:solidFill>
                  <a:schemeClr val="bg1"/>
                </a:solidFill>
              </a:defRPr>
            </a:lvl3pPr>
          </a:lstStyle>
          <a:p>
            <a:pPr lvl="0"/>
            <a:r>
              <a:rPr lang="fi-FI"/>
              <a:t>Muokkaa tekstin perustyylejä napsauttamalla</a:t>
            </a:r>
          </a:p>
          <a:p>
            <a:pPr lvl="1"/>
            <a:r>
              <a:rPr lang="fi-FI"/>
              <a:t>toinen taso</a:t>
            </a:r>
          </a:p>
          <a:p>
            <a:pPr lvl="2"/>
            <a:r>
              <a:rPr lang="fi-FI"/>
              <a:t>kolmas taso</a:t>
            </a:r>
          </a:p>
        </p:txBody>
      </p:sp>
    </p:spTree>
    <p:extLst>
      <p:ext uri="{BB962C8B-B14F-4D97-AF65-F5344CB8AC3E}">
        <p14:creationId xmlns:p14="http://schemas.microsoft.com/office/powerpoint/2010/main" val="3668619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Sub-title slide_violetti">
    <p:spTree>
      <p:nvGrpSpPr>
        <p:cNvPr id="1" name=""/>
        <p:cNvGrpSpPr/>
        <p:nvPr/>
      </p:nvGrpSpPr>
      <p:grpSpPr>
        <a:xfrm>
          <a:off x="0" y="0"/>
          <a:ext cx="0" cy="0"/>
          <a:chOff x="0" y="0"/>
          <a:chExt cx="0" cy="0"/>
        </a:xfrm>
      </p:grpSpPr>
      <p:pic>
        <p:nvPicPr>
          <p:cNvPr id="20" name="Picture 19" descr="A train on the tracks&#10;&#10;Description automatically generated">
            <a:extLst>
              <a:ext uri="{FF2B5EF4-FFF2-40B4-BE49-F238E27FC236}">
                <a16:creationId xmlns:a16="http://schemas.microsoft.com/office/drawing/2014/main" id="{528413EE-69DE-474E-3B44-B3B0242E8AED}"/>
              </a:ext>
            </a:extLst>
          </p:cNvPr>
          <p:cNvPicPr>
            <a:picLocks noChangeAspect="1"/>
          </p:cNvPicPr>
          <p:nvPr userDrawn="1"/>
        </p:nvPicPr>
        <p:blipFill rotWithShape="1">
          <a:blip r:embed="rId4"/>
          <a:srcRect r="18091"/>
          <a:stretch/>
        </p:blipFill>
        <p:spPr>
          <a:xfrm>
            <a:off x="3756283" y="0"/>
            <a:ext cx="8435718" cy="6865906"/>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836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orakulmio 2">
            <a:extLst>
              <a:ext uri="{FF2B5EF4-FFF2-40B4-BE49-F238E27FC236}">
                <a16:creationId xmlns:a16="http://schemas.microsoft.com/office/drawing/2014/main" id="{9186B914-0DAD-4B52-99E8-C361FEA7735C}"/>
              </a:ext>
            </a:extLst>
          </p:cNvPr>
          <p:cNvSpPr/>
          <p:nvPr userDrawn="1"/>
        </p:nvSpPr>
        <p:spPr>
          <a:xfrm>
            <a:off x="0" y="-5679"/>
            <a:ext cx="6389440" cy="6863680"/>
          </a:xfrm>
          <a:custGeom>
            <a:avLst/>
            <a:gdLst>
              <a:gd name="connsiteX0" fmla="*/ 0 w 5276258"/>
              <a:gd name="connsiteY0" fmla="*/ 0 h 6858000"/>
              <a:gd name="connsiteX1" fmla="*/ 5276258 w 5276258"/>
              <a:gd name="connsiteY1" fmla="*/ 0 h 6858000"/>
              <a:gd name="connsiteX2" fmla="*/ 5276258 w 5276258"/>
              <a:gd name="connsiteY2" fmla="*/ 6858000 h 6858000"/>
              <a:gd name="connsiteX3" fmla="*/ 0 w 5276258"/>
              <a:gd name="connsiteY3" fmla="*/ 6858000 h 6858000"/>
              <a:gd name="connsiteX4" fmla="*/ 0 w 5276258"/>
              <a:gd name="connsiteY4" fmla="*/ 0 h 6858000"/>
              <a:gd name="connsiteX0" fmla="*/ 0 w 7178891"/>
              <a:gd name="connsiteY0" fmla="*/ 5680 h 6863680"/>
              <a:gd name="connsiteX1" fmla="*/ 7178891 w 7178891"/>
              <a:gd name="connsiteY1" fmla="*/ 0 h 6863680"/>
              <a:gd name="connsiteX2" fmla="*/ 5276258 w 7178891"/>
              <a:gd name="connsiteY2" fmla="*/ 6863680 h 6863680"/>
              <a:gd name="connsiteX3" fmla="*/ 0 w 7178891"/>
              <a:gd name="connsiteY3" fmla="*/ 6863680 h 6863680"/>
              <a:gd name="connsiteX4" fmla="*/ 0 w 7178891"/>
              <a:gd name="connsiteY4" fmla="*/ 5680 h 6863680"/>
              <a:gd name="connsiteX0" fmla="*/ 0 w 6389440"/>
              <a:gd name="connsiteY0" fmla="*/ 5680 h 6863680"/>
              <a:gd name="connsiteX1" fmla="*/ 6389440 w 6389440"/>
              <a:gd name="connsiteY1" fmla="*/ 0 h 6863680"/>
              <a:gd name="connsiteX2" fmla="*/ 5276258 w 6389440"/>
              <a:gd name="connsiteY2" fmla="*/ 6863680 h 6863680"/>
              <a:gd name="connsiteX3" fmla="*/ 0 w 6389440"/>
              <a:gd name="connsiteY3" fmla="*/ 6863680 h 6863680"/>
              <a:gd name="connsiteX4" fmla="*/ 0 w 6389440"/>
              <a:gd name="connsiteY4" fmla="*/ 5680 h 6863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9440" h="6863680">
                <a:moveTo>
                  <a:pt x="0" y="5680"/>
                </a:moveTo>
                <a:lnTo>
                  <a:pt x="6389440" y="0"/>
                </a:lnTo>
                <a:lnTo>
                  <a:pt x="5276258" y="6863680"/>
                </a:lnTo>
                <a:lnTo>
                  <a:pt x="0" y="6863680"/>
                </a:lnTo>
                <a:lnTo>
                  <a:pt x="0" y="568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4750280-FE26-7EDE-23B8-314C0DD648BB}"/>
              </a:ext>
            </a:extLst>
          </p:cNvPr>
          <p:cNvSpPr>
            <a:spLocks noGrp="1"/>
          </p:cNvSpPr>
          <p:nvPr>
            <p:ph type="ctrTitle"/>
          </p:nvPr>
        </p:nvSpPr>
        <p:spPr bwMode="ltGray">
          <a:xfrm>
            <a:off x="819150" y="1484313"/>
            <a:ext cx="4780676" cy="979487"/>
          </a:xfrm>
          <a:prstGeom prst="rect">
            <a:avLst/>
          </a:prstGeom>
        </p:spPr>
        <p:txBody>
          <a:bodyPr vert="horz" anchor="t">
            <a:noAutofit/>
          </a:bodyPr>
          <a:lstStyle>
            <a:lvl1pPr algn="l" rtl="0">
              <a:lnSpc>
                <a:spcPct val="93000"/>
              </a:lnSpc>
              <a:defRPr sz="3200" b="0" baseline="0">
                <a:solidFill>
                  <a:schemeClr val="bg1"/>
                </a:solidFill>
                <a:latin typeface="+mj-lt"/>
                <a:ea typeface="+mj-ea"/>
                <a:cs typeface="+mj-cs"/>
                <a:sym typeface="Trebuchet MS" panose="020B0603020202020204" pitchFamily="34" charset="0"/>
              </a:defRPr>
            </a:lvl1pPr>
          </a:lstStyle>
          <a:p>
            <a:r>
              <a:rPr lang="fi-FI"/>
              <a:t>Muokkaa ots. perustyyl. napsautt.</a:t>
            </a:r>
          </a:p>
        </p:txBody>
      </p:sp>
      <p:pic>
        <p:nvPicPr>
          <p:cNvPr id="2" name="Picture 1">
            <a:extLst>
              <a:ext uri="{FF2B5EF4-FFF2-40B4-BE49-F238E27FC236}">
                <a16:creationId xmlns:a16="http://schemas.microsoft.com/office/drawing/2014/main" id="{5860C2B0-3F50-D738-FB2A-1CD1774BAFC9}"/>
              </a:ext>
            </a:extLst>
          </p:cNvPr>
          <p:cNvPicPr>
            <a:picLocks noChangeAspect="1"/>
          </p:cNvPicPr>
          <p:nvPr userDrawn="1"/>
        </p:nvPicPr>
        <p:blipFill>
          <a:blip r:embed="rId7"/>
          <a:srcRect/>
          <a:stretch/>
        </p:blipFill>
        <p:spPr>
          <a:xfrm>
            <a:off x="10307937" y="6308646"/>
            <a:ext cx="1440000" cy="304457"/>
          </a:xfrm>
          <a:prstGeom prst="rect">
            <a:avLst/>
          </a:prstGeom>
        </p:spPr>
      </p:pic>
      <p:sp>
        <p:nvSpPr>
          <p:cNvPr id="10" name="Date Placeholder 3">
            <a:extLst>
              <a:ext uri="{FF2B5EF4-FFF2-40B4-BE49-F238E27FC236}">
                <a16:creationId xmlns:a16="http://schemas.microsoft.com/office/drawing/2014/main" id="{C1F3421B-156F-4C95-D2C9-18FE8369AB96}"/>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1" name="TextBox 10">
            <a:extLst>
              <a:ext uri="{FF2B5EF4-FFF2-40B4-BE49-F238E27FC236}">
                <a16:creationId xmlns:a16="http://schemas.microsoft.com/office/drawing/2014/main" id="{E163AF03-0560-8462-7DC2-95D6522BD9B0}"/>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
        <p:nvSpPr>
          <p:cNvPr id="6" name="Text Placeholder 5">
            <a:extLst>
              <a:ext uri="{FF2B5EF4-FFF2-40B4-BE49-F238E27FC236}">
                <a16:creationId xmlns:a16="http://schemas.microsoft.com/office/drawing/2014/main" id="{13D77ECC-9502-2B1F-BC5C-440529C9BC1F}"/>
              </a:ext>
            </a:extLst>
          </p:cNvPr>
          <p:cNvSpPr>
            <a:spLocks noGrp="1"/>
          </p:cNvSpPr>
          <p:nvPr>
            <p:ph type="body" sz="quarter" idx="10"/>
          </p:nvPr>
        </p:nvSpPr>
        <p:spPr>
          <a:xfrm>
            <a:off x="819150" y="2647950"/>
            <a:ext cx="4254500" cy="3575050"/>
          </a:xfrm>
        </p:spPr>
        <p:txBody>
          <a:bodyPr/>
          <a:lstStyle>
            <a:lvl1pPr>
              <a:defRPr sz="2200">
                <a:solidFill>
                  <a:schemeClr val="bg1"/>
                </a:solidFill>
              </a:defRPr>
            </a:lvl1pPr>
            <a:lvl2pPr>
              <a:defRPr>
                <a:solidFill>
                  <a:schemeClr val="bg1"/>
                </a:solidFill>
              </a:defRPr>
            </a:lvl2pPr>
            <a:lvl3pPr>
              <a:defRPr sz="1800">
                <a:solidFill>
                  <a:schemeClr val="bg1"/>
                </a:solidFill>
              </a:defRPr>
            </a:lvl3pPr>
          </a:lstStyle>
          <a:p>
            <a:pPr lvl="0"/>
            <a:r>
              <a:rPr lang="fi-FI"/>
              <a:t>Muokkaa tekstin perustyylejä napsauttamalla</a:t>
            </a:r>
          </a:p>
          <a:p>
            <a:pPr lvl="1"/>
            <a:r>
              <a:rPr lang="fi-FI"/>
              <a:t>toinen taso</a:t>
            </a:r>
          </a:p>
          <a:p>
            <a:pPr lvl="2"/>
            <a:r>
              <a:rPr lang="fi-FI"/>
              <a:t>kolmas taso</a:t>
            </a:r>
          </a:p>
        </p:txBody>
      </p:sp>
    </p:spTree>
    <p:extLst>
      <p:ext uri="{BB962C8B-B14F-4D97-AF65-F5344CB8AC3E}">
        <p14:creationId xmlns:p14="http://schemas.microsoft.com/office/powerpoint/2010/main" val="2745534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logan SV">
    <p:bg>
      <p:bgPr>
        <a:solidFill>
          <a:srgbClr val="152A96"/>
        </a:solidFill>
        <a:effectLst/>
      </p:bgPr>
    </p:bg>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321779A4-A0E6-5C08-E555-AFC98E19DD1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292176" y="1920843"/>
            <a:ext cx="7607649" cy="3016314"/>
          </a:xfrm>
          <a:prstGeom prst="rect">
            <a:avLst/>
          </a:prstGeom>
        </p:spPr>
      </p:pic>
      <p:pic>
        <p:nvPicPr>
          <p:cNvPr id="6" name="Kuva 5">
            <a:extLst>
              <a:ext uri="{FF2B5EF4-FFF2-40B4-BE49-F238E27FC236}">
                <a16:creationId xmlns:a16="http://schemas.microsoft.com/office/drawing/2014/main" id="{EC73F7FF-6027-D64A-4465-1483DD23BE5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345832">
            <a:off x="8412543" y="-1165516"/>
            <a:ext cx="4256989" cy="4256989"/>
          </a:xfrm>
          <a:prstGeom prst="rect">
            <a:avLst/>
          </a:prstGeom>
        </p:spPr>
      </p:pic>
      <p:pic>
        <p:nvPicPr>
          <p:cNvPr id="2" name="Kuva 1">
            <a:extLst>
              <a:ext uri="{FF2B5EF4-FFF2-40B4-BE49-F238E27FC236}">
                <a16:creationId xmlns:a16="http://schemas.microsoft.com/office/drawing/2014/main" id="{A9B81E06-DB9C-E5B7-B3DC-4454D2F10D0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292176" y="1920843"/>
            <a:ext cx="7607649" cy="3016314"/>
          </a:xfrm>
          <a:prstGeom prst="rect">
            <a:avLst/>
          </a:prstGeom>
        </p:spPr>
      </p:pic>
      <p:pic>
        <p:nvPicPr>
          <p:cNvPr id="3" name="Kuva 2">
            <a:extLst>
              <a:ext uri="{FF2B5EF4-FFF2-40B4-BE49-F238E27FC236}">
                <a16:creationId xmlns:a16="http://schemas.microsoft.com/office/drawing/2014/main" id="{6C334711-2B78-F7EB-619D-6C74BA0A56C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345832">
            <a:off x="8412543" y="-1165516"/>
            <a:ext cx="4256989" cy="4256989"/>
          </a:xfrm>
          <a:prstGeom prst="rect">
            <a:avLst/>
          </a:prstGeom>
        </p:spPr>
      </p:pic>
    </p:spTree>
    <p:extLst>
      <p:ext uri="{BB962C8B-B14F-4D97-AF65-F5344CB8AC3E}">
        <p14:creationId xmlns:p14="http://schemas.microsoft.com/office/powerpoint/2010/main" val="3061207767"/>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Title Slide_e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2581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CB094E4-A2FA-ACFD-AF8B-0C4FFBD63D71}"/>
              </a:ext>
            </a:extLst>
          </p:cNvPr>
          <p:cNvSpPr>
            <a:spLocks noGrp="1"/>
          </p:cNvSpPr>
          <p:nvPr>
            <p:ph type="ctrTitle" hasCustomPrompt="1"/>
          </p:nvPr>
        </p:nvSpPr>
        <p:spPr bwMode="ltGray">
          <a:xfrm>
            <a:off x="1816267" y="4351971"/>
            <a:ext cx="8559467" cy="750827"/>
          </a:xfrm>
          <a:prstGeom prst="rect">
            <a:avLst/>
          </a:prstGeom>
        </p:spPr>
        <p:txBody>
          <a:bodyPr vert="horz" anchor="t">
            <a:noAutofit/>
          </a:bodyPr>
          <a:lstStyle>
            <a:lvl1pPr algn="ctr" rtl="0">
              <a:lnSpc>
                <a:spcPct val="93000"/>
              </a:lnSpc>
              <a:defRPr sz="4000" b="0" baseline="0">
                <a:solidFill>
                  <a:schemeClr val="bg1"/>
                </a:solidFill>
                <a:latin typeface="+mj-lt"/>
                <a:ea typeface="+mj-ea"/>
                <a:cs typeface="+mj-cs"/>
                <a:sym typeface="Trebuchet MS" panose="020B0603020202020204" pitchFamily="34" charset="0"/>
              </a:defRPr>
            </a:lvl1pPr>
          </a:lstStyle>
          <a:p>
            <a:r>
              <a:rPr lang="fi-FI"/>
              <a:t>Otsikko</a:t>
            </a:r>
          </a:p>
        </p:txBody>
      </p:sp>
      <p:sp>
        <p:nvSpPr>
          <p:cNvPr id="18" name="Freeform 17">
            <a:extLst>
              <a:ext uri="{FF2B5EF4-FFF2-40B4-BE49-F238E27FC236}">
                <a16:creationId xmlns:a16="http://schemas.microsoft.com/office/drawing/2014/main" id="{42C29690-68F5-932F-81F4-42436A26FF75}"/>
              </a:ext>
            </a:extLst>
          </p:cNvPr>
          <p:cNvSpPr>
            <a:spLocks/>
          </p:cNvSpPr>
          <p:nvPr/>
        </p:nvSpPr>
        <p:spPr bwMode="auto">
          <a:xfrm>
            <a:off x="5976289"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nvGrpSpPr>
          <p:cNvPr id="2" name="Group 1">
            <a:extLst>
              <a:ext uri="{FF2B5EF4-FFF2-40B4-BE49-F238E27FC236}">
                <a16:creationId xmlns:a16="http://schemas.microsoft.com/office/drawing/2014/main" id="{C664911C-157A-1694-58E7-D2FEAF8809A7}"/>
              </a:ext>
            </a:extLst>
          </p:cNvPr>
          <p:cNvGrpSpPr/>
          <p:nvPr userDrawn="1"/>
        </p:nvGrpSpPr>
        <p:grpSpPr>
          <a:xfrm>
            <a:off x="5976289" y="5455909"/>
            <a:ext cx="442707" cy="440676"/>
            <a:chOff x="6726920" y="5455909"/>
            <a:chExt cx="442707" cy="440676"/>
          </a:xfrm>
        </p:grpSpPr>
        <p:sp>
          <p:nvSpPr>
            <p:cNvPr id="17" name="Rectangle 16">
              <a:hlinkClick r:id="rId6"/>
              <a:extLst>
                <a:ext uri="{FF2B5EF4-FFF2-40B4-BE49-F238E27FC236}">
                  <a16:creationId xmlns:a16="http://schemas.microsoft.com/office/drawing/2014/main" id="{A7706E0C-6E23-F867-A5FA-07DA58D86944}"/>
                </a:ext>
              </a:extLst>
            </p:cNvPr>
            <p:cNvSpPr>
              <a:spLocks noChangeArrowheads="1"/>
            </p:cNvSpPr>
            <p:nvPr/>
          </p:nvSpPr>
          <p:spPr bwMode="auto">
            <a:xfrm>
              <a:off x="6734028" y="5602124"/>
              <a:ext cx="91384" cy="2944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19" name="Freeform 18">
              <a:hlinkClick r:id="rId6"/>
              <a:extLst>
                <a:ext uri="{FF2B5EF4-FFF2-40B4-BE49-F238E27FC236}">
                  <a16:creationId xmlns:a16="http://schemas.microsoft.com/office/drawing/2014/main" id="{B2F2104B-E006-CCE1-564F-40D68BD11B8C}"/>
                </a:ext>
              </a:extLst>
            </p:cNvPr>
            <p:cNvSpPr>
              <a:spLocks/>
            </p:cNvSpPr>
            <p:nvPr/>
          </p:nvSpPr>
          <p:spPr bwMode="auto">
            <a:xfrm>
              <a:off x="6726920"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20" name="Freeform 19">
              <a:hlinkClick r:id="rId6"/>
              <a:extLst>
                <a:ext uri="{FF2B5EF4-FFF2-40B4-BE49-F238E27FC236}">
                  <a16:creationId xmlns:a16="http://schemas.microsoft.com/office/drawing/2014/main" id="{26875E03-EC53-D128-2C40-6EDDB1077687}"/>
                </a:ext>
              </a:extLst>
            </p:cNvPr>
            <p:cNvSpPr>
              <a:spLocks/>
            </p:cNvSpPr>
            <p:nvPr/>
          </p:nvSpPr>
          <p:spPr bwMode="auto">
            <a:xfrm>
              <a:off x="6884304" y="5595017"/>
              <a:ext cx="285323" cy="301568"/>
            </a:xfrm>
            <a:custGeom>
              <a:avLst/>
              <a:gdLst>
                <a:gd name="T0" fmla="*/ 563 w 563"/>
                <a:gd name="T1" fmla="*/ 275 h 594"/>
                <a:gd name="T2" fmla="*/ 561 w 563"/>
                <a:gd name="T3" fmla="*/ 219 h 594"/>
                <a:gd name="T4" fmla="*/ 555 w 563"/>
                <a:gd name="T5" fmla="*/ 167 h 594"/>
                <a:gd name="T6" fmla="*/ 542 w 563"/>
                <a:gd name="T7" fmla="*/ 120 h 594"/>
                <a:gd name="T8" fmla="*/ 523 w 563"/>
                <a:gd name="T9" fmla="*/ 79 h 594"/>
                <a:gd name="T10" fmla="*/ 510 w 563"/>
                <a:gd name="T11" fmla="*/ 61 h 594"/>
                <a:gd name="T12" fmla="*/ 495 w 563"/>
                <a:gd name="T13" fmla="*/ 46 h 594"/>
                <a:gd name="T14" fmla="*/ 477 w 563"/>
                <a:gd name="T15" fmla="*/ 32 h 594"/>
                <a:gd name="T16" fmla="*/ 457 w 563"/>
                <a:gd name="T17" fmla="*/ 21 h 594"/>
                <a:gd name="T18" fmla="*/ 433 w 563"/>
                <a:gd name="T19" fmla="*/ 12 h 594"/>
                <a:gd name="T20" fmla="*/ 408 w 563"/>
                <a:gd name="T21" fmla="*/ 5 h 594"/>
                <a:gd name="T22" fmla="*/ 379 w 563"/>
                <a:gd name="T23" fmla="*/ 1 h 594"/>
                <a:gd name="T24" fmla="*/ 346 w 563"/>
                <a:gd name="T25" fmla="*/ 0 h 594"/>
                <a:gd name="T26" fmla="*/ 330 w 563"/>
                <a:gd name="T27" fmla="*/ 0 h 594"/>
                <a:gd name="T28" fmla="*/ 300 w 563"/>
                <a:gd name="T29" fmla="*/ 5 h 594"/>
                <a:gd name="T30" fmla="*/ 272 w 563"/>
                <a:gd name="T31" fmla="*/ 12 h 594"/>
                <a:gd name="T32" fmla="*/ 249 w 563"/>
                <a:gd name="T33" fmla="*/ 22 h 594"/>
                <a:gd name="T34" fmla="*/ 226 w 563"/>
                <a:gd name="T35" fmla="*/ 37 h 594"/>
                <a:gd name="T36" fmla="*/ 209 w 563"/>
                <a:gd name="T37" fmla="*/ 52 h 594"/>
                <a:gd name="T38" fmla="*/ 193 w 563"/>
                <a:gd name="T39" fmla="*/ 67 h 594"/>
                <a:gd name="T40" fmla="*/ 176 w 563"/>
                <a:gd name="T41" fmla="*/ 93 h 594"/>
                <a:gd name="T42" fmla="*/ 173 w 563"/>
                <a:gd name="T43" fmla="*/ 14 h 594"/>
                <a:gd name="T44" fmla="*/ 0 w 563"/>
                <a:gd name="T45" fmla="*/ 594 h 594"/>
                <a:gd name="T46" fmla="*/ 180 w 563"/>
                <a:gd name="T47" fmla="*/ 307 h 594"/>
                <a:gd name="T48" fmla="*/ 181 w 563"/>
                <a:gd name="T49" fmla="*/ 279 h 594"/>
                <a:gd name="T50" fmla="*/ 186 w 563"/>
                <a:gd name="T51" fmla="*/ 239 h 594"/>
                <a:gd name="T52" fmla="*/ 194 w 563"/>
                <a:gd name="T53" fmla="*/ 215 h 594"/>
                <a:gd name="T54" fmla="*/ 205 w 563"/>
                <a:gd name="T55" fmla="*/ 194 h 594"/>
                <a:gd name="T56" fmla="*/ 222 w 563"/>
                <a:gd name="T57" fmla="*/ 178 h 594"/>
                <a:gd name="T58" fmla="*/ 244 w 563"/>
                <a:gd name="T59" fmla="*/ 166 h 594"/>
                <a:gd name="T60" fmla="*/ 272 w 563"/>
                <a:gd name="T61" fmla="*/ 159 h 594"/>
                <a:gd name="T62" fmla="*/ 289 w 563"/>
                <a:gd name="T63" fmla="*/ 158 h 594"/>
                <a:gd name="T64" fmla="*/ 319 w 563"/>
                <a:gd name="T65" fmla="*/ 162 h 594"/>
                <a:gd name="T66" fmla="*/ 343 w 563"/>
                <a:gd name="T67" fmla="*/ 173 h 594"/>
                <a:gd name="T68" fmla="*/ 359 w 563"/>
                <a:gd name="T69" fmla="*/ 189 h 594"/>
                <a:gd name="T70" fmla="*/ 370 w 563"/>
                <a:gd name="T71" fmla="*/ 209 h 594"/>
                <a:gd name="T72" fmla="*/ 377 w 563"/>
                <a:gd name="T73" fmla="*/ 234 h 594"/>
                <a:gd name="T74" fmla="*/ 380 w 563"/>
                <a:gd name="T75" fmla="*/ 260 h 594"/>
                <a:gd name="T76" fmla="*/ 383 w 563"/>
                <a:gd name="T77" fmla="*/ 312 h 594"/>
                <a:gd name="T78" fmla="*/ 563 w 563"/>
                <a:gd name="T79"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3" h="594">
                  <a:moveTo>
                    <a:pt x="563" y="275"/>
                  </a:moveTo>
                  <a:lnTo>
                    <a:pt x="563" y="275"/>
                  </a:lnTo>
                  <a:lnTo>
                    <a:pt x="562" y="247"/>
                  </a:lnTo>
                  <a:lnTo>
                    <a:pt x="561" y="219"/>
                  </a:lnTo>
                  <a:lnTo>
                    <a:pt x="558" y="192"/>
                  </a:lnTo>
                  <a:lnTo>
                    <a:pt x="555" y="167"/>
                  </a:lnTo>
                  <a:lnTo>
                    <a:pt x="549" y="142"/>
                  </a:lnTo>
                  <a:lnTo>
                    <a:pt x="542" y="120"/>
                  </a:lnTo>
                  <a:lnTo>
                    <a:pt x="534" y="99"/>
                  </a:lnTo>
                  <a:lnTo>
                    <a:pt x="523" y="79"/>
                  </a:lnTo>
                  <a:lnTo>
                    <a:pt x="517" y="71"/>
                  </a:lnTo>
                  <a:lnTo>
                    <a:pt x="510" y="61"/>
                  </a:lnTo>
                  <a:lnTo>
                    <a:pt x="503" y="53"/>
                  </a:lnTo>
                  <a:lnTo>
                    <a:pt x="495" y="46"/>
                  </a:lnTo>
                  <a:lnTo>
                    <a:pt x="486" y="39"/>
                  </a:lnTo>
                  <a:lnTo>
                    <a:pt x="477" y="32"/>
                  </a:lnTo>
                  <a:lnTo>
                    <a:pt x="468" y="26"/>
                  </a:lnTo>
                  <a:lnTo>
                    <a:pt x="457" y="21"/>
                  </a:lnTo>
                  <a:lnTo>
                    <a:pt x="446" y="17"/>
                  </a:lnTo>
                  <a:lnTo>
                    <a:pt x="433" y="12"/>
                  </a:lnTo>
                  <a:lnTo>
                    <a:pt x="422" y="8"/>
                  </a:lnTo>
                  <a:lnTo>
                    <a:pt x="408" y="5"/>
                  </a:lnTo>
                  <a:lnTo>
                    <a:pt x="393" y="2"/>
                  </a:lnTo>
                  <a:lnTo>
                    <a:pt x="379" y="1"/>
                  </a:lnTo>
                  <a:lnTo>
                    <a:pt x="363" y="0"/>
                  </a:lnTo>
                  <a:lnTo>
                    <a:pt x="346" y="0"/>
                  </a:lnTo>
                  <a:lnTo>
                    <a:pt x="346" y="0"/>
                  </a:lnTo>
                  <a:lnTo>
                    <a:pt x="330" y="0"/>
                  </a:lnTo>
                  <a:lnTo>
                    <a:pt x="315" y="1"/>
                  </a:lnTo>
                  <a:lnTo>
                    <a:pt x="300" y="5"/>
                  </a:lnTo>
                  <a:lnTo>
                    <a:pt x="286" y="8"/>
                  </a:lnTo>
                  <a:lnTo>
                    <a:pt x="272" y="12"/>
                  </a:lnTo>
                  <a:lnTo>
                    <a:pt x="260" y="18"/>
                  </a:lnTo>
                  <a:lnTo>
                    <a:pt x="249" y="22"/>
                  </a:lnTo>
                  <a:lnTo>
                    <a:pt x="237" y="29"/>
                  </a:lnTo>
                  <a:lnTo>
                    <a:pt x="226" y="37"/>
                  </a:lnTo>
                  <a:lnTo>
                    <a:pt x="217" y="44"/>
                  </a:lnTo>
                  <a:lnTo>
                    <a:pt x="209" y="52"/>
                  </a:lnTo>
                  <a:lnTo>
                    <a:pt x="200" y="59"/>
                  </a:lnTo>
                  <a:lnTo>
                    <a:pt x="193" y="67"/>
                  </a:lnTo>
                  <a:lnTo>
                    <a:pt x="186" y="76"/>
                  </a:lnTo>
                  <a:lnTo>
                    <a:pt x="176" y="93"/>
                  </a:lnTo>
                  <a:lnTo>
                    <a:pt x="173" y="93"/>
                  </a:lnTo>
                  <a:lnTo>
                    <a:pt x="173" y="14"/>
                  </a:lnTo>
                  <a:lnTo>
                    <a:pt x="0" y="14"/>
                  </a:lnTo>
                  <a:lnTo>
                    <a:pt x="0" y="594"/>
                  </a:lnTo>
                  <a:lnTo>
                    <a:pt x="180" y="594"/>
                  </a:lnTo>
                  <a:lnTo>
                    <a:pt x="180" y="307"/>
                  </a:lnTo>
                  <a:lnTo>
                    <a:pt x="180" y="307"/>
                  </a:lnTo>
                  <a:lnTo>
                    <a:pt x="181" y="279"/>
                  </a:lnTo>
                  <a:lnTo>
                    <a:pt x="184" y="252"/>
                  </a:lnTo>
                  <a:lnTo>
                    <a:pt x="186" y="239"/>
                  </a:lnTo>
                  <a:lnTo>
                    <a:pt x="190" y="227"/>
                  </a:lnTo>
                  <a:lnTo>
                    <a:pt x="194" y="215"/>
                  </a:lnTo>
                  <a:lnTo>
                    <a:pt x="199" y="205"/>
                  </a:lnTo>
                  <a:lnTo>
                    <a:pt x="205" y="194"/>
                  </a:lnTo>
                  <a:lnTo>
                    <a:pt x="213" y="185"/>
                  </a:lnTo>
                  <a:lnTo>
                    <a:pt x="222" y="178"/>
                  </a:lnTo>
                  <a:lnTo>
                    <a:pt x="232" y="171"/>
                  </a:lnTo>
                  <a:lnTo>
                    <a:pt x="244" y="166"/>
                  </a:lnTo>
                  <a:lnTo>
                    <a:pt x="257" y="161"/>
                  </a:lnTo>
                  <a:lnTo>
                    <a:pt x="272" y="159"/>
                  </a:lnTo>
                  <a:lnTo>
                    <a:pt x="289" y="158"/>
                  </a:lnTo>
                  <a:lnTo>
                    <a:pt x="289" y="158"/>
                  </a:lnTo>
                  <a:lnTo>
                    <a:pt x="305" y="159"/>
                  </a:lnTo>
                  <a:lnTo>
                    <a:pt x="319" y="162"/>
                  </a:lnTo>
                  <a:lnTo>
                    <a:pt x="331" y="167"/>
                  </a:lnTo>
                  <a:lnTo>
                    <a:pt x="343" y="173"/>
                  </a:lnTo>
                  <a:lnTo>
                    <a:pt x="351" y="180"/>
                  </a:lnTo>
                  <a:lnTo>
                    <a:pt x="359" y="189"/>
                  </a:lnTo>
                  <a:lnTo>
                    <a:pt x="365" y="199"/>
                  </a:lnTo>
                  <a:lnTo>
                    <a:pt x="370" y="209"/>
                  </a:lnTo>
                  <a:lnTo>
                    <a:pt x="375" y="221"/>
                  </a:lnTo>
                  <a:lnTo>
                    <a:pt x="377" y="234"/>
                  </a:lnTo>
                  <a:lnTo>
                    <a:pt x="379" y="246"/>
                  </a:lnTo>
                  <a:lnTo>
                    <a:pt x="380" y="260"/>
                  </a:lnTo>
                  <a:lnTo>
                    <a:pt x="382" y="286"/>
                  </a:lnTo>
                  <a:lnTo>
                    <a:pt x="383" y="312"/>
                  </a:lnTo>
                  <a:lnTo>
                    <a:pt x="383" y="594"/>
                  </a:lnTo>
                  <a:lnTo>
                    <a:pt x="563" y="594"/>
                  </a:lnTo>
                  <a:lnTo>
                    <a:pt x="563"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sp>
        <p:nvSpPr>
          <p:cNvPr id="21" name="Freeform 20">
            <a:hlinkClick r:id="rId7"/>
            <a:extLst>
              <a:ext uri="{FF2B5EF4-FFF2-40B4-BE49-F238E27FC236}">
                <a16:creationId xmlns:a16="http://schemas.microsoft.com/office/drawing/2014/main" id="{BC1D8BF7-8BF4-17A9-7E7A-DB518848EFD2}"/>
              </a:ext>
            </a:extLst>
          </p:cNvPr>
          <p:cNvSpPr>
            <a:spLocks/>
          </p:cNvSpPr>
          <p:nvPr userDrawn="1"/>
        </p:nvSpPr>
        <p:spPr bwMode="auto">
          <a:xfrm>
            <a:off x="5124016" y="5537141"/>
            <a:ext cx="442706" cy="359444"/>
          </a:xfrm>
          <a:custGeom>
            <a:avLst/>
            <a:gdLst>
              <a:gd name="T0" fmla="*/ 792 w 871"/>
              <a:gd name="T1" fmla="*/ 39 h 707"/>
              <a:gd name="T2" fmla="*/ 721 w 871"/>
              <a:gd name="T3" fmla="*/ 43 h 707"/>
              <a:gd name="T4" fmla="*/ 658 w 871"/>
              <a:gd name="T5" fmla="*/ 8 h 707"/>
              <a:gd name="T6" fmla="*/ 603 w 871"/>
              <a:gd name="T7" fmla="*/ 0 h 707"/>
              <a:gd name="T8" fmla="*/ 533 w 871"/>
              <a:gd name="T9" fmla="*/ 14 h 707"/>
              <a:gd name="T10" fmla="*/ 477 w 871"/>
              <a:gd name="T11" fmla="*/ 52 h 707"/>
              <a:gd name="T12" fmla="*/ 438 w 871"/>
              <a:gd name="T13" fmla="*/ 108 h 707"/>
              <a:gd name="T14" fmla="*/ 425 w 871"/>
              <a:gd name="T15" fmla="*/ 178 h 707"/>
              <a:gd name="T16" fmla="*/ 429 w 871"/>
              <a:gd name="T17" fmla="*/ 219 h 707"/>
              <a:gd name="T18" fmla="*/ 321 w 871"/>
              <a:gd name="T19" fmla="*/ 201 h 707"/>
              <a:gd name="T20" fmla="*/ 223 w 871"/>
              <a:gd name="T21" fmla="*/ 163 h 707"/>
              <a:gd name="T22" fmla="*/ 135 w 871"/>
              <a:gd name="T23" fmla="*/ 106 h 707"/>
              <a:gd name="T24" fmla="*/ 61 w 871"/>
              <a:gd name="T25" fmla="*/ 32 h 707"/>
              <a:gd name="T26" fmla="*/ 47 w 871"/>
              <a:gd name="T27" fmla="*/ 63 h 707"/>
              <a:gd name="T28" fmla="*/ 38 w 871"/>
              <a:gd name="T29" fmla="*/ 109 h 707"/>
              <a:gd name="T30" fmla="*/ 39 w 871"/>
              <a:gd name="T31" fmla="*/ 145 h 707"/>
              <a:gd name="T32" fmla="*/ 59 w 871"/>
              <a:gd name="T33" fmla="*/ 207 h 707"/>
              <a:gd name="T34" fmla="*/ 117 w 871"/>
              <a:gd name="T35" fmla="*/ 270 h 707"/>
              <a:gd name="T36" fmla="*/ 54 w 871"/>
              <a:gd name="T37" fmla="*/ 257 h 707"/>
              <a:gd name="T38" fmla="*/ 37 w 871"/>
              <a:gd name="T39" fmla="*/ 267 h 707"/>
              <a:gd name="T40" fmla="*/ 52 w 871"/>
              <a:gd name="T41" fmla="*/ 326 h 707"/>
              <a:gd name="T42" fmla="*/ 86 w 871"/>
              <a:gd name="T43" fmla="*/ 375 h 707"/>
              <a:gd name="T44" fmla="*/ 135 w 871"/>
              <a:gd name="T45" fmla="*/ 410 h 707"/>
              <a:gd name="T46" fmla="*/ 179 w 871"/>
              <a:gd name="T47" fmla="*/ 426 h 707"/>
              <a:gd name="T48" fmla="*/ 132 w 871"/>
              <a:gd name="T49" fmla="*/ 432 h 707"/>
              <a:gd name="T50" fmla="*/ 98 w 871"/>
              <a:gd name="T51" fmla="*/ 428 h 707"/>
              <a:gd name="T52" fmla="*/ 122 w 871"/>
              <a:gd name="T53" fmla="*/ 477 h 707"/>
              <a:gd name="T54" fmla="*/ 160 w 871"/>
              <a:gd name="T55" fmla="*/ 516 h 707"/>
              <a:gd name="T56" fmla="*/ 208 w 871"/>
              <a:gd name="T57" fmla="*/ 542 h 707"/>
              <a:gd name="T58" fmla="*/ 265 w 871"/>
              <a:gd name="T59" fmla="*/ 553 h 707"/>
              <a:gd name="T60" fmla="*/ 190 w 871"/>
              <a:gd name="T61" fmla="*/ 597 h 707"/>
              <a:gd name="T62" fmla="*/ 74 w 871"/>
              <a:gd name="T63" fmla="*/ 627 h 707"/>
              <a:gd name="T64" fmla="*/ 0 w 871"/>
              <a:gd name="T65" fmla="*/ 626 h 707"/>
              <a:gd name="T66" fmla="*/ 95 w 871"/>
              <a:gd name="T67" fmla="*/ 674 h 707"/>
              <a:gd name="T68" fmla="*/ 237 w 871"/>
              <a:gd name="T69" fmla="*/ 704 h 707"/>
              <a:gd name="T70" fmla="*/ 334 w 871"/>
              <a:gd name="T71" fmla="*/ 703 h 707"/>
              <a:gd name="T72" fmla="*/ 443 w 871"/>
              <a:gd name="T73" fmla="*/ 680 h 707"/>
              <a:gd name="T74" fmla="*/ 538 w 871"/>
              <a:gd name="T75" fmla="*/ 636 h 707"/>
              <a:gd name="T76" fmla="*/ 617 w 871"/>
              <a:gd name="T77" fmla="*/ 576 h 707"/>
              <a:gd name="T78" fmla="*/ 682 w 871"/>
              <a:gd name="T79" fmla="*/ 503 h 707"/>
              <a:gd name="T80" fmla="*/ 730 w 871"/>
              <a:gd name="T81" fmla="*/ 421 h 707"/>
              <a:gd name="T82" fmla="*/ 763 w 871"/>
              <a:gd name="T83" fmla="*/ 333 h 707"/>
              <a:gd name="T84" fmla="*/ 781 w 871"/>
              <a:gd name="T85" fmla="*/ 243 h 707"/>
              <a:gd name="T86" fmla="*/ 782 w 871"/>
              <a:gd name="T87" fmla="*/ 175 h 707"/>
              <a:gd name="T88" fmla="*/ 820 w 871"/>
              <a:gd name="T89" fmla="*/ 145 h 707"/>
              <a:gd name="T90" fmla="*/ 862 w 871"/>
              <a:gd name="T91" fmla="*/ 96 h 707"/>
              <a:gd name="T92" fmla="*/ 821 w 871"/>
              <a:gd name="T93" fmla="*/ 101 h 707"/>
              <a:gd name="T94" fmla="*/ 782 w 871"/>
              <a:gd name="T95" fmla="*/ 102 h 707"/>
              <a:gd name="T96" fmla="*/ 825 w 871"/>
              <a:gd name="T97" fmla="*/ 5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1" h="707">
                <a:moveTo>
                  <a:pt x="847" y="13"/>
                </a:moveTo>
                <a:lnTo>
                  <a:pt x="847" y="13"/>
                </a:lnTo>
                <a:lnTo>
                  <a:pt x="821" y="27"/>
                </a:lnTo>
                <a:lnTo>
                  <a:pt x="792" y="39"/>
                </a:lnTo>
                <a:lnTo>
                  <a:pt x="763" y="48"/>
                </a:lnTo>
                <a:lnTo>
                  <a:pt x="734" y="56"/>
                </a:lnTo>
                <a:lnTo>
                  <a:pt x="734" y="56"/>
                </a:lnTo>
                <a:lnTo>
                  <a:pt x="721" y="43"/>
                </a:lnTo>
                <a:lnTo>
                  <a:pt x="706" y="33"/>
                </a:lnTo>
                <a:lnTo>
                  <a:pt x="691" y="23"/>
                </a:lnTo>
                <a:lnTo>
                  <a:pt x="676" y="15"/>
                </a:lnTo>
                <a:lnTo>
                  <a:pt x="658" y="8"/>
                </a:lnTo>
                <a:lnTo>
                  <a:pt x="641" y="3"/>
                </a:lnTo>
                <a:lnTo>
                  <a:pt x="622" y="1"/>
                </a:lnTo>
                <a:lnTo>
                  <a:pt x="603" y="0"/>
                </a:lnTo>
                <a:lnTo>
                  <a:pt x="603" y="0"/>
                </a:lnTo>
                <a:lnTo>
                  <a:pt x="585" y="1"/>
                </a:lnTo>
                <a:lnTo>
                  <a:pt x="568" y="3"/>
                </a:lnTo>
                <a:lnTo>
                  <a:pt x="550" y="8"/>
                </a:lnTo>
                <a:lnTo>
                  <a:pt x="533" y="14"/>
                </a:lnTo>
                <a:lnTo>
                  <a:pt x="518" y="21"/>
                </a:lnTo>
                <a:lnTo>
                  <a:pt x="503" y="30"/>
                </a:lnTo>
                <a:lnTo>
                  <a:pt x="490" y="40"/>
                </a:lnTo>
                <a:lnTo>
                  <a:pt x="477" y="52"/>
                </a:lnTo>
                <a:lnTo>
                  <a:pt x="465" y="65"/>
                </a:lnTo>
                <a:lnTo>
                  <a:pt x="455" y="79"/>
                </a:lnTo>
                <a:lnTo>
                  <a:pt x="446" y="93"/>
                </a:lnTo>
                <a:lnTo>
                  <a:pt x="438" y="108"/>
                </a:lnTo>
                <a:lnTo>
                  <a:pt x="432" y="125"/>
                </a:lnTo>
                <a:lnTo>
                  <a:pt x="429" y="142"/>
                </a:lnTo>
                <a:lnTo>
                  <a:pt x="425" y="160"/>
                </a:lnTo>
                <a:lnTo>
                  <a:pt x="425" y="178"/>
                </a:lnTo>
                <a:lnTo>
                  <a:pt x="425" y="178"/>
                </a:lnTo>
                <a:lnTo>
                  <a:pt x="426" y="199"/>
                </a:lnTo>
                <a:lnTo>
                  <a:pt x="429" y="219"/>
                </a:lnTo>
                <a:lnTo>
                  <a:pt x="429" y="219"/>
                </a:lnTo>
                <a:lnTo>
                  <a:pt x="402" y="216"/>
                </a:lnTo>
                <a:lnTo>
                  <a:pt x="374" y="213"/>
                </a:lnTo>
                <a:lnTo>
                  <a:pt x="347" y="208"/>
                </a:lnTo>
                <a:lnTo>
                  <a:pt x="321" y="201"/>
                </a:lnTo>
                <a:lnTo>
                  <a:pt x="296" y="194"/>
                </a:lnTo>
                <a:lnTo>
                  <a:pt x="271" y="185"/>
                </a:lnTo>
                <a:lnTo>
                  <a:pt x="246" y="174"/>
                </a:lnTo>
                <a:lnTo>
                  <a:pt x="223" y="163"/>
                </a:lnTo>
                <a:lnTo>
                  <a:pt x="199" y="150"/>
                </a:lnTo>
                <a:lnTo>
                  <a:pt x="177" y="136"/>
                </a:lnTo>
                <a:lnTo>
                  <a:pt x="155" y="122"/>
                </a:lnTo>
                <a:lnTo>
                  <a:pt x="135" y="106"/>
                </a:lnTo>
                <a:lnTo>
                  <a:pt x="115" y="89"/>
                </a:lnTo>
                <a:lnTo>
                  <a:pt x="97" y="70"/>
                </a:lnTo>
                <a:lnTo>
                  <a:pt x="78" y="52"/>
                </a:lnTo>
                <a:lnTo>
                  <a:pt x="61" y="32"/>
                </a:lnTo>
                <a:lnTo>
                  <a:pt x="61" y="32"/>
                </a:lnTo>
                <a:lnTo>
                  <a:pt x="55" y="42"/>
                </a:lnTo>
                <a:lnTo>
                  <a:pt x="51" y="53"/>
                </a:lnTo>
                <a:lnTo>
                  <a:pt x="47" y="63"/>
                </a:lnTo>
                <a:lnTo>
                  <a:pt x="44" y="75"/>
                </a:lnTo>
                <a:lnTo>
                  <a:pt x="40" y="86"/>
                </a:lnTo>
                <a:lnTo>
                  <a:pt x="39" y="98"/>
                </a:lnTo>
                <a:lnTo>
                  <a:pt x="38" y="109"/>
                </a:lnTo>
                <a:lnTo>
                  <a:pt x="37" y="122"/>
                </a:lnTo>
                <a:lnTo>
                  <a:pt x="37" y="122"/>
                </a:lnTo>
                <a:lnTo>
                  <a:pt x="38" y="133"/>
                </a:lnTo>
                <a:lnTo>
                  <a:pt x="39" y="145"/>
                </a:lnTo>
                <a:lnTo>
                  <a:pt x="40" y="156"/>
                </a:lnTo>
                <a:lnTo>
                  <a:pt x="42" y="167"/>
                </a:lnTo>
                <a:lnTo>
                  <a:pt x="49" y="188"/>
                </a:lnTo>
                <a:lnTo>
                  <a:pt x="59" y="207"/>
                </a:lnTo>
                <a:lnTo>
                  <a:pt x="71" y="226"/>
                </a:lnTo>
                <a:lnTo>
                  <a:pt x="84" y="242"/>
                </a:lnTo>
                <a:lnTo>
                  <a:pt x="99" y="257"/>
                </a:lnTo>
                <a:lnTo>
                  <a:pt x="117" y="270"/>
                </a:lnTo>
                <a:lnTo>
                  <a:pt x="117" y="270"/>
                </a:lnTo>
                <a:lnTo>
                  <a:pt x="94" y="268"/>
                </a:lnTo>
                <a:lnTo>
                  <a:pt x="74" y="263"/>
                </a:lnTo>
                <a:lnTo>
                  <a:pt x="54" y="257"/>
                </a:lnTo>
                <a:lnTo>
                  <a:pt x="35" y="248"/>
                </a:lnTo>
                <a:lnTo>
                  <a:pt x="35" y="250"/>
                </a:lnTo>
                <a:lnTo>
                  <a:pt x="35" y="250"/>
                </a:lnTo>
                <a:lnTo>
                  <a:pt x="37" y="267"/>
                </a:lnTo>
                <a:lnTo>
                  <a:pt x="38" y="282"/>
                </a:lnTo>
                <a:lnTo>
                  <a:pt x="41" y="297"/>
                </a:lnTo>
                <a:lnTo>
                  <a:pt x="46" y="312"/>
                </a:lnTo>
                <a:lnTo>
                  <a:pt x="52" y="326"/>
                </a:lnTo>
                <a:lnTo>
                  <a:pt x="59" y="340"/>
                </a:lnTo>
                <a:lnTo>
                  <a:pt x="67" y="352"/>
                </a:lnTo>
                <a:lnTo>
                  <a:pt x="77" y="365"/>
                </a:lnTo>
                <a:lnTo>
                  <a:pt x="86" y="375"/>
                </a:lnTo>
                <a:lnTo>
                  <a:pt x="98" y="386"/>
                </a:lnTo>
                <a:lnTo>
                  <a:pt x="110" y="395"/>
                </a:lnTo>
                <a:lnTo>
                  <a:pt x="121" y="403"/>
                </a:lnTo>
                <a:lnTo>
                  <a:pt x="135" y="410"/>
                </a:lnTo>
                <a:lnTo>
                  <a:pt x="150" y="416"/>
                </a:lnTo>
                <a:lnTo>
                  <a:pt x="164" y="421"/>
                </a:lnTo>
                <a:lnTo>
                  <a:pt x="179" y="426"/>
                </a:lnTo>
                <a:lnTo>
                  <a:pt x="179" y="426"/>
                </a:lnTo>
                <a:lnTo>
                  <a:pt x="167" y="428"/>
                </a:lnTo>
                <a:lnTo>
                  <a:pt x="155" y="430"/>
                </a:lnTo>
                <a:lnTo>
                  <a:pt x="144" y="432"/>
                </a:lnTo>
                <a:lnTo>
                  <a:pt x="132" y="432"/>
                </a:lnTo>
                <a:lnTo>
                  <a:pt x="132" y="432"/>
                </a:lnTo>
                <a:lnTo>
                  <a:pt x="114" y="430"/>
                </a:lnTo>
                <a:lnTo>
                  <a:pt x="98" y="428"/>
                </a:lnTo>
                <a:lnTo>
                  <a:pt x="98" y="428"/>
                </a:lnTo>
                <a:lnTo>
                  <a:pt x="102" y="441"/>
                </a:lnTo>
                <a:lnTo>
                  <a:pt x="108" y="454"/>
                </a:lnTo>
                <a:lnTo>
                  <a:pt x="115" y="466"/>
                </a:lnTo>
                <a:lnTo>
                  <a:pt x="122" y="477"/>
                </a:lnTo>
                <a:lnTo>
                  <a:pt x="131" y="488"/>
                </a:lnTo>
                <a:lnTo>
                  <a:pt x="140" y="499"/>
                </a:lnTo>
                <a:lnTo>
                  <a:pt x="150" y="508"/>
                </a:lnTo>
                <a:lnTo>
                  <a:pt x="160" y="516"/>
                </a:lnTo>
                <a:lnTo>
                  <a:pt x="172" y="524"/>
                </a:lnTo>
                <a:lnTo>
                  <a:pt x="184" y="532"/>
                </a:lnTo>
                <a:lnTo>
                  <a:pt x="197" y="537"/>
                </a:lnTo>
                <a:lnTo>
                  <a:pt x="208" y="542"/>
                </a:lnTo>
                <a:lnTo>
                  <a:pt x="223" y="547"/>
                </a:lnTo>
                <a:lnTo>
                  <a:pt x="237" y="549"/>
                </a:lnTo>
                <a:lnTo>
                  <a:pt x="251" y="552"/>
                </a:lnTo>
                <a:lnTo>
                  <a:pt x="265" y="553"/>
                </a:lnTo>
                <a:lnTo>
                  <a:pt x="265" y="553"/>
                </a:lnTo>
                <a:lnTo>
                  <a:pt x="241" y="569"/>
                </a:lnTo>
                <a:lnTo>
                  <a:pt x="217" y="584"/>
                </a:lnTo>
                <a:lnTo>
                  <a:pt x="190" y="597"/>
                </a:lnTo>
                <a:lnTo>
                  <a:pt x="162" y="608"/>
                </a:lnTo>
                <a:lnTo>
                  <a:pt x="134" y="617"/>
                </a:lnTo>
                <a:lnTo>
                  <a:pt x="105" y="623"/>
                </a:lnTo>
                <a:lnTo>
                  <a:pt x="74" y="627"/>
                </a:lnTo>
                <a:lnTo>
                  <a:pt x="44" y="628"/>
                </a:lnTo>
                <a:lnTo>
                  <a:pt x="44" y="628"/>
                </a:lnTo>
                <a:lnTo>
                  <a:pt x="21" y="628"/>
                </a:lnTo>
                <a:lnTo>
                  <a:pt x="0" y="626"/>
                </a:lnTo>
                <a:lnTo>
                  <a:pt x="0" y="626"/>
                </a:lnTo>
                <a:lnTo>
                  <a:pt x="31" y="644"/>
                </a:lnTo>
                <a:lnTo>
                  <a:pt x="62" y="660"/>
                </a:lnTo>
                <a:lnTo>
                  <a:pt x="95" y="674"/>
                </a:lnTo>
                <a:lnTo>
                  <a:pt x="130" y="686"/>
                </a:lnTo>
                <a:lnTo>
                  <a:pt x="164" y="694"/>
                </a:lnTo>
                <a:lnTo>
                  <a:pt x="200" y="701"/>
                </a:lnTo>
                <a:lnTo>
                  <a:pt x="237" y="704"/>
                </a:lnTo>
                <a:lnTo>
                  <a:pt x="274" y="707"/>
                </a:lnTo>
                <a:lnTo>
                  <a:pt x="274" y="707"/>
                </a:lnTo>
                <a:lnTo>
                  <a:pt x="305" y="706"/>
                </a:lnTo>
                <a:lnTo>
                  <a:pt x="334" y="703"/>
                </a:lnTo>
                <a:lnTo>
                  <a:pt x="363" y="700"/>
                </a:lnTo>
                <a:lnTo>
                  <a:pt x="390" y="694"/>
                </a:lnTo>
                <a:lnTo>
                  <a:pt x="417" y="688"/>
                </a:lnTo>
                <a:lnTo>
                  <a:pt x="443" y="680"/>
                </a:lnTo>
                <a:lnTo>
                  <a:pt x="469" y="670"/>
                </a:lnTo>
                <a:lnTo>
                  <a:pt x="492" y="660"/>
                </a:lnTo>
                <a:lnTo>
                  <a:pt x="516" y="648"/>
                </a:lnTo>
                <a:lnTo>
                  <a:pt x="538" y="636"/>
                </a:lnTo>
                <a:lnTo>
                  <a:pt x="559" y="622"/>
                </a:lnTo>
                <a:lnTo>
                  <a:pt x="579" y="608"/>
                </a:lnTo>
                <a:lnTo>
                  <a:pt x="599" y="593"/>
                </a:lnTo>
                <a:lnTo>
                  <a:pt x="617" y="576"/>
                </a:lnTo>
                <a:lnTo>
                  <a:pt x="635" y="559"/>
                </a:lnTo>
                <a:lnTo>
                  <a:pt x="651" y="541"/>
                </a:lnTo>
                <a:lnTo>
                  <a:pt x="668" y="522"/>
                </a:lnTo>
                <a:lnTo>
                  <a:pt x="682" y="503"/>
                </a:lnTo>
                <a:lnTo>
                  <a:pt x="696" y="483"/>
                </a:lnTo>
                <a:lnTo>
                  <a:pt x="708" y="463"/>
                </a:lnTo>
                <a:lnTo>
                  <a:pt x="719" y="442"/>
                </a:lnTo>
                <a:lnTo>
                  <a:pt x="730" y="421"/>
                </a:lnTo>
                <a:lnTo>
                  <a:pt x="741" y="400"/>
                </a:lnTo>
                <a:lnTo>
                  <a:pt x="749" y="377"/>
                </a:lnTo>
                <a:lnTo>
                  <a:pt x="757" y="355"/>
                </a:lnTo>
                <a:lnTo>
                  <a:pt x="763" y="333"/>
                </a:lnTo>
                <a:lnTo>
                  <a:pt x="769" y="310"/>
                </a:lnTo>
                <a:lnTo>
                  <a:pt x="774" y="288"/>
                </a:lnTo>
                <a:lnTo>
                  <a:pt x="777" y="266"/>
                </a:lnTo>
                <a:lnTo>
                  <a:pt x="781" y="243"/>
                </a:lnTo>
                <a:lnTo>
                  <a:pt x="782" y="221"/>
                </a:lnTo>
                <a:lnTo>
                  <a:pt x="782" y="199"/>
                </a:lnTo>
                <a:lnTo>
                  <a:pt x="782" y="199"/>
                </a:lnTo>
                <a:lnTo>
                  <a:pt x="782" y="175"/>
                </a:lnTo>
                <a:lnTo>
                  <a:pt x="782" y="175"/>
                </a:lnTo>
                <a:lnTo>
                  <a:pt x="795" y="166"/>
                </a:lnTo>
                <a:lnTo>
                  <a:pt x="807" y="155"/>
                </a:lnTo>
                <a:lnTo>
                  <a:pt x="820" y="145"/>
                </a:lnTo>
                <a:lnTo>
                  <a:pt x="830" y="133"/>
                </a:lnTo>
                <a:lnTo>
                  <a:pt x="842" y="121"/>
                </a:lnTo>
                <a:lnTo>
                  <a:pt x="851" y="109"/>
                </a:lnTo>
                <a:lnTo>
                  <a:pt x="862" y="96"/>
                </a:lnTo>
                <a:lnTo>
                  <a:pt x="871" y="83"/>
                </a:lnTo>
                <a:lnTo>
                  <a:pt x="871" y="83"/>
                </a:lnTo>
                <a:lnTo>
                  <a:pt x="847" y="93"/>
                </a:lnTo>
                <a:lnTo>
                  <a:pt x="821" y="101"/>
                </a:lnTo>
                <a:lnTo>
                  <a:pt x="795" y="107"/>
                </a:lnTo>
                <a:lnTo>
                  <a:pt x="769" y="112"/>
                </a:lnTo>
                <a:lnTo>
                  <a:pt x="769" y="112"/>
                </a:lnTo>
                <a:lnTo>
                  <a:pt x="782" y="102"/>
                </a:lnTo>
                <a:lnTo>
                  <a:pt x="795" y="93"/>
                </a:lnTo>
                <a:lnTo>
                  <a:pt x="805" y="81"/>
                </a:lnTo>
                <a:lnTo>
                  <a:pt x="816" y="69"/>
                </a:lnTo>
                <a:lnTo>
                  <a:pt x="825" y="56"/>
                </a:lnTo>
                <a:lnTo>
                  <a:pt x="834" y="42"/>
                </a:lnTo>
                <a:lnTo>
                  <a:pt x="841" y="28"/>
                </a:lnTo>
                <a:lnTo>
                  <a:pt x="847"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22" name="Freeform 21">
            <a:hlinkClick r:id="rId8"/>
            <a:extLst>
              <a:ext uri="{FF2B5EF4-FFF2-40B4-BE49-F238E27FC236}">
                <a16:creationId xmlns:a16="http://schemas.microsoft.com/office/drawing/2014/main" id="{451C9E59-6B15-DE9D-C011-A12FE638D97A}"/>
              </a:ext>
            </a:extLst>
          </p:cNvPr>
          <p:cNvSpPr>
            <a:spLocks/>
          </p:cNvSpPr>
          <p:nvPr userDrawn="1"/>
        </p:nvSpPr>
        <p:spPr bwMode="auto">
          <a:xfrm>
            <a:off x="4370009" y="5455909"/>
            <a:ext cx="213230" cy="440675"/>
          </a:xfrm>
          <a:custGeom>
            <a:avLst/>
            <a:gdLst>
              <a:gd name="T0" fmla="*/ 0 w 419"/>
              <a:gd name="T1" fmla="*/ 249 h 868"/>
              <a:gd name="T2" fmla="*/ 91 w 419"/>
              <a:gd name="T3" fmla="*/ 249 h 868"/>
              <a:gd name="T4" fmla="*/ 91 w 419"/>
              <a:gd name="T5" fmla="*/ 203 h 868"/>
              <a:gd name="T6" fmla="*/ 91 w 419"/>
              <a:gd name="T7" fmla="*/ 203 h 868"/>
              <a:gd name="T8" fmla="*/ 92 w 419"/>
              <a:gd name="T9" fmla="*/ 167 h 868"/>
              <a:gd name="T10" fmla="*/ 95 w 419"/>
              <a:gd name="T11" fmla="*/ 135 h 868"/>
              <a:gd name="T12" fmla="*/ 98 w 419"/>
              <a:gd name="T13" fmla="*/ 121 h 868"/>
              <a:gd name="T14" fmla="*/ 100 w 419"/>
              <a:gd name="T15" fmla="*/ 108 h 868"/>
              <a:gd name="T16" fmla="*/ 103 w 419"/>
              <a:gd name="T17" fmla="*/ 96 h 868"/>
              <a:gd name="T18" fmla="*/ 108 w 419"/>
              <a:gd name="T19" fmla="*/ 87 h 868"/>
              <a:gd name="T20" fmla="*/ 108 w 419"/>
              <a:gd name="T21" fmla="*/ 87 h 868"/>
              <a:gd name="T22" fmla="*/ 113 w 419"/>
              <a:gd name="T23" fmla="*/ 78 h 868"/>
              <a:gd name="T24" fmla="*/ 118 w 419"/>
              <a:gd name="T25" fmla="*/ 68 h 868"/>
              <a:gd name="T26" fmla="*/ 125 w 419"/>
              <a:gd name="T27" fmla="*/ 60 h 868"/>
              <a:gd name="T28" fmla="*/ 132 w 419"/>
              <a:gd name="T29" fmla="*/ 52 h 868"/>
              <a:gd name="T30" fmla="*/ 140 w 419"/>
              <a:gd name="T31" fmla="*/ 44 h 868"/>
              <a:gd name="T32" fmla="*/ 148 w 419"/>
              <a:gd name="T33" fmla="*/ 36 h 868"/>
              <a:gd name="T34" fmla="*/ 158 w 419"/>
              <a:gd name="T35" fmla="*/ 31 h 868"/>
              <a:gd name="T36" fmla="*/ 169 w 419"/>
              <a:gd name="T37" fmla="*/ 24 h 868"/>
              <a:gd name="T38" fmla="*/ 169 w 419"/>
              <a:gd name="T39" fmla="*/ 24 h 868"/>
              <a:gd name="T40" fmla="*/ 180 w 419"/>
              <a:gd name="T41" fmla="*/ 19 h 868"/>
              <a:gd name="T42" fmla="*/ 193 w 419"/>
              <a:gd name="T43" fmla="*/ 13 h 868"/>
              <a:gd name="T44" fmla="*/ 206 w 419"/>
              <a:gd name="T45" fmla="*/ 9 h 868"/>
              <a:gd name="T46" fmla="*/ 219 w 419"/>
              <a:gd name="T47" fmla="*/ 6 h 868"/>
              <a:gd name="T48" fmla="*/ 234 w 419"/>
              <a:gd name="T49" fmla="*/ 4 h 868"/>
              <a:gd name="T50" fmla="*/ 249 w 419"/>
              <a:gd name="T51" fmla="*/ 1 h 868"/>
              <a:gd name="T52" fmla="*/ 265 w 419"/>
              <a:gd name="T53" fmla="*/ 0 h 868"/>
              <a:gd name="T54" fmla="*/ 281 w 419"/>
              <a:gd name="T55" fmla="*/ 0 h 868"/>
              <a:gd name="T56" fmla="*/ 281 w 419"/>
              <a:gd name="T57" fmla="*/ 0 h 868"/>
              <a:gd name="T58" fmla="*/ 317 w 419"/>
              <a:gd name="T59" fmla="*/ 1 h 868"/>
              <a:gd name="T60" fmla="*/ 351 w 419"/>
              <a:gd name="T61" fmla="*/ 5 h 868"/>
              <a:gd name="T62" fmla="*/ 385 w 419"/>
              <a:gd name="T63" fmla="*/ 12 h 868"/>
              <a:gd name="T64" fmla="*/ 419 w 419"/>
              <a:gd name="T65" fmla="*/ 21 h 868"/>
              <a:gd name="T66" fmla="*/ 397 w 419"/>
              <a:gd name="T67" fmla="*/ 135 h 868"/>
              <a:gd name="T68" fmla="*/ 397 w 419"/>
              <a:gd name="T69" fmla="*/ 135 h 868"/>
              <a:gd name="T70" fmla="*/ 377 w 419"/>
              <a:gd name="T71" fmla="*/ 131 h 868"/>
              <a:gd name="T72" fmla="*/ 358 w 419"/>
              <a:gd name="T73" fmla="*/ 128 h 868"/>
              <a:gd name="T74" fmla="*/ 340 w 419"/>
              <a:gd name="T75" fmla="*/ 126 h 868"/>
              <a:gd name="T76" fmla="*/ 321 w 419"/>
              <a:gd name="T77" fmla="*/ 126 h 868"/>
              <a:gd name="T78" fmla="*/ 321 w 419"/>
              <a:gd name="T79" fmla="*/ 126 h 868"/>
              <a:gd name="T80" fmla="*/ 305 w 419"/>
              <a:gd name="T81" fmla="*/ 127 h 868"/>
              <a:gd name="T82" fmla="*/ 291 w 419"/>
              <a:gd name="T83" fmla="*/ 129 h 868"/>
              <a:gd name="T84" fmla="*/ 285 w 419"/>
              <a:gd name="T85" fmla="*/ 132 h 868"/>
              <a:gd name="T86" fmla="*/ 279 w 419"/>
              <a:gd name="T87" fmla="*/ 135 h 868"/>
              <a:gd name="T88" fmla="*/ 274 w 419"/>
              <a:gd name="T89" fmla="*/ 139 h 868"/>
              <a:gd name="T90" fmla="*/ 271 w 419"/>
              <a:gd name="T91" fmla="*/ 142 h 868"/>
              <a:gd name="T92" fmla="*/ 271 w 419"/>
              <a:gd name="T93" fmla="*/ 142 h 868"/>
              <a:gd name="T94" fmla="*/ 267 w 419"/>
              <a:gd name="T95" fmla="*/ 147 h 868"/>
              <a:gd name="T96" fmla="*/ 264 w 419"/>
              <a:gd name="T97" fmla="*/ 153 h 868"/>
              <a:gd name="T98" fmla="*/ 261 w 419"/>
              <a:gd name="T99" fmla="*/ 159 h 868"/>
              <a:gd name="T100" fmla="*/ 259 w 419"/>
              <a:gd name="T101" fmla="*/ 166 h 868"/>
              <a:gd name="T102" fmla="*/ 255 w 419"/>
              <a:gd name="T103" fmla="*/ 185 h 868"/>
              <a:gd name="T104" fmla="*/ 255 w 419"/>
              <a:gd name="T105" fmla="*/ 206 h 868"/>
              <a:gd name="T106" fmla="*/ 255 w 419"/>
              <a:gd name="T107" fmla="*/ 249 h 868"/>
              <a:gd name="T108" fmla="*/ 378 w 419"/>
              <a:gd name="T109" fmla="*/ 249 h 868"/>
              <a:gd name="T110" fmla="*/ 378 w 419"/>
              <a:gd name="T111" fmla="*/ 379 h 868"/>
              <a:gd name="T112" fmla="*/ 255 w 419"/>
              <a:gd name="T113" fmla="*/ 379 h 868"/>
              <a:gd name="T114" fmla="*/ 255 w 419"/>
              <a:gd name="T115" fmla="*/ 868 h 868"/>
              <a:gd name="T116" fmla="*/ 91 w 419"/>
              <a:gd name="T117" fmla="*/ 868 h 868"/>
              <a:gd name="T118" fmla="*/ 91 w 419"/>
              <a:gd name="T119" fmla="*/ 379 h 868"/>
              <a:gd name="T120" fmla="*/ 0 w 419"/>
              <a:gd name="T121" fmla="*/ 379 h 868"/>
              <a:gd name="T122" fmla="*/ 0 w 419"/>
              <a:gd name="T123" fmla="*/ 249 h 868"/>
              <a:gd name="T124" fmla="*/ 0 w 419"/>
              <a:gd name="T125" fmla="*/ 24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868">
                <a:moveTo>
                  <a:pt x="0" y="249"/>
                </a:moveTo>
                <a:lnTo>
                  <a:pt x="91" y="249"/>
                </a:lnTo>
                <a:lnTo>
                  <a:pt x="91" y="203"/>
                </a:lnTo>
                <a:lnTo>
                  <a:pt x="91" y="203"/>
                </a:lnTo>
                <a:lnTo>
                  <a:pt x="92" y="167"/>
                </a:lnTo>
                <a:lnTo>
                  <a:pt x="95" y="135"/>
                </a:lnTo>
                <a:lnTo>
                  <a:pt x="98" y="121"/>
                </a:lnTo>
                <a:lnTo>
                  <a:pt x="100" y="108"/>
                </a:lnTo>
                <a:lnTo>
                  <a:pt x="103" y="96"/>
                </a:lnTo>
                <a:lnTo>
                  <a:pt x="108" y="87"/>
                </a:lnTo>
                <a:lnTo>
                  <a:pt x="108" y="87"/>
                </a:lnTo>
                <a:lnTo>
                  <a:pt x="113" y="78"/>
                </a:lnTo>
                <a:lnTo>
                  <a:pt x="118" y="68"/>
                </a:lnTo>
                <a:lnTo>
                  <a:pt x="125" y="60"/>
                </a:lnTo>
                <a:lnTo>
                  <a:pt x="132" y="52"/>
                </a:lnTo>
                <a:lnTo>
                  <a:pt x="140" y="44"/>
                </a:lnTo>
                <a:lnTo>
                  <a:pt x="148" y="36"/>
                </a:lnTo>
                <a:lnTo>
                  <a:pt x="158" y="31"/>
                </a:lnTo>
                <a:lnTo>
                  <a:pt x="169" y="24"/>
                </a:lnTo>
                <a:lnTo>
                  <a:pt x="169" y="24"/>
                </a:lnTo>
                <a:lnTo>
                  <a:pt x="180" y="19"/>
                </a:lnTo>
                <a:lnTo>
                  <a:pt x="193" y="13"/>
                </a:lnTo>
                <a:lnTo>
                  <a:pt x="206" y="9"/>
                </a:lnTo>
                <a:lnTo>
                  <a:pt x="219" y="6"/>
                </a:lnTo>
                <a:lnTo>
                  <a:pt x="234" y="4"/>
                </a:lnTo>
                <a:lnTo>
                  <a:pt x="249" y="1"/>
                </a:lnTo>
                <a:lnTo>
                  <a:pt x="265" y="0"/>
                </a:lnTo>
                <a:lnTo>
                  <a:pt x="281" y="0"/>
                </a:lnTo>
                <a:lnTo>
                  <a:pt x="281" y="0"/>
                </a:lnTo>
                <a:lnTo>
                  <a:pt x="317" y="1"/>
                </a:lnTo>
                <a:lnTo>
                  <a:pt x="351" y="5"/>
                </a:lnTo>
                <a:lnTo>
                  <a:pt x="385" y="12"/>
                </a:lnTo>
                <a:lnTo>
                  <a:pt x="419" y="21"/>
                </a:lnTo>
                <a:lnTo>
                  <a:pt x="397" y="135"/>
                </a:lnTo>
                <a:lnTo>
                  <a:pt x="397" y="135"/>
                </a:lnTo>
                <a:lnTo>
                  <a:pt x="377" y="131"/>
                </a:lnTo>
                <a:lnTo>
                  <a:pt x="358" y="128"/>
                </a:lnTo>
                <a:lnTo>
                  <a:pt x="340" y="126"/>
                </a:lnTo>
                <a:lnTo>
                  <a:pt x="321" y="126"/>
                </a:lnTo>
                <a:lnTo>
                  <a:pt x="321" y="126"/>
                </a:lnTo>
                <a:lnTo>
                  <a:pt x="305" y="127"/>
                </a:lnTo>
                <a:lnTo>
                  <a:pt x="291" y="129"/>
                </a:lnTo>
                <a:lnTo>
                  <a:pt x="285" y="132"/>
                </a:lnTo>
                <a:lnTo>
                  <a:pt x="279" y="135"/>
                </a:lnTo>
                <a:lnTo>
                  <a:pt x="274" y="139"/>
                </a:lnTo>
                <a:lnTo>
                  <a:pt x="271" y="142"/>
                </a:lnTo>
                <a:lnTo>
                  <a:pt x="271" y="142"/>
                </a:lnTo>
                <a:lnTo>
                  <a:pt x="267" y="147"/>
                </a:lnTo>
                <a:lnTo>
                  <a:pt x="264" y="153"/>
                </a:lnTo>
                <a:lnTo>
                  <a:pt x="261" y="159"/>
                </a:lnTo>
                <a:lnTo>
                  <a:pt x="259" y="166"/>
                </a:lnTo>
                <a:lnTo>
                  <a:pt x="255" y="185"/>
                </a:lnTo>
                <a:lnTo>
                  <a:pt x="255" y="206"/>
                </a:lnTo>
                <a:lnTo>
                  <a:pt x="255" y="249"/>
                </a:lnTo>
                <a:lnTo>
                  <a:pt x="378" y="249"/>
                </a:lnTo>
                <a:lnTo>
                  <a:pt x="378" y="379"/>
                </a:lnTo>
                <a:lnTo>
                  <a:pt x="255" y="379"/>
                </a:lnTo>
                <a:lnTo>
                  <a:pt x="255" y="868"/>
                </a:lnTo>
                <a:lnTo>
                  <a:pt x="91" y="868"/>
                </a:lnTo>
                <a:lnTo>
                  <a:pt x="91" y="379"/>
                </a:lnTo>
                <a:lnTo>
                  <a:pt x="0" y="379"/>
                </a:lnTo>
                <a:lnTo>
                  <a:pt x="0" y="249"/>
                </a:lnTo>
                <a:lnTo>
                  <a:pt x="0" y="24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pic>
        <p:nvPicPr>
          <p:cNvPr id="5" name="Picture 4">
            <a:hlinkClick r:id="rId9"/>
            <a:extLst>
              <a:ext uri="{FF2B5EF4-FFF2-40B4-BE49-F238E27FC236}">
                <a16:creationId xmlns:a16="http://schemas.microsoft.com/office/drawing/2014/main" id="{0F05A33C-9676-F683-5806-B68CE8008DB9}"/>
              </a:ext>
            </a:extLst>
          </p:cNvPr>
          <p:cNvPicPr>
            <a:picLocks noChangeAspect="1"/>
          </p:cNvPicPr>
          <p:nvPr userDrawn="1"/>
        </p:nvPicPr>
        <p:blipFill rotWithShape="1">
          <a:blip r:embed="rId10"/>
          <a:srcRect l="23304" t="23982" r="22737" b="25042"/>
          <a:stretch/>
        </p:blipFill>
        <p:spPr>
          <a:xfrm>
            <a:off x="6922985" y="5437112"/>
            <a:ext cx="569633" cy="538135"/>
          </a:xfrm>
          <a:prstGeom prst="rect">
            <a:avLst/>
          </a:prstGeom>
        </p:spPr>
      </p:pic>
      <p:pic>
        <p:nvPicPr>
          <p:cNvPr id="8" name="Picture 7">
            <a:extLst>
              <a:ext uri="{FF2B5EF4-FFF2-40B4-BE49-F238E27FC236}">
                <a16:creationId xmlns:a16="http://schemas.microsoft.com/office/drawing/2014/main" id="{368FE2D0-6F17-71BC-BA24-B74BCC80DB8D}"/>
              </a:ext>
            </a:extLst>
          </p:cNvPr>
          <p:cNvPicPr>
            <a:picLocks noChangeAspect="1"/>
          </p:cNvPicPr>
          <p:nvPr userDrawn="1"/>
        </p:nvPicPr>
        <p:blipFill>
          <a:blip r:embed="rId11"/>
          <a:srcRect/>
          <a:stretch/>
        </p:blipFill>
        <p:spPr>
          <a:xfrm>
            <a:off x="10307937" y="6308646"/>
            <a:ext cx="1440000" cy="304457"/>
          </a:xfrm>
          <a:prstGeom prst="rect">
            <a:avLst/>
          </a:prstGeom>
        </p:spPr>
      </p:pic>
      <p:sp>
        <p:nvSpPr>
          <p:cNvPr id="13" name="Date Placeholder 3">
            <a:extLst>
              <a:ext uri="{FF2B5EF4-FFF2-40B4-BE49-F238E27FC236}">
                <a16:creationId xmlns:a16="http://schemas.microsoft.com/office/drawing/2014/main" id="{08BE8DC5-E363-A557-BA5C-A3E07C680BA1}"/>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4" name="TextBox 13">
            <a:extLst>
              <a:ext uri="{FF2B5EF4-FFF2-40B4-BE49-F238E27FC236}">
                <a16:creationId xmlns:a16="http://schemas.microsoft.com/office/drawing/2014/main" id="{66CBC369-1E8E-7775-1C7E-5CC561D16506}"/>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15" name="Picture 14" descr="Blue text on a black background&#10;&#10;Description automatically generated">
            <a:extLst>
              <a:ext uri="{FF2B5EF4-FFF2-40B4-BE49-F238E27FC236}">
                <a16:creationId xmlns:a16="http://schemas.microsoft.com/office/drawing/2014/main" id="{738B4834-9E2A-2F3A-E4DF-2DF298DAD097}"/>
              </a:ext>
            </a:extLst>
          </p:cNvPr>
          <p:cNvPicPr>
            <a:picLocks noChangeAspect="1"/>
          </p:cNvPicPr>
          <p:nvPr userDrawn="1"/>
        </p:nvPicPr>
        <p:blipFill>
          <a:blip r:embed="rId12"/>
          <a:stretch>
            <a:fillRect/>
          </a:stretch>
        </p:blipFill>
        <p:spPr>
          <a:xfrm>
            <a:off x="479426" y="6072252"/>
            <a:ext cx="2587455" cy="540851"/>
          </a:xfrm>
          <a:prstGeom prst="rect">
            <a:avLst/>
          </a:prstGeom>
        </p:spPr>
      </p:pic>
      <p:pic>
        <p:nvPicPr>
          <p:cNvPr id="6" name="Picture 5">
            <a:extLst>
              <a:ext uri="{FF2B5EF4-FFF2-40B4-BE49-F238E27FC236}">
                <a16:creationId xmlns:a16="http://schemas.microsoft.com/office/drawing/2014/main" id="{55277FE5-F247-54BE-2093-0E0B9223455F}"/>
              </a:ext>
            </a:extLst>
          </p:cNvPr>
          <p:cNvPicPr>
            <a:picLocks noChangeAspect="1"/>
          </p:cNvPicPr>
          <p:nvPr userDrawn="1"/>
        </p:nvPicPr>
        <p:blipFill>
          <a:blip r:embed="rId13"/>
          <a:srcRect/>
          <a:stretch/>
        </p:blipFill>
        <p:spPr>
          <a:xfrm>
            <a:off x="0" y="0"/>
            <a:ext cx="12192000" cy="3492500"/>
          </a:xfrm>
          <a:prstGeom prst="rect">
            <a:avLst/>
          </a:prstGeom>
        </p:spPr>
      </p:pic>
    </p:spTree>
    <p:extLst>
      <p:ext uri="{BB962C8B-B14F-4D97-AF65-F5344CB8AC3E}">
        <p14:creationId xmlns:p14="http://schemas.microsoft.com/office/powerpoint/2010/main" val="80939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Title Slide_e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2581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CB094E4-A2FA-ACFD-AF8B-0C4FFBD63D71}"/>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4000" b="0" baseline="0">
                <a:solidFill>
                  <a:schemeClr val="accent2"/>
                </a:solidFill>
                <a:latin typeface="+mj-lt"/>
                <a:ea typeface="+mj-ea"/>
                <a:cs typeface="+mj-cs"/>
                <a:sym typeface="Trebuchet MS" panose="020B0603020202020204" pitchFamily="34" charset="0"/>
              </a:defRPr>
            </a:lvl1pPr>
          </a:lstStyle>
          <a:p>
            <a:r>
              <a:rPr lang="fi-FI"/>
              <a:t>Otsikko</a:t>
            </a:r>
          </a:p>
        </p:txBody>
      </p:sp>
      <p:sp>
        <p:nvSpPr>
          <p:cNvPr id="18" name="Freeform 17">
            <a:extLst>
              <a:ext uri="{FF2B5EF4-FFF2-40B4-BE49-F238E27FC236}">
                <a16:creationId xmlns:a16="http://schemas.microsoft.com/office/drawing/2014/main" id="{42C29690-68F5-932F-81F4-42436A26FF75}"/>
              </a:ext>
            </a:extLst>
          </p:cNvPr>
          <p:cNvSpPr>
            <a:spLocks/>
          </p:cNvSpPr>
          <p:nvPr/>
        </p:nvSpPr>
        <p:spPr bwMode="auto">
          <a:xfrm>
            <a:off x="5976289"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nvGrpSpPr>
          <p:cNvPr id="2" name="Group 1">
            <a:extLst>
              <a:ext uri="{FF2B5EF4-FFF2-40B4-BE49-F238E27FC236}">
                <a16:creationId xmlns:a16="http://schemas.microsoft.com/office/drawing/2014/main" id="{C664911C-157A-1694-58E7-D2FEAF8809A7}"/>
              </a:ext>
            </a:extLst>
          </p:cNvPr>
          <p:cNvGrpSpPr/>
          <p:nvPr userDrawn="1"/>
        </p:nvGrpSpPr>
        <p:grpSpPr>
          <a:xfrm>
            <a:off x="5976289" y="5455909"/>
            <a:ext cx="442707" cy="440676"/>
            <a:chOff x="6726920" y="5455909"/>
            <a:chExt cx="442707" cy="440676"/>
          </a:xfrm>
        </p:grpSpPr>
        <p:sp>
          <p:nvSpPr>
            <p:cNvPr id="17" name="Rectangle 16">
              <a:hlinkClick r:id="rId6"/>
              <a:extLst>
                <a:ext uri="{FF2B5EF4-FFF2-40B4-BE49-F238E27FC236}">
                  <a16:creationId xmlns:a16="http://schemas.microsoft.com/office/drawing/2014/main" id="{A7706E0C-6E23-F867-A5FA-07DA58D86944}"/>
                </a:ext>
              </a:extLst>
            </p:cNvPr>
            <p:cNvSpPr>
              <a:spLocks noChangeArrowheads="1"/>
            </p:cNvSpPr>
            <p:nvPr/>
          </p:nvSpPr>
          <p:spPr bwMode="auto">
            <a:xfrm>
              <a:off x="6734028" y="5602124"/>
              <a:ext cx="91384" cy="2944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19" name="Freeform 18">
              <a:hlinkClick r:id="rId6"/>
              <a:extLst>
                <a:ext uri="{FF2B5EF4-FFF2-40B4-BE49-F238E27FC236}">
                  <a16:creationId xmlns:a16="http://schemas.microsoft.com/office/drawing/2014/main" id="{B2F2104B-E006-CCE1-564F-40D68BD11B8C}"/>
                </a:ext>
              </a:extLst>
            </p:cNvPr>
            <p:cNvSpPr>
              <a:spLocks/>
            </p:cNvSpPr>
            <p:nvPr/>
          </p:nvSpPr>
          <p:spPr bwMode="auto">
            <a:xfrm>
              <a:off x="6726920"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20" name="Freeform 19">
              <a:hlinkClick r:id="rId6"/>
              <a:extLst>
                <a:ext uri="{FF2B5EF4-FFF2-40B4-BE49-F238E27FC236}">
                  <a16:creationId xmlns:a16="http://schemas.microsoft.com/office/drawing/2014/main" id="{26875E03-EC53-D128-2C40-6EDDB1077687}"/>
                </a:ext>
              </a:extLst>
            </p:cNvPr>
            <p:cNvSpPr>
              <a:spLocks/>
            </p:cNvSpPr>
            <p:nvPr/>
          </p:nvSpPr>
          <p:spPr bwMode="auto">
            <a:xfrm>
              <a:off x="6884304" y="5595017"/>
              <a:ext cx="285323" cy="301568"/>
            </a:xfrm>
            <a:custGeom>
              <a:avLst/>
              <a:gdLst>
                <a:gd name="T0" fmla="*/ 563 w 563"/>
                <a:gd name="T1" fmla="*/ 275 h 594"/>
                <a:gd name="T2" fmla="*/ 561 w 563"/>
                <a:gd name="T3" fmla="*/ 219 h 594"/>
                <a:gd name="T4" fmla="*/ 555 w 563"/>
                <a:gd name="T5" fmla="*/ 167 h 594"/>
                <a:gd name="T6" fmla="*/ 542 w 563"/>
                <a:gd name="T7" fmla="*/ 120 h 594"/>
                <a:gd name="T8" fmla="*/ 523 w 563"/>
                <a:gd name="T9" fmla="*/ 79 h 594"/>
                <a:gd name="T10" fmla="*/ 510 w 563"/>
                <a:gd name="T11" fmla="*/ 61 h 594"/>
                <a:gd name="T12" fmla="*/ 495 w 563"/>
                <a:gd name="T13" fmla="*/ 46 h 594"/>
                <a:gd name="T14" fmla="*/ 477 w 563"/>
                <a:gd name="T15" fmla="*/ 32 h 594"/>
                <a:gd name="T16" fmla="*/ 457 w 563"/>
                <a:gd name="T17" fmla="*/ 21 h 594"/>
                <a:gd name="T18" fmla="*/ 433 w 563"/>
                <a:gd name="T19" fmla="*/ 12 h 594"/>
                <a:gd name="T20" fmla="*/ 408 w 563"/>
                <a:gd name="T21" fmla="*/ 5 h 594"/>
                <a:gd name="T22" fmla="*/ 379 w 563"/>
                <a:gd name="T23" fmla="*/ 1 h 594"/>
                <a:gd name="T24" fmla="*/ 346 w 563"/>
                <a:gd name="T25" fmla="*/ 0 h 594"/>
                <a:gd name="T26" fmla="*/ 330 w 563"/>
                <a:gd name="T27" fmla="*/ 0 h 594"/>
                <a:gd name="T28" fmla="*/ 300 w 563"/>
                <a:gd name="T29" fmla="*/ 5 h 594"/>
                <a:gd name="T30" fmla="*/ 272 w 563"/>
                <a:gd name="T31" fmla="*/ 12 h 594"/>
                <a:gd name="T32" fmla="*/ 249 w 563"/>
                <a:gd name="T33" fmla="*/ 22 h 594"/>
                <a:gd name="T34" fmla="*/ 226 w 563"/>
                <a:gd name="T35" fmla="*/ 37 h 594"/>
                <a:gd name="T36" fmla="*/ 209 w 563"/>
                <a:gd name="T37" fmla="*/ 52 h 594"/>
                <a:gd name="T38" fmla="*/ 193 w 563"/>
                <a:gd name="T39" fmla="*/ 67 h 594"/>
                <a:gd name="T40" fmla="*/ 176 w 563"/>
                <a:gd name="T41" fmla="*/ 93 h 594"/>
                <a:gd name="T42" fmla="*/ 173 w 563"/>
                <a:gd name="T43" fmla="*/ 14 h 594"/>
                <a:gd name="T44" fmla="*/ 0 w 563"/>
                <a:gd name="T45" fmla="*/ 594 h 594"/>
                <a:gd name="T46" fmla="*/ 180 w 563"/>
                <a:gd name="T47" fmla="*/ 307 h 594"/>
                <a:gd name="T48" fmla="*/ 181 w 563"/>
                <a:gd name="T49" fmla="*/ 279 h 594"/>
                <a:gd name="T50" fmla="*/ 186 w 563"/>
                <a:gd name="T51" fmla="*/ 239 h 594"/>
                <a:gd name="T52" fmla="*/ 194 w 563"/>
                <a:gd name="T53" fmla="*/ 215 h 594"/>
                <a:gd name="T54" fmla="*/ 205 w 563"/>
                <a:gd name="T55" fmla="*/ 194 h 594"/>
                <a:gd name="T56" fmla="*/ 222 w 563"/>
                <a:gd name="T57" fmla="*/ 178 h 594"/>
                <a:gd name="T58" fmla="*/ 244 w 563"/>
                <a:gd name="T59" fmla="*/ 166 h 594"/>
                <a:gd name="T60" fmla="*/ 272 w 563"/>
                <a:gd name="T61" fmla="*/ 159 h 594"/>
                <a:gd name="T62" fmla="*/ 289 w 563"/>
                <a:gd name="T63" fmla="*/ 158 h 594"/>
                <a:gd name="T64" fmla="*/ 319 w 563"/>
                <a:gd name="T65" fmla="*/ 162 h 594"/>
                <a:gd name="T66" fmla="*/ 343 w 563"/>
                <a:gd name="T67" fmla="*/ 173 h 594"/>
                <a:gd name="T68" fmla="*/ 359 w 563"/>
                <a:gd name="T69" fmla="*/ 189 h 594"/>
                <a:gd name="T70" fmla="*/ 370 w 563"/>
                <a:gd name="T71" fmla="*/ 209 h 594"/>
                <a:gd name="T72" fmla="*/ 377 w 563"/>
                <a:gd name="T73" fmla="*/ 234 h 594"/>
                <a:gd name="T74" fmla="*/ 380 w 563"/>
                <a:gd name="T75" fmla="*/ 260 h 594"/>
                <a:gd name="T76" fmla="*/ 383 w 563"/>
                <a:gd name="T77" fmla="*/ 312 h 594"/>
                <a:gd name="T78" fmla="*/ 563 w 563"/>
                <a:gd name="T79"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3" h="594">
                  <a:moveTo>
                    <a:pt x="563" y="275"/>
                  </a:moveTo>
                  <a:lnTo>
                    <a:pt x="563" y="275"/>
                  </a:lnTo>
                  <a:lnTo>
                    <a:pt x="562" y="247"/>
                  </a:lnTo>
                  <a:lnTo>
                    <a:pt x="561" y="219"/>
                  </a:lnTo>
                  <a:lnTo>
                    <a:pt x="558" y="192"/>
                  </a:lnTo>
                  <a:lnTo>
                    <a:pt x="555" y="167"/>
                  </a:lnTo>
                  <a:lnTo>
                    <a:pt x="549" y="142"/>
                  </a:lnTo>
                  <a:lnTo>
                    <a:pt x="542" y="120"/>
                  </a:lnTo>
                  <a:lnTo>
                    <a:pt x="534" y="99"/>
                  </a:lnTo>
                  <a:lnTo>
                    <a:pt x="523" y="79"/>
                  </a:lnTo>
                  <a:lnTo>
                    <a:pt x="517" y="71"/>
                  </a:lnTo>
                  <a:lnTo>
                    <a:pt x="510" y="61"/>
                  </a:lnTo>
                  <a:lnTo>
                    <a:pt x="503" y="53"/>
                  </a:lnTo>
                  <a:lnTo>
                    <a:pt x="495" y="46"/>
                  </a:lnTo>
                  <a:lnTo>
                    <a:pt x="486" y="39"/>
                  </a:lnTo>
                  <a:lnTo>
                    <a:pt x="477" y="32"/>
                  </a:lnTo>
                  <a:lnTo>
                    <a:pt x="468" y="26"/>
                  </a:lnTo>
                  <a:lnTo>
                    <a:pt x="457" y="21"/>
                  </a:lnTo>
                  <a:lnTo>
                    <a:pt x="446" y="17"/>
                  </a:lnTo>
                  <a:lnTo>
                    <a:pt x="433" y="12"/>
                  </a:lnTo>
                  <a:lnTo>
                    <a:pt x="422" y="8"/>
                  </a:lnTo>
                  <a:lnTo>
                    <a:pt x="408" y="5"/>
                  </a:lnTo>
                  <a:lnTo>
                    <a:pt x="393" y="2"/>
                  </a:lnTo>
                  <a:lnTo>
                    <a:pt x="379" y="1"/>
                  </a:lnTo>
                  <a:lnTo>
                    <a:pt x="363" y="0"/>
                  </a:lnTo>
                  <a:lnTo>
                    <a:pt x="346" y="0"/>
                  </a:lnTo>
                  <a:lnTo>
                    <a:pt x="346" y="0"/>
                  </a:lnTo>
                  <a:lnTo>
                    <a:pt x="330" y="0"/>
                  </a:lnTo>
                  <a:lnTo>
                    <a:pt x="315" y="1"/>
                  </a:lnTo>
                  <a:lnTo>
                    <a:pt x="300" y="5"/>
                  </a:lnTo>
                  <a:lnTo>
                    <a:pt x="286" y="8"/>
                  </a:lnTo>
                  <a:lnTo>
                    <a:pt x="272" y="12"/>
                  </a:lnTo>
                  <a:lnTo>
                    <a:pt x="260" y="18"/>
                  </a:lnTo>
                  <a:lnTo>
                    <a:pt x="249" y="22"/>
                  </a:lnTo>
                  <a:lnTo>
                    <a:pt x="237" y="29"/>
                  </a:lnTo>
                  <a:lnTo>
                    <a:pt x="226" y="37"/>
                  </a:lnTo>
                  <a:lnTo>
                    <a:pt x="217" y="44"/>
                  </a:lnTo>
                  <a:lnTo>
                    <a:pt x="209" y="52"/>
                  </a:lnTo>
                  <a:lnTo>
                    <a:pt x="200" y="59"/>
                  </a:lnTo>
                  <a:lnTo>
                    <a:pt x="193" y="67"/>
                  </a:lnTo>
                  <a:lnTo>
                    <a:pt x="186" y="76"/>
                  </a:lnTo>
                  <a:lnTo>
                    <a:pt x="176" y="93"/>
                  </a:lnTo>
                  <a:lnTo>
                    <a:pt x="173" y="93"/>
                  </a:lnTo>
                  <a:lnTo>
                    <a:pt x="173" y="14"/>
                  </a:lnTo>
                  <a:lnTo>
                    <a:pt x="0" y="14"/>
                  </a:lnTo>
                  <a:lnTo>
                    <a:pt x="0" y="594"/>
                  </a:lnTo>
                  <a:lnTo>
                    <a:pt x="180" y="594"/>
                  </a:lnTo>
                  <a:lnTo>
                    <a:pt x="180" y="307"/>
                  </a:lnTo>
                  <a:lnTo>
                    <a:pt x="180" y="307"/>
                  </a:lnTo>
                  <a:lnTo>
                    <a:pt x="181" y="279"/>
                  </a:lnTo>
                  <a:lnTo>
                    <a:pt x="184" y="252"/>
                  </a:lnTo>
                  <a:lnTo>
                    <a:pt x="186" y="239"/>
                  </a:lnTo>
                  <a:lnTo>
                    <a:pt x="190" y="227"/>
                  </a:lnTo>
                  <a:lnTo>
                    <a:pt x="194" y="215"/>
                  </a:lnTo>
                  <a:lnTo>
                    <a:pt x="199" y="205"/>
                  </a:lnTo>
                  <a:lnTo>
                    <a:pt x="205" y="194"/>
                  </a:lnTo>
                  <a:lnTo>
                    <a:pt x="213" y="185"/>
                  </a:lnTo>
                  <a:lnTo>
                    <a:pt x="222" y="178"/>
                  </a:lnTo>
                  <a:lnTo>
                    <a:pt x="232" y="171"/>
                  </a:lnTo>
                  <a:lnTo>
                    <a:pt x="244" y="166"/>
                  </a:lnTo>
                  <a:lnTo>
                    <a:pt x="257" y="161"/>
                  </a:lnTo>
                  <a:lnTo>
                    <a:pt x="272" y="159"/>
                  </a:lnTo>
                  <a:lnTo>
                    <a:pt x="289" y="158"/>
                  </a:lnTo>
                  <a:lnTo>
                    <a:pt x="289" y="158"/>
                  </a:lnTo>
                  <a:lnTo>
                    <a:pt x="305" y="159"/>
                  </a:lnTo>
                  <a:lnTo>
                    <a:pt x="319" y="162"/>
                  </a:lnTo>
                  <a:lnTo>
                    <a:pt x="331" y="167"/>
                  </a:lnTo>
                  <a:lnTo>
                    <a:pt x="343" y="173"/>
                  </a:lnTo>
                  <a:lnTo>
                    <a:pt x="351" y="180"/>
                  </a:lnTo>
                  <a:lnTo>
                    <a:pt x="359" y="189"/>
                  </a:lnTo>
                  <a:lnTo>
                    <a:pt x="365" y="199"/>
                  </a:lnTo>
                  <a:lnTo>
                    <a:pt x="370" y="209"/>
                  </a:lnTo>
                  <a:lnTo>
                    <a:pt x="375" y="221"/>
                  </a:lnTo>
                  <a:lnTo>
                    <a:pt x="377" y="234"/>
                  </a:lnTo>
                  <a:lnTo>
                    <a:pt x="379" y="246"/>
                  </a:lnTo>
                  <a:lnTo>
                    <a:pt x="380" y="260"/>
                  </a:lnTo>
                  <a:lnTo>
                    <a:pt x="382" y="286"/>
                  </a:lnTo>
                  <a:lnTo>
                    <a:pt x="383" y="312"/>
                  </a:lnTo>
                  <a:lnTo>
                    <a:pt x="383" y="594"/>
                  </a:lnTo>
                  <a:lnTo>
                    <a:pt x="563" y="594"/>
                  </a:lnTo>
                  <a:lnTo>
                    <a:pt x="563"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sp>
        <p:nvSpPr>
          <p:cNvPr id="21" name="Freeform 20">
            <a:hlinkClick r:id="rId7"/>
            <a:extLst>
              <a:ext uri="{FF2B5EF4-FFF2-40B4-BE49-F238E27FC236}">
                <a16:creationId xmlns:a16="http://schemas.microsoft.com/office/drawing/2014/main" id="{BC1D8BF7-8BF4-17A9-7E7A-DB518848EFD2}"/>
              </a:ext>
            </a:extLst>
          </p:cNvPr>
          <p:cNvSpPr>
            <a:spLocks/>
          </p:cNvSpPr>
          <p:nvPr userDrawn="1"/>
        </p:nvSpPr>
        <p:spPr bwMode="auto">
          <a:xfrm>
            <a:off x="5124016" y="5537141"/>
            <a:ext cx="442706" cy="359444"/>
          </a:xfrm>
          <a:custGeom>
            <a:avLst/>
            <a:gdLst>
              <a:gd name="T0" fmla="*/ 792 w 871"/>
              <a:gd name="T1" fmla="*/ 39 h 707"/>
              <a:gd name="T2" fmla="*/ 721 w 871"/>
              <a:gd name="T3" fmla="*/ 43 h 707"/>
              <a:gd name="T4" fmla="*/ 658 w 871"/>
              <a:gd name="T5" fmla="*/ 8 h 707"/>
              <a:gd name="T6" fmla="*/ 603 w 871"/>
              <a:gd name="T7" fmla="*/ 0 h 707"/>
              <a:gd name="T8" fmla="*/ 533 w 871"/>
              <a:gd name="T9" fmla="*/ 14 h 707"/>
              <a:gd name="T10" fmla="*/ 477 w 871"/>
              <a:gd name="T11" fmla="*/ 52 h 707"/>
              <a:gd name="T12" fmla="*/ 438 w 871"/>
              <a:gd name="T13" fmla="*/ 108 h 707"/>
              <a:gd name="T14" fmla="*/ 425 w 871"/>
              <a:gd name="T15" fmla="*/ 178 h 707"/>
              <a:gd name="T16" fmla="*/ 429 w 871"/>
              <a:gd name="T17" fmla="*/ 219 h 707"/>
              <a:gd name="T18" fmla="*/ 321 w 871"/>
              <a:gd name="T19" fmla="*/ 201 h 707"/>
              <a:gd name="T20" fmla="*/ 223 w 871"/>
              <a:gd name="T21" fmla="*/ 163 h 707"/>
              <a:gd name="T22" fmla="*/ 135 w 871"/>
              <a:gd name="T23" fmla="*/ 106 h 707"/>
              <a:gd name="T24" fmla="*/ 61 w 871"/>
              <a:gd name="T25" fmla="*/ 32 h 707"/>
              <a:gd name="T26" fmla="*/ 47 w 871"/>
              <a:gd name="T27" fmla="*/ 63 h 707"/>
              <a:gd name="T28" fmla="*/ 38 w 871"/>
              <a:gd name="T29" fmla="*/ 109 h 707"/>
              <a:gd name="T30" fmla="*/ 39 w 871"/>
              <a:gd name="T31" fmla="*/ 145 h 707"/>
              <a:gd name="T32" fmla="*/ 59 w 871"/>
              <a:gd name="T33" fmla="*/ 207 h 707"/>
              <a:gd name="T34" fmla="*/ 117 w 871"/>
              <a:gd name="T35" fmla="*/ 270 h 707"/>
              <a:gd name="T36" fmla="*/ 54 w 871"/>
              <a:gd name="T37" fmla="*/ 257 h 707"/>
              <a:gd name="T38" fmla="*/ 37 w 871"/>
              <a:gd name="T39" fmla="*/ 267 h 707"/>
              <a:gd name="T40" fmla="*/ 52 w 871"/>
              <a:gd name="T41" fmla="*/ 326 h 707"/>
              <a:gd name="T42" fmla="*/ 86 w 871"/>
              <a:gd name="T43" fmla="*/ 375 h 707"/>
              <a:gd name="T44" fmla="*/ 135 w 871"/>
              <a:gd name="T45" fmla="*/ 410 h 707"/>
              <a:gd name="T46" fmla="*/ 179 w 871"/>
              <a:gd name="T47" fmla="*/ 426 h 707"/>
              <a:gd name="T48" fmla="*/ 132 w 871"/>
              <a:gd name="T49" fmla="*/ 432 h 707"/>
              <a:gd name="T50" fmla="*/ 98 w 871"/>
              <a:gd name="T51" fmla="*/ 428 h 707"/>
              <a:gd name="T52" fmla="*/ 122 w 871"/>
              <a:gd name="T53" fmla="*/ 477 h 707"/>
              <a:gd name="T54" fmla="*/ 160 w 871"/>
              <a:gd name="T55" fmla="*/ 516 h 707"/>
              <a:gd name="T56" fmla="*/ 208 w 871"/>
              <a:gd name="T57" fmla="*/ 542 h 707"/>
              <a:gd name="T58" fmla="*/ 265 w 871"/>
              <a:gd name="T59" fmla="*/ 553 h 707"/>
              <a:gd name="T60" fmla="*/ 190 w 871"/>
              <a:gd name="T61" fmla="*/ 597 h 707"/>
              <a:gd name="T62" fmla="*/ 74 w 871"/>
              <a:gd name="T63" fmla="*/ 627 h 707"/>
              <a:gd name="T64" fmla="*/ 0 w 871"/>
              <a:gd name="T65" fmla="*/ 626 h 707"/>
              <a:gd name="T66" fmla="*/ 95 w 871"/>
              <a:gd name="T67" fmla="*/ 674 h 707"/>
              <a:gd name="T68" fmla="*/ 237 w 871"/>
              <a:gd name="T69" fmla="*/ 704 h 707"/>
              <a:gd name="T70" fmla="*/ 334 w 871"/>
              <a:gd name="T71" fmla="*/ 703 h 707"/>
              <a:gd name="T72" fmla="*/ 443 w 871"/>
              <a:gd name="T73" fmla="*/ 680 h 707"/>
              <a:gd name="T74" fmla="*/ 538 w 871"/>
              <a:gd name="T75" fmla="*/ 636 h 707"/>
              <a:gd name="T76" fmla="*/ 617 w 871"/>
              <a:gd name="T77" fmla="*/ 576 h 707"/>
              <a:gd name="T78" fmla="*/ 682 w 871"/>
              <a:gd name="T79" fmla="*/ 503 h 707"/>
              <a:gd name="T80" fmla="*/ 730 w 871"/>
              <a:gd name="T81" fmla="*/ 421 h 707"/>
              <a:gd name="T82" fmla="*/ 763 w 871"/>
              <a:gd name="T83" fmla="*/ 333 h 707"/>
              <a:gd name="T84" fmla="*/ 781 w 871"/>
              <a:gd name="T85" fmla="*/ 243 h 707"/>
              <a:gd name="T86" fmla="*/ 782 w 871"/>
              <a:gd name="T87" fmla="*/ 175 h 707"/>
              <a:gd name="T88" fmla="*/ 820 w 871"/>
              <a:gd name="T89" fmla="*/ 145 h 707"/>
              <a:gd name="T90" fmla="*/ 862 w 871"/>
              <a:gd name="T91" fmla="*/ 96 h 707"/>
              <a:gd name="T92" fmla="*/ 821 w 871"/>
              <a:gd name="T93" fmla="*/ 101 h 707"/>
              <a:gd name="T94" fmla="*/ 782 w 871"/>
              <a:gd name="T95" fmla="*/ 102 h 707"/>
              <a:gd name="T96" fmla="*/ 825 w 871"/>
              <a:gd name="T97" fmla="*/ 5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1" h="707">
                <a:moveTo>
                  <a:pt x="847" y="13"/>
                </a:moveTo>
                <a:lnTo>
                  <a:pt x="847" y="13"/>
                </a:lnTo>
                <a:lnTo>
                  <a:pt x="821" y="27"/>
                </a:lnTo>
                <a:lnTo>
                  <a:pt x="792" y="39"/>
                </a:lnTo>
                <a:lnTo>
                  <a:pt x="763" y="48"/>
                </a:lnTo>
                <a:lnTo>
                  <a:pt x="734" y="56"/>
                </a:lnTo>
                <a:lnTo>
                  <a:pt x="734" y="56"/>
                </a:lnTo>
                <a:lnTo>
                  <a:pt x="721" y="43"/>
                </a:lnTo>
                <a:lnTo>
                  <a:pt x="706" y="33"/>
                </a:lnTo>
                <a:lnTo>
                  <a:pt x="691" y="23"/>
                </a:lnTo>
                <a:lnTo>
                  <a:pt x="676" y="15"/>
                </a:lnTo>
                <a:lnTo>
                  <a:pt x="658" y="8"/>
                </a:lnTo>
                <a:lnTo>
                  <a:pt x="641" y="3"/>
                </a:lnTo>
                <a:lnTo>
                  <a:pt x="622" y="1"/>
                </a:lnTo>
                <a:lnTo>
                  <a:pt x="603" y="0"/>
                </a:lnTo>
                <a:lnTo>
                  <a:pt x="603" y="0"/>
                </a:lnTo>
                <a:lnTo>
                  <a:pt x="585" y="1"/>
                </a:lnTo>
                <a:lnTo>
                  <a:pt x="568" y="3"/>
                </a:lnTo>
                <a:lnTo>
                  <a:pt x="550" y="8"/>
                </a:lnTo>
                <a:lnTo>
                  <a:pt x="533" y="14"/>
                </a:lnTo>
                <a:lnTo>
                  <a:pt x="518" y="21"/>
                </a:lnTo>
                <a:lnTo>
                  <a:pt x="503" y="30"/>
                </a:lnTo>
                <a:lnTo>
                  <a:pt x="490" y="40"/>
                </a:lnTo>
                <a:lnTo>
                  <a:pt x="477" y="52"/>
                </a:lnTo>
                <a:lnTo>
                  <a:pt x="465" y="65"/>
                </a:lnTo>
                <a:lnTo>
                  <a:pt x="455" y="79"/>
                </a:lnTo>
                <a:lnTo>
                  <a:pt x="446" y="93"/>
                </a:lnTo>
                <a:lnTo>
                  <a:pt x="438" y="108"/>
                </a:lnTo>
                <a:lnTo>
                  <a:pt x="432" y="125"/>
                </a:lnTo>
                <a:lnTo>
                  <a:pt x="429" y="142"/>
                </a:lnTo>
                <a:lnTo>
                  <a:pt x="425" y="160"/>
                </a:lnTo>
                <a:lnTo>
                  <a:pt x="425" y="178"/>
                </a:lnTo>
                <a:lnTo>
                  <a:pt x="425" y="178"/>
                </a:lnTo>
                <a:lnTo>
                  <a:pt x="426" y="199"/>
                </a:lnTo>
                <a:lnTo>
                  <a:pt x="429" y="219"/>
                </a:lnTo>
                <a:lnTo>
                  <a:pt x="429" y="219"/>
                </a:lnTo>
                <a:lnTo>
                  <a:pt x="402" y="216"/>
                </a:lnTo>
                <a:lnTo>
                  <a:pt x="374" y="213"/>
                </a:lnTo>
                <a:lnTo>
                  <a:pt x="347" y="208"/>
                </a:lnTo>
                <a:lnTo>
                  <a:pt x="321" y="201"/>
                </a:lnTo>
                <a:lnTo>
                  <a:pt x="296" y="194"/>
                </a:lnTo>
                <a:lnTo>
                  <a:pt x="271" y="185"/>
                </a:lnTo>
                <a:lnTo>
                  <a:pt x="246" y="174"/>
                </a:lnTo>
                <a:lnTo>
                  <a:pt x="223" y="163"/>
                </a:lnTo>
                <a:lnTo>
                  <a:pt x="199" y="150"/>
                </a:lnTo>
                <a:lnTo>
                  <a:pt x="177" y="136"/>
                </a:lnTo>
                <a:lnTo>
                  <a:pt x="155" y="122"/>
                </a:lnTo>
                <a:lnTo>
                  <a:pt x="135" y="106"/>
                </a:lnTo>
                <a:lnTo>
                  <a:pt x="115" y="89"/>
                </a:lnTo>
                <a:lnTo>
                  <a:pt x="97" y="70"/>
                </a:lnTo>
                <a:lnTo>
                  <a:pt x="78" y="52"/>
                </a:lnTo>
                <a:lnTo>
                  <a:pt x="61" y="32"/>
                </a:lnTo>
                <a:lnTo>
                  <a:pt x="61" y="32"/>
                </a:lnTo>
                <a:lnTo>
                  <a:pt x="55" y="42"/>
                </a:lnTo>
                <a:lnTo>
                  <a:pt x="51" y="53"/>
                </a:lnTo>
                <a:lnTo>
                  <a:pt x="47" y="63"/>
                </a:lnTo>
                <a:lnTo>
                  <a:pt x="44" y="75"/>
                </a:lnTo>
                <a:lnTo>
                  <a:pt x="40" y="86"/>
                </a:lnTo>
                <a:lnTo>
                  <a:pt x="39" y="98"/>
                </a:lnTo>
                <a:lnTo>
                  <a:pt x="38" y="109"/>
                </a:lnTo>
                <a:lnTo>
                  <a:pt x="37" y="122"/>
                </a:lnTo>
                <a:lnTo>
                  <a:pt x="37" y="122"/>
                </a:lnTo>
                <a:lnTo>
                  <a:pt x="38" y="133"/>
                </a:lnTo>
                <a:lnTo>
                  <a:pt x="39" y="145"/>
                </a:lnTo>
                <a:lnTo>
                  <a:pt x="40" y="156"/>
                </a:lnTo>
                <a:lnTo>
                  <a:pt x="42" y="167"/>
                </a:lnTo>
                <a:lnTo>
                  <a:pt x="49" y="188"/>
                </a:lnTo>
                <a:lnTo>
                  <a:pt x="59" y="207"/>
                </a:lnTo>
                <a:lnTo>
                  <a:pt x="71" y="226"/>
                </a:lnTo>
                <a:lnTo>
                  <a:pt x="84" y="242"/>
                </a:lnTo>
                <a:lnTo>
                  <a:pt x="99" y="257"/>
                </a:lnTo>
                <a:lnTo>
                  <a:pt x="117" y="270"/>
                </a:lnTo>
                <a:lnTo>
                  <a:pt x="117" y="270"/>
                </a:lnTo>
                <a:lnTo>
                  <a:pt x="94" y="268"/>
                </a:lnTo>
                <a:lnTo>
                  <a:pt x="74" y="263"/>
                </a:lnTo>
                <a:lnTo>
                  <a:pt x="54" y="257"/>
                </a:lnTo>
                <a:lnTo>
                  <a:pt x="35" y="248"/>
                </a:lnTo>
                <a:lnTo>
                  <a:pt x="35" y="250"/>
                </a:lnTo>
                <a:lnTo>
                  <a:pt x="35" y="250"/>
                </a:lnTo>
                <a:lnTo>
                  <a:pt x="37" y="267"/>
                </a:lnTo>
                <a:lnTo>
                  <a:pt x="38" y="282"/>
                </a:lnTo>
                <a:lnTo>
                  <a:pt x="41" y="297"/>
                </a:lnTo>
                <a:lnTo>
                  <a:pt x="46" y="312"/>
                </a:lnTo>
                <a:lnTo>
                  <a:pt x="52" y="326"/>
                </a:lnTo>
                <a:lnTo>
                  <a:pt x="59" y="340"/>
                </a:lnTo>
                <a:lnTo>
                  <a:pt x="67" y="352"/>
                </a:lnTo>
                <a:lnTo>
                  <a:pt x="77" y="365"/>
                </a:lnTo>
                <a:lnTo>
                  <a:pt x="86" y="375"/>
                </a:lnTo>
                <a:lnTo>
                  <a:pt x="98" y="386"/>
                </a:lnTo>
                <a:lnTo>
                  <a:pt x="110" y="395"/>
                </a:lnTo>
                <a:lnTo>
                  <a:pt x="121" y="403"/>
                </a:lnTo>
                <a:lnTo>
                  <a:pt x="135" y="410"/>
                </a:lnTo>
                <a:lnTo>
                  <a:pt x="150" y="416"/>
                </a:lnTo>
                <a:lnTo>
                  <a:pt x="164" y="421"/>
                </a:lnTo>
                <a:lnTo>
                  <a:pt x="179" y="426"/>
                </a:lnTo>
                <a:lnTo>
                  <a:pt x="179" y="426"/>
                </a:lnTo>
                <a:lnTo>
                  <a:pt x="167" y="428"/>
                </a:lnTo>
                <a:lnTo>
                  <a:pt x="155" y="430"/>
                </a:lnTo>
                <a:lnTo>
                  <a:pt x="144" y="432"/>
                </a:lnTo>
                <a:lnTo>
                  <a:pt x="132" y="432"/>
                </a:lnTo>
                <a:lnTo>
                  <a:pt x="132" y="432"/>
                </a:lnTo>
                <a:lnTo>
                  <a:pt x="114" y="430"/>
                </a:lnTo>
                <a:lnTo>
                  <a:pt x="98" y="428"/>
                </a:lnTo>
                <a:lnTo>
                  <a:pt x="98" y="428"/>
                </a:lnTo>
                <a:lnTo>
                  <a:pt x="102" y="441"/>
                </a:lnTo>
                <a:lnTo>
                  <a:pt x="108" y="454"/>
                </a:lnTo>
                <a:lnTo>
                  <a:pt x="115" y="466"/>
                </a:lnTo>
                <a:lnTo>
                  <a:pt x="122" y="477"/>
                </a:lnTo>
                <a:lnTo>
                  <a:pt x="131" y="488"/>
                </a:lnTo>
                <a:lnTo>
                  <a:pt x="140" y="499"/>
                </a:lnTo>
                <a:lnTo>
                  <a:pt x="150" y="508"/>
                </a:lnTo>
                <a:lnTo>
                  <a:pt x="160" y="516"/>
                </a:lnTo>
                <a:lnTo>
                  <a:pt x="172" y="524"/>
                </a:lnTo>
                <a:lnTo>
                  <a:pt x="184" y="532"/>
                </a:lnTo>
                <a:lnTo>
                  <a:pt x="197" y="537"/>
                </a:lnTo>
                <a:lnTo>
                  <a:pt x="208" y="542"/>
                </a:lnTo>
                <a:lnTo>
                  <a:pt x="223" y="547"/>
                </a:lnTo>
                <a:lnTo>
                  <a:pt x="237" y="549"/>
                </a:lnTo>
                <a:lnTo>
                  <a:pt x="251" y="552"/>
                </a:lnTo>
                <a:lnTo>
                  <a:pt x="265" y="553"/>
                </a:lnTo>
                <a:lnTo>
                  <a:pt x="265" y="553"/>
                </a:lnTo>
                <a:lnTo>
                  <a:pt x="241" y="569"/>
                </a:lnTo>
                <a:lnTo>
                  <a:pt x="217" y="584"/>
                </a:lnTo>
                <a:lnTo>
                  <a:pt x="190" y="597"/>
                </a:lnTo>
                <a:lnTo>
                  <a:pt x="162" y="608"/>
                </a:lnTo>
                <a:lnTo>
                  <a:pt x="134" y="617"/>
                </a:lnTo>
                <a:lnTo>
                  <a:pt x="105" y="623"/>
                </a:lnTo>
                <a:lnTo>
                  <a:pt x="74" y="627"/>
                </a:lnTo>
                <a:lnTo>
                  <a:pt x="44" y="628"/>
                </a:lnTo>
                <a:lnTo>
                  <a:pt x="44" y="628"/>
                </a:lnTo>
                <a:lnTo>
                  <a:pt x="21" y="628"/>
                </a:lnTo>
                <a:lnTo>
                  <a:pt x="0" y="626"/>
                </a:lnTo>
                <a:lnTo>
                  <a:pt x="0" y="626"/>
                </a:lnTo>
                <a:lnTo>
                  <a:pt x="31" y="644"/>
                </a:lnTo>
                <a:lnTo>
                  <a:pt x="62" y="660"/>
                </a:lnTo>
                <a:lnTo>
                  <a:pt x="95" y="674"/>
                </a:lnTo>
                <a:lnTo>
                  <a:pt x="130" y="686"/>
                </a:lnTo>
                <a:lnTo>
                  <a:pt x="164" y="694"/>
                </a:lnTo>
                <a:lnTo>
                  <a:pt x="200" y="701"/>
                </a:lnTo>
                <a:lnTo>
                  <a:pt x="237" y="704"/>
                </a:lnTo>
                <a:lnTo>
                  <a:pt x="274" y="707"/>
                </a:lnTo>
                <a:lnTo>
                  <a:pt x="274" y="707"/>
                </a:lnTo>
                <a:lnTo>
                  <a:pt x="305" y="706"/>
                </a:lnTo>
                <a:lnTo>
                  <a:pt x="334" y="703"/>
                </a:lnTo>
                <a:lnTo>
                  <a:pt x="363" y="700"/>
                </a:lnTo>
                <a:lnTo>
                  <a:pt x="390" y="694"/>
                </a:lnTo>
                <a:lnTo>
                  <a:pt x="417" y="688"/>
                </a:lnTo>
                <a:lnTo>
                  <a:pt x="443" y="680"/>
                </a:lnTo>
                <a:lnTo>
                  <a:pt x="469" y="670"/>
                </a:lnTo>
                <a:lnTo>
                  <a:pt x="492" y="660"/>
                </a:lnTo>
                <a:lnTo>
                  <a:pt x="516" y="648"/>
                </a:lnTo>
                <a:lnTo>
                  <a:pt x="538" y="636"/>
                </a:lnTo>
                <a:lnTo>
                  <a:pt x="559" y="622"/>
                </a:lnTo>
                <a:lnTo>
                  <a:pt x="579" y="608"/>
                </a:lnTo>
                <a:lnTo>
                  <a:pt x="599" y="593"/>
                </a:lnTo>
                <a:lnTo>
                  <a:pt x="617" y="576"/>
                </a:lnTo>
                <a:lnTo>
                  <a:pt x="635" y="559"/>
                </a:lnTo>
                <a:lnTo>
                  <a:pt x="651" y="541"/>
                </a:lnTo>
                <a:lnTo>
                  <a:pt x="668" y="522"/>
                </a:lnTo>
                <a:lnTo>
                  <a:pt x="682" y="503"/>
                </a:lnTo>
                <a:lnTo>
                  <a:pt x="696" y="483"/>
                </a:lnTo>
                <a:lnTo>
                  <a:pt x="708" y="463"/>
                </a:lnTo>
                <a:lnTo>
                  <a:pt x="719" y="442"/>
                </a:lnTo>
                <a:lnTo>
                  <a:pt x="730" y="421"/>
                </a:lnTo>
                <a:lnTo>
                  <a:pt x="741" y="400"/>
                </a:lnTo>
                <a:lnTo>
                  <a:pt x="749" y="377"/>
                </a:lnTo>
                <a:lnTo>
                  <a:pt x="757" y="355"/>
                </a:lnTo>
                <a:lnTo>
                  <a:pt x="763" y="333"/>
                </a:lnTo>
                <a:lnTo>
                  <a:pt x="769" y="310"/>
                </a:lnTo>
                <a:lnTo>
                  <a:pt x="774" y="288"/>
                </a:lnTo>
                <a:lnTo>
                  <a:pt x="777" y="266"/>
                </a:lnTo>
                <a:lnTo>
                  <a:pt x="781" y="243"/>
                </a:lnTo>
                <a:lnTo>
                  <a:pt x="782" y="221"/>
                </a:lnTo>
                <a:lnTo>
                  <a:pt x="782" y="199"/>
                </a:lnTo>
                <a:lnTo>
                  <a:pt x="782" y="199"/>
                </a:lnTo>
                <a:lnTo>
                  <a:pt x="782" y="175"/>
                </a:lnTo>
                <a:lnTo>
                  <a:pt x="782" y="175"/>
                </a:lnTo>
                <a:lnTo>
                  <a:pt x="795" y="166"/>
                </a:lnTo>
                <a:lnTo>
                  <a:pt x="807" y="155"/>
                </a:lnTo>
                <a:lnTo>
                  <a:pt x="820" y="145"/>
                </a:lnTo>
                <a:lnTo>
                  <a:pt x="830" y="133"/>
                </a:lnTo>
                <a:lnTo>
                  <a:pt x="842" y="121"/>
                </a:lnTo>
                <a:lnTo>
                  <a:pt x="851" y="109"/>
                </a:lnTo>
                <a:lnTo>
                  <a:pt x="862" y="96"/>
                </a:lnTo>
                <a:lnTo>
                  <a:pt x="871" y="83"/>
                </a:lnTo>
                <a:lnTo>
                  <a:pt x="871" y="83"/>
                </a:lnTo>
                <a:lnTo>
                  <a:pt x="847" y="93"/>
                </a:lnTo>
                <a:lnTo>
                  <a:pt x="821" y="101"/>
                </a:lnTo>
                <a:lnTo>
                  <a:pt x="795" y="107"/>
                </a:lnTo>
                <a:lnTo>
                  <a:pt x="769" y="112"/>
                </a:lnTo>
                <a:lnTo>
                  <a:pt x="769" y="112"/>
                </a:lnTo>
                <a:lnTo>
                  <a:pt x="782" y="102"/>
                </a:lnTo>
                <a:lnTo>
                  <a:pt x="795" y="93"/>
                </a:lnTo>
                <a:lnTo>
                  <a:pt x="805" y="81"/>
                </a:lnTo>
                <a:lnTo>
                  <a:pt x="816" y="69"/>
                </a:lnTo>
                <a:lnTo>
                  <a:pt x="825" y="56"/>
                </a:lnTo>
                <a:lnTo>
                  <a:pt x="834" y="42"/>
                </a:lnTo>
                <a:lnTo>
                  <a:pt x="841" y="28"/>
                </a:lnTo>
                <a:lnTo>
                  <a:pt x="847"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22" name="Freeform 21">
            <a:hlinkClick r:id="rId8"/>
            <a:extLst>
              <a:ext uri="{FF2B5EF4-FFF2-40B4-BE49-F238E27FC236}">
                <a16:creationId xmlns:a16="http://schemas.microsoft.com/office/drawing/2014/main" id="{451C9E59-6B15-DE9D-C011-A12FE638D97A}"/>
              </a:ext>
            </a:extLst>
          </p:cNvPr>
          <p:cNvSpPr>
            <a:spLocks/>
          </p:cNvSpPr>
          <p:nvPr userDrawn="1"/>
        </p:nvSpPr>
        <p:spPr bwMode="auto">
          <a:xfrm>
            <a:off x="4370009" y="5455909"/>
            <a:ext cx="213230" cy="440675"/>
          </a:xfrm>
          <a:custGeom>
            <a:avLst/>
            <a:gdLst>
              <a:gd name="T0" fmla="*/ 0 w 419"/>
              <a:gd name="T1" fmla="*/ 249 h 868"/>
              <a:gd name="T2" fmla="*/ 91 w 419"/>
              <a:gd name="T3" fmla="*/ 249 h 868"/>
              <a:gd name="T4" fmla="*/ 91 w 419"/>
              <a:gd name="T5" fmla="*/ 203 h 868"/>
              <a:gd name="T6" fmla="*/ 91 w 419"/>
              <a:gd name="T7" fmla="*/ 203 h 868"/>
              <a:gd name="T8" fmla="*/ 92 w 419"/>
              <a:gd name="T9" fmla="*/ 167 h 868"/>
              <a:gd name="T10" fmla="*/ 95 w 419"/>
              <a:gd name="T11" fmla="*/ 135 h 868"/>
              <a:gd name="T12" fmla="*/ 98 w 419"/>
              <a:gd name="T13" fmla="*/ 121 h 868"/>
              <a:gd name="T14" fmla="*/ 100 w 419"/>
              <a:gd name="T15" fmla="*/ 108 h 868"/>
              <a:gd name="T16" fmla="*/ 103 w 419"/>
              <a:gd name="T17" fmla="*/ 96 h 868"/>
              <a:gd name="T18" fmla="*/ 108 w 419"/>
              <a:gd name="T19" fmla="*/ 87 h 868"/>
              <a:gd name="T20" fmla="*/ 108 w 419"/>
              <a:gd name="T21" fmla="*/ 87 h 868"/>
              <a:gd name="T22" fmla="*/ 113 w 419"/>
              <a:gd name="T23" fmla="*/ 78 h 868"/>
              <a:gd name="T24" fmla="*/ 118 w 419"/>
              <a:gd name="T25" fmla="*/ 68 h 868"/>
              <a:gd name="T26" fmla="*/ 125 w 419"/>
              <a:gd name="T27" fmla="*/ 60 h 868"/>
              <a:gd name="T28" fmla="*/ 132 w 419"/>
              <a:gd name="T29" fmla="*/ 52 h 868"/>
              <a:gd name="T30" fmla="*/ 140 w 419"/>
              <a:gd name="T31" fmla="*/ 44 h 868"/>
              <a:gd name="T32" fmla="*/ 148 w 419"/>
              <a:gd name="T33" fmla="*/ 36 h 868"/>
              <a:gd name="T34" fmla="*/ 158 w 419"/>
              <a:gd name="T35" fmla="*/ 31 h 868"/>
              <a:gd name="T36" fmla="*/ 169 w 419"/>
              <a:gd name="T37" fmla="*/ 24 h 868"/>
              <a:gd name="T38" fmla="*/ 169 w 419"/>
              <a:gd name="T39" fmla="*/ 24 h 868"/>
              <a:gd name="T40" fmla="*/ 180 w 419"/>
              <a:gd name="T41" fmla="*/ 19 h 868"/>
              <a:gd name="T42" fmla="*/ 193 w 419"/>
              <a:gd name="T43" fmla="*/ 13 h 868"/>
              <a:gd name="T44" fmla="*/ 206 w 419"/>
              <a:gd name="T45" fmla="*/ 9 h 868"/>
              <a:gd name="T46" fmla="*/ 219 w 419"/>
              <a:gd name="T47" fmla="*/ 6 h 868"/>
              <a:gd name="T48" fmla="*/ 234 w 419"/>
              <a:gd name="T49" fmla="*/ 4 h 868"/>
              <a:gd name="T50" fmla="*/ 249 w 419"/>
              <a:gd name="T51" fmla="*/ 1 h 868"/>
              <a:gd name="T52" fmla="*/ 265 w 419"/>
              <a:gd name="T53" fmla="*/ 0 h 868"/>
              <a:gd name="T54" fmla="*/ 281 w 419"/>
              <a:gd name="T55" fmla="*/ 0 h 868"/>
              <a:gd name="T56" fmla="*/ 281 w 419"/>
              <a:gd name="T57" fmla="*/ 0 h 868"/>
              <a:gd name="T58" fmla="*/ 317 w 419"/>
              <a:gd name="T59" fmla="*/ 1 h 868"/>
              <a:gd name="T60" fmla="*/ 351 w 419"/>
              <a:gd name="T61" fmla="*/ 5 h 868"/>
              <a:gd name="T62" fmla="*/ 385 w 419"/>
              <a:gd name="T63" fmla="*/ 12 h 868"/>
              <a:gd name="T64" fmla="*/ 419 w 419"/>
              <a:gd name="T65" fmla="*/ 21 h 868"/>
              <a:gd name="T66" fmla="*/ 397 w 419"/>
              <a:gd name="T67" fmla="*/ 135 h 868"/>
              <a:gd name="T68" fmla="*/ 397 w 419"/>
              <a:gd name="T69" fmla="*/ 135 h 868"/>
              <a:gd name="T70" fmla="*/ 377 w 419"/>
              <a:gd name="T71" fmla="*/ 131 h 868"/>
              <a:gd name="T72" fmla="*/ 358 w 419"/>
              <a:gd name="T73" fmla="*/ 128 h 868"/>
              <a:gd name="T74" fmla="*/ 340 w 419"/>
              <a:gd name="T75" fmla="*/ 126 h 868"/>
              <a:gd name="T76" fmla="*/ 321 w 419"/>
              <a:gd name="T77" fmla="*/ 126 h 868"/>
              <a:gd name="T78" fmla="*/ 321 w 419"/>
              <a:gd name="T79" fmla="*/ 126 h 868"/>
              <a:gd name="T80" fmla="*/ 305 w 419"/>
              <a:gd name="T81" fmla="*/ 127 h 868"/>
              <a:gd name="T82" fmla="*/ 291 w 419"/>
              <a:gd name="T83" fmla="*/ 129 h 868"/>
              <a:gd name="T84" fmla="*/ 285 w 419"/>
              <a:gd name="T85" fmla="*/ 132 h 868"/>
              <a:gd name="T86" fmla="*/ 279 w 419"/>
              <a:gd name="T87" fmla="*/ 135 h 868"/>
              <a:gd name="T88" fmla="*/ 274 w 419"/>
              <a:gd name="T89" fmla="*/ 139 h 868"/>
              <a:gd name="T90" fmla="*/ 271 w 419"/>
              <a:gd name="T91" fmla="*/ 142 h 868"/>
              <a:gd name="T92" fmla="*/ 271 w 419"/>
              <a:gd name="T93" fmla="*/ 142 h 868"/>
              <a:gd name="T94" fmla="*/ 267 w 419"/>
              <a:gd name="T95" fmla="*/ 147 h 868"/>
              <a:gd name="T96" fmla="*/ 264 w 419"/>
              <a:gd name="T97" fmla="*/ 153 h 868"/>
              <a:gd name="T98" fmla="*/ 261 w 419"/>
              <a:gd name="T99" fmla="*/ 159 h 868"/>
              <a:gd name="T100" fmla="*/ 259 w 419"/>
              <a:gd name="T101" fmla="*/ 166 h 868"/>
              <a:gd name="T102" fmla="*/ 255 w 419"/>
              <a:gd name="T103" fmla="*/ 185 h 868"/>
              <a:gd name="T104" fmla="*/ 255 w 419"/>
              <a:gd name="T105" fmla="*/ 206 h 868"/>
              <a:gd name="T106" fmla="*/ 255 w 419"/>
              <a:gd name="T107" fmla="*/ 249 h 868"/>
              <a:gd name="T108" fmla="*/ 378 w 419"/>
              <a:gd name="T109" fmla="*/ 249 h 868"/>
              <a:gd name="T110" fmla="*/ 378 w 419"/>
              <a:gd name="T111" fmla="*/ 379 h 868"/>
              <a:gd name="T112" fmla="*/ 255 w 419"/>
              <a:gd name="T113" fmla="*/ 379 h 868"/>
              <a:gd name="T114" fmla="*/ 255 w 419"/>
              <a:gd name="T115" fmla="*/ 868 h 868"/>
              <a:gd name="T116" fmla="*/ 91 w 419"/>
              <a:gd name="T117" fmla="*/ 868 h 868"/>
              <a:gd name="T118" fmla="*/ 91 w 419"/>
              <a:gd name="T119" fmla="*/ 379 h 868"/>
              <a:gd name="T120" fmla="*/ 0 w 419"/>
              <a:gd name="T121" fmla="*/ 379 h 868"/>
              <a:gd name="T122" fmla="*/ 0 w 419"/>
              <a:gd name="T123" fmla="*/ 249 h 868"/>
              <a:gd name="T124" fmla="*/ 0 w 419"/>
              <a:gd name="T125" fmla="*/ 24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868">
                <a:moveTo>
                  <a:pt x="0" y="249"/>
                </a:moveTo>
                <a:lnTo>
                  <a:pt x="91" y="249"/>
                </a:lnTo>
                <a:lnTo>
                  <a:pt x="91" y="203"/>
                </a:lnTo>
                <a:lnTo>
                  <a:pt x="91" y="203"/>
                </a:lnTo>
                <a:lnTo>
                  <a:pt x="92" y="167"/>
                </a:lnTo>
                <a:lnTo>
                  <a:pt x="95" y="135"/>
                </a:lnTo>
                <a:lnTo>
                  <a:pt x="98" y="121"/>
                </a:lnTo>
                <a:lnTo>
                  <a:pt x="100" y="108"/>
                </a:lnTo>
                <a:lnTo>
                  <a:pt x="103" y="96"/>
                </a:lnTo>
                <a:lnTo>
                  <a:pt x="108" y="87"/>
                </a:lnTo>
                <a:lnTo>
                  <a:pt x="108" y="87"/>
                </a:lnTo>
                <a:lnTo>
                  <a:pt x="113" y="78"/>
                </a:lnTo>
                <a:lnTo>
                  <a:pt x="118" y="68"/>
                </a:lnTo>
                <a:lnTo>
                  <a:pt x="125" y="60"/>
                </a:lnTo>
                <a:lnTo>
                  <a:pt x="132" y="52"/>
                </a:lnTo>
                <a:lnTo>
                  <a:pt x="140" y="44"/>
                </a:lnTo>
                <a:lnTo>
                  <a:pt x="148" y="36"/>
                </a:lnTo>
                <a:lnTo>
                  <a:pt x="158" y="31"/>
                </a:lnTo>
                <a:lnTo>
                  <a:pt x="169" y="24"/>
                </a:lnTo>
                <a:lnTo>
                  <a:pt x="169" y="24"/>
                </a:lnTo>
                <a:lnTo>
                  <a:pt x="180" y="19"/>
                </a:lnTo>
                <a:lnTo>
                  <a:pt x="193" y="13"/>
                </a:lnTo>
                <a:lnTo>
                  <a:pt x="206" y="9"/>
                </a:lnTo>
                <a:lnTo>
                  <a:pt x="219" y="6"/>
                </a:lnTo>
                <a:lnTo>
                  <a:pt x="234" y="4"/>
                </a:lnTo>
                <a:lnTo>
                  <a:pt x="249" y="1"/>
                </a:lnTo>
                <a:lnTo>
                  <a:pt x="265" y="0"/>
                </a:lnTo>
                <a:lnTo>
                  <a:pt x="281" y="0"/>
                </a:lnTo>
                <a:lnTo>
                  <a:pt x="281" y="0"/>
                </a:lnTo>
                <a:lnTo>
                  <a:pt x="317" y="1"/>
                </a:lnTo>
                <a:lnTo>
                  <a:pt x="351" y="5"/>
                </a:lnTo>
                <a:lnTo>
                  <a:pt x="385" y="12"/>
                </a:lnTo>
                <a:lnTo>
                  <a:pt x="419" y="21"/>
                </a:lnTo>
                <a:lnTo>
                  <a:pt x="397" y="135"/>
                </a:lnTo>
                <a:lnTo>
                  <a:pt x="397" y="135"/>
                </a:lnTo>
                <a:lnTo>
                  <a:pt x="377" y="131"/>
                </a:lnTo>
                <a:lnTo>
                  <a:pt x="358" y="128"/>
                </a:lnTo>
                <a:lnTo>
                  <a:pt x="340" y="126"/>
                </a:lnTo>
                <a:lnTo>
                  <a:pt x="321" y="126"/>
                </a:lnTo>
                <a:lnTo>
                  <a:pt x="321" y="126"/>
                </a:lnTo>
                <a:lnTo>
                  <a:pt x="305" y="127"/>
                </a:lnTo>
                <a:lnTo>
                  <a:pt x="291" y="129"/>
                </a:lnTo>
                <a:lnTo>
                  <a:pt x="285" y="132"/>
                </a:lnTo>
                <a:lnTo>
                  <a:pt x="279" y="135"/>
                </a:lnTo>
                <a:lnTo>
                  <a:pt x="274" y="139"/>
                </a:lnTo>
                <a:lnTo>
                  <a:pt x="271" y="142"/>
                </a:lnTo>
                <a:lnTo>
                  <a:pt x="271" y="142"/>
                </a:lnTo>
                <a:lnTo>
                  <a:pt x="267" y="147"/>
                </a:lnTo>
                <a:lnTo>
                  <a:pt x="264" y="153"/>
                </a:lnTo>
                <a:lnTo>
                  <a:pt x="261" y="159"/>
                </a:lnTo>
                <a:lnTo>
                  <a:pt x="259" y="166"/>
                </a:lnTo>
                <a:lnTo>
                  <a:pt x="255" y="185"/>
                </a:lnTo>
                <a:lnTo>
                  <a:pt x="255" y="206"/>
                </a:lnTo>
                <a:lnTo>
                  <a:pt x="255" y="249"/>
                </a:lnTo>
                <a:lnTo>
                  <a:pt x="378" y="249"/>
                </a:lnTo>
                <a:lnTo>
                  <a:pt x="378" y="379"/>
                </a:lnTo>
                <a:lnTo>
                  <a:pt x="255" y="379"/>
                </a:lnTo>
                <a:lnTo>
                  <a:pt x="255" y="868"/>
                </a:lnTo>
                <a:lnTo>
                  <a:pt x="91" y="868"/>
                </a:lnTo>
                <a:lnTo>
                  <a:pt x="91" y="379"/>
                </a:lnTo>
                <a:lnTo>
                  <a:pt x="0" y="379"/>
                </a:lnTo>
                <a:lnTo>
                  <a:pt x="0" y="249"/>
                </a:lnTo>
                <a:lnTo>
                  <a:pt x="0" y="24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pic>
        <p:nvPicPr>
          <p:cNvPr id="5" name="Picture 4">
            <a:hlinkClick r:id="rId9"/>
            <a:extLst>
              <a:ext uri="{FF2B5EF4-FFF2-40B4-BE49-F238E27FC236}">
                <a16:creationId xmlns:a16="http://schemas.microsoft.com/office/drawing/2014/main" id="{0F05A33C-9676-F683-5806-B68CE8008DB9}"/>
              </a:ext>
            </a:extLst>
          </p:cNvPr>
          <p:cNvPicPr>
            <a:picLocks noChangeAspect="1"/>
          </p:cNvPicPr>
          <p:nvPr userDrawn="1"/>
        </p:nvPicPr>
        <p:blipFill rotWithShape="1">
          <a:blip r:embed="rId10"/>
          <a:srcRect l="23304" t="23982" r="22737" b="25042"/>
          <a:stretch/>
        </p:blipFill>
        <p:spPr>
          <a:xfrm>
            <a:off x="6922985" y="5437112"/>
            <a:ext cx="569633" cy="538135"/>
          </a:xfrm>
          <a:prstGeom prst="rect">
            <a:avLst/>
          </a:prstGeom>
        </p:spPr>
      </p:pic>
      <p:sp>
        <p:nvSpPr>
          <p:cNvPr id="10" name="Date Placeholder 3">
            <a:extLst>
              <a:ext uri="{FF2B5EF4-FFF2-40B4-BE49-F238E27FC236}">
                <a16:creationId xmlns:a16="http://schemas.microsoft.com/office/drawing/2014/main" id="{73F05202-2C5D-3905-0264-FDB24EC430AC}"/>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1" name="TextBox 10">
            <a:extLst>
              <a:ext uri="{FF2B5EF4-FFF2-40B4-BE49-F238E27FC236}">
                <a16:creationId xmlns:a16="http://schemas.microsoft.com/office/drawing/2014/main" id="{87569CB4-9D8F-4F6A-15EA-32ABB97882E9}"/>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8" name="Picture 7" descr="Blue text on a black background&#10;&#10;Description automatically generated">
            <a:extLst>
              <a:ext uri="{FF2B5EF4-FFF2-40B4-BE49-F238E27FC236}">
                <a16:creationId xmlns:a16="http://schemas.microsoft.com/office/drawing/2014/main" id="{7D27340D-7F97-342F-25D5-D84B2C0CABA0}"/>
              </a:ext>
            </a:extLst>
          </p:cNvPr>
          <p:cNvPicPr>
            <a:picLocks noChangeAspect="1"/>
          </p:cNvPicPr>
          <p:nvPr userDrawn="1"/>
        </p:nvPicPr>
        <p:blipFill>
          <a:blip r:embed="rId11"/>
          <a:stretch>
            <a:fillRect/>
          </a:stretch>
        </p:blipFill>
        <p:spPr>
          <a:xfrm>
            <a:off x="479426" y="6072252"/>
            <a:ext cx="2587455" cy="540851"/>
          </a:xfrm>
          <a:prstGeom prst="rect">
            <a:avLst/>
          </a:prstGeom>
        </p:spPr>
      </p:pic>
      <p:pic>
        <p:nvPicPr>
          <p:cNvPr id="13" name="Picture 12">
            <a:extLst>
              <a:ext uri="{FF2B5EF4-FFF2-40B4-BE49-F238E27FC236}">
                <a16:creationId xmlns:a16="http://schemas.microsoft.com/office/drawing/2014/main" id="{7588E1CB-3CA8-1639-B89F-4D08482EE5A2}"/>
              </a:ext>
            </a:extLst>
          </p:cNvPr>
          <p:cNvPicPr>
            <a:picLocks noChangeAspect="1"/>
          </p:cNvPicPr>
          <p:nvPr userDrawn="1"/>
        </p:nvPicPr>
        <p:blipFill>
          <a:blip r:embed="rId12"/>
          <a:srcRect/>
          <a:stretch/>
        </p:blipFill>
        <p:spPr>
          <a:xfrm>
            <a:off x="-1" y="0"/>
            <a:ext cx="12314903" cy="3492500"/>
          </a:xfrm>
          <a:prstGeom prst="rect">
            <a:avLst/>
          </a:prstGeom>
        </p:spPr>
      </p:pic>
      <p:sp>
        <p:nvSpPr>
          <p:cNvPr id="7" name="bg object 19">
            <a:extLst>
              <a:ext uri="{FF2B5EF4-FFF2-40B4-BE49-F238E27FC236}">
                <a16:creationId xmlns:a16="http://schemas.microsoft.com/office/drawing/2014/main" id="{842DCFED-2961-C69C-EFB7-8F8F36D4FE2B}"/>
              </a:ext>
            </a:extLst>
          </p:cNvPr>
          <p:cNvSpPr/>
          <p:nvPr userDrawn="1"/>
        </p:nvSpPr>
        <p:spPr>
          <a:xfrm>
            <a:off x="10058400" y="6262349"/>
            <a:ext cx="1654176" cy="225953"/>
          </a:xfrm>
          <a:custGeom>
            <a:avLst/>
            <a:gdLst/>
            <a:ahLst/>
            <a:cxnLst/>
            <a:rect l="l" t="t" r="r" b="b"/>
            <a:pathLst>
              <a:path w="5754370" h="742950">
                <a:moveTo>
                  <a:pt x="649516" y="644042"/>
                </a:moveTo>
                <a:lnTo>
                  <a:pt x="230708" y="644042"/>
                </a:lnTo>
                <a:lnTo>
                  <a:pt x="191897" y="641184"/>
                </a:lnTo>
                <a:lnTo>
                  <a:pt x="150164" y="632142"/>
                </a:lnTo>
                <a:lnTo>
                  <a:pt x="107848" y="616165"/>
                </a:lnTo>
                <a:lnTo>
                  <a:pt x="67221" y="592493"/>
                </a:lnTo>
                <a:lnTo>
                  <a:pt x="30581" y="560374"/>
                </a:lnTo>
                <a:lnTo>
                  <a:pt x="228" y="519074"/>
                </a:lnTo>
                <a:lnTo>
                  <a:pt x="8928" y="566229"/>
                </a:lnTo>
                <a:lnTo>
                  <a:pt x="27762" y="609346"/>
                </a:lnTo>
                <a:lnTo>
                  <a:pt x="55511" y="647255"/>
                </a:lnTo>
                <a:lnTo>
                  <a:pt x="90919" y="678789"/>
                </a:lnTo>
                <a:lnTo>
                  <a:pt x="132753" y="702754"/>
                </a:lnTo>
                <a:lnTo>
                  <a:pt x="179768" y="718007"/>
                </a:lnTo>
                <a:lnTo>
                  <a:pt x="230708" y="723341"/>
                </a:lnTo>
                <a:lnTo>
                  <a:pt x="649516" y="723341"/>
                </a:lnTo>
                <a:lnTo>
                  <a:pt x="649516" y="644042"/>
                </a:lnTo>
                <a:close/>
              </a:path>
              <a:path w="5754370" h="742950">
                <a:moveTo>
                  <a:pt x="649744" y="485419"/>
                </a:moveTo>
                <a:lnTo>
                  <a:pt x="252196" y="485419"/>
                </a:lnTo>
                <a:lnTo>
                  <a:pt x="252196" y="472071"/>
                </a:lnTo>
                <a:lnTo>
                  <a:pt x="252196" y="0"/>
                </a:lnTo>
                <a:lnTo>
                  <a:pt x="168135" y="0"/>
                </a:lnTo>
                <a:lnTo>
                  <a:pt x="168135" y="472071"/>
                </a:lnTo>
                <a:lnTo>
                  <a:pt x="134048" y="450888"/>
                </a:lnTo>
                <a:lnTo>
                  <a:pt x="107480" y="421817"/>
                </a:lnTo>
                <a:lnTo>
                  <a:pt x="90220" y="386575"/>
                </a:lnTo>
                <a:lnTo>
                  <a:pt x="84061" y="346849"/>
                </a:lnTo>
                <a:lnTo>
                  <a:pt x="84061" y="0"/>
                </a:lnTo>
                <a:lnTo>
                  <a:pt x="0" y="0"/>
                </a:lnTo>
                <a:lnTo>
                  <a:pt x="0" y="346849"/>
                </a:lnTo>
                <a:lnTo>
                  <a:pt x="4699" y="390702"/>
                </a:lnTo>
                <a:lnTo>
                  <a:pt x="18186" y="431571"/>
                </a:lnTo>
                <a:lnTo>
                  <a:pt x="39497" y="468579"/>
                </a:lnTo>
                <a:lnTo>
                  <a:pt x="67716" y="500837"/>
                </a:lnTo>
                <a:lnTo>
                  <a:pt x="101917" y="527456"/>
                </a:lnTo>
                <a:lnTo>
                  <a:pt x="141135" y="547573"/>
                </a:lnTo>
                <a:lnTo>
                  <a:pt x="184759" y="560374"/>
                </a:lnTo>
                <a:lnTo>
                  <a:pt x="185394" y="560374"/>
                </a:lnTo>
                <a:lnTo>
                  <a:pt x="230936" y="564718"/>
                </a:lnTo>
                <a:lnTo>
                  <a:pt x="649744" y="564718"/>
                </a:lnTo>
                <a:lnTo>
                  <a:pt x="649744" y="485419"/>
                </a:lnTo>
                <a:close/>
              </a:path>
              <a:path w="5754370" h="742950">
                <a:moveTo>
                  <a:pt x="1346631" y="467220"/>
                </a:moveTo>
                <a:lnTo>
                  <a:pt x="1341361" y="400799"/>
                </a:lnTo>
                <a:lnTo>
                  <a:pt x="1325689" y="341680"/>
                </a:lnTo>
                <a:lnTo>
                  <a:pt x="1299870" y="289864"/>
                </a:lnTo>
                <a:lnTo>
                  <a:pt x="1264742" y="246926"/>
                </a:lnTo>
                <a:lnTo>
                  <a:pt x="1220482" y="212877"/>
                </a:lnTo>
                <a:lnTo>
                  <a:pt x="1167371" y="187947"/>
                </a:lnTo>
                <a:lnTo>
                  <a:pt x="1159611" y="185623"/>
                </a:lnTo>
                <a:lnTo>
                  <a:pt x="1159611" y="377431"/>
                </a:lnTo>
                <a:lnTo>
                  <a:pt x="930579" y="377431"/>
                </a:lnTo>
                <a:lnTo>
                  <a:pt x="943711" y="340372"/>
                </a:lnTo>
                <a:lnTo>
                  <a:pt x="983373" y="302653"/>
                </a:lnTo>
                <a:lnTo>
                  <a:pt x="1020965" y="291249"/>
                </a:lnTo>
                <a:lnTo>
                  <a:pt x="1020267" y="291249"/>
                </a:lnTo>
                <a:lnTo>
                  <a:pt x="1041527" y="289864"/>
                </a:lnTo>
                <a:lnTo>
                  <a:pt x="1045210" y="289864"/>
                </a:lnTo>
                <a:lnTo>
                  <a:pt x="1084376" y="295744"/>
                </a:lnTo>
                <a:lnTo>
                  <a:pt x="1118692" y="313740"/>
                </a:lnTo>
                <a:lnTo>
                  <a:pt x="1153325" y="358571"/>
                </a:lnTo>
                <a:lnTo>
                  <a:pt x="1159611" y="377431"/>
                </a:lnTo>
                <a:lnTo>
                  <a:pt x="1159611" y="185623"/>
                </a:lnTo>
                <a:lnTo>
                  <a:pt x="1137691" y="179044"/>
                </a:lnTo>
                <a:lnTo>
                  <a:pt x="1106233" y="172681"/>
                </a:lnTo>
                <a:lnTo>
                  <a:pt x="1072959" y="168859"/>
                </a:lnTo>
                <a:lnTo>
                  <a:pt x="1037907" y="167589"/>
                </a:lnTo>
                <a:lnTo>
                  <a:pt x="1002322" y="168859"/>
                </a:lnTo>
                <a:lnTo>
                  <a:pt x="936752" y="179044"/>
                </a:lnTo>
                <a:lnTo>
                  <a:pt x="878674" y="199275"/>
                </a:lnTo>
                <a:lnTo>
                  <a:pt x="829284" y="228180"/>
                </a:lnTo>
                <a:lnTo>
                  <a:pt x="788441" y="265696"/>
                </a:lnTo>
                <a:lnTo>
                  <a:pt x="756920" y="311365"/>
                </a:lnTo>
                <a:lnTo>
                  <a:pt x="734987" y="364934"/>
                </a:lnTo>
                <a:lnTo>
                  <a:pt x="723925" y="425234"/>
                </a:lnTo>
                <a:lnTo>
                  <a:pt x="722541" y="457809"/>
                </a:lnTo>
                <a:lnTo>
                  <a:pt x="723887" y="487045"/>
                </a:lnTo>
                <a:lnTo>
                  <a:pt x="723988" y="489394"/>
                </a:lnTo>
                <a:lnTo>
                  <a:pt x="735622" y="547865"/>
                </a:lnTo>
                <a:lnTo>
                  <a:pt x="758609" y="599935"/>
                </a:lnTo>
                <a:lnTo>
                  <a:pt x="791527" y="644829"/>
                </a:lnTo>
                <a:lnTo>
                  <a:pt x="833983" y="682244"/>
                </a:lnTo>
                <a:lnTo>
                  <a:pt x="885164" y="711212"/>
                </a:lnTo>
                <a:lnTo>
                  <a:pt x="944613" y="731367"/>
                </a:lnTo>
                <a:lnTo>
                  <a:pt x="1010437" y="741553"/>
                </a:lnTo>
                <a:lnTo>
                  <a:pt x="1045654" y="742835"/>
                </a:lnTo>
                <a:lnTo>
                  <a:pt x="1101547" y="739965"/>
                </a:lnTo>
                <a:lnTo>
                  <a:pt x="1151801" y="731367"/>
                </a:lnTo>
                <a:lnTo>
                  <a:pt x="1196835" y="716991"/>
                </a:lnTo>
                <a:lnTo>
                  <a:pt x="1236243" y="696899"/>
                </a:lnTo>
                <a:lnTo>
                  <a:pt x="1270152" y="671055"/>
                </a:lnTo>
                <a:lnTo>
                  <a:pt x="1298549" y="639470"/>
                </a:lnTo>
                <a:lnTo>
                  <a:pt x="1321460" y="602145"/>
                </a:lnTo>
                <a:lnTo>
                  <a:pt x="1338884" y="559079"/>
                </a:lnTo>
                <a:lnTo>
                  <a:pt x="1145235" y="559079"/>
                </a:lnTo>
                <a:lnTo>
                  <a:pt x="1126629" y="580999"/>
                </a:lnTo>
                <a:lnTo>
                  <a:pt x="1104023" y="596658"/>
                </a:lnTo>
                <a:lnTo>
                  <a:pt x="1077391" y="606056"/>
                </a:lnTo>
                <a:lnTo>
                  <a:pt x="1046746" y="609193"/>
                </a:lnTo>
                <a:lnTo>
                  <a:pt x="993495" y="601560"/>
                </a:lnTo>
                <a:lnTo>
                  <a:pt x="955459" y="578662"/>
                </a:lnTo>
                <a:lnTo>
                  <a:pt x="932649" y="540486"/>
                </a:lnTo>
                <a:lnTo>
                  <a:pt x="925042" y="487045"/>
                </a:lnTo>
                <a:lnTo>
                  <a:pt x="1346631" y="487045"/>
                </a:lnTo>
                <a:lnTo>
                  <a:pt x="1346631" y="467220"/>
                </a:lnTo>
                <a:close/>
              </a:path>
              <a:path w="5754370" h="742950">
                <a:moveTo>
                  <a:pt x="2059216" y="382651"/>
                </a:moveTo>
                <a:lnTo>
                  <a:pt x="2056993" y="342201"/>
                </a:lnTo>
                <a:lnTo>
                  <a:pt x="2044954" y="290131"/>
                </a:lnTo>
                <a:lnTo>
                  <a:pt x="2017166" y="245884"/>
                </a:lnTo>
                <a:lnTo>
                  <a:pt x="1984108" y="216268"/>
                </a:lnTo>
                <a:lnTo>
                  <a:pt x="1944687" y="194208"/>
                </a:lnTo>
                <a:lnTo>
                  <a:pt x="1897799" y="180517"/>
                </a:lnTo>
                <a:lnTo>
                  <a:pt x="1842325" y="175945"/>
                </a:lnTo>
                <a:lnTo>
                  <a:pt x="1815007" y="176949"/>
                </a:lnTo>
                <a:lnTo>
                  <a:pt x="1765769" y="185039"/>
                </a:lnTo>
                <a:lnTo>
                  <a:pt x="1722894" y="202145"/>
                </a:lnTo>
                <a:lnTo>
                  <a:pt x="1681391" y="233730"/>
                </a:lnTo>
                <a:lnTo>
                  <a:pt x="1660855" y="255295"/>
                </a:lnTo>
                <a:lnTo>
                  <a:pt x="1660855" y="187426"/>
                </a:lnTo>
                <a:lnTo>
                  <a:pt x="1460588" y="187426"/>
                </a:lnTo>
                <a:lnTo>
                  <a:pt x="1460588" y="722998"/>
                </a:lnTo>
                <a:lnTo>
                  <a:pt x="1660855" y="722998"/>
                </a:lnTo>
                <a:lnTo>
                  <a:pt x="1660855" y="436943"/>
                </a:lnTo>
                <a:lnTo>
                  <a:pt x="1662557" y="411848"/>
                </a:lnTo>
                <a:lnTo>
                  <a:pt x="1676107" y="370878"/>
                </a:lnTo>
                <a:lnTo>
                  <a:pt x="1703019" y="342430"/>
                </a:lnTo>
                <a:lnTo>
                  <a:pt x="1742020" y="328066"/>
                </a:lnTo>
                <a:lnTo>
                  <a:pt x="1765985" y="326275"/>
                </a:lnTo>
                <a:lnTo>
                  <a:pt x="1775256" y="326605"/>
                </a:lnTo>
                <a:lnTo>
                  <a:pt x="1817154" y="338543"/>
                </a:lnTo>
                <a:lnTo>
                  <a:pt x="1844408" y="366344"/>
                </a:lnTo>
                <a:lnTo>
                  <a:pt x="1857400" y="416712"/>
                </a:lnTo>
                <a:lnTo>
                  <a:pt x="1858924" y="452602"/>
                </a:lnTo>
                <a:lnTo>
                  <a:pt x="1858924" y="722998"/>
                </a:lnTo>
                <a:lnTo>
                  <a:pt x="2059216" y="722998"/>
                </a:lnTo>
                <a:lnTo>
                  <a:pt x="2059216" y="382651"/>
                </a:lnTo>
                <a:close/>
              </a:path>
              <a:path w="5754370" h="742950">
                <a:moveTo>
                  <a:pt x="2532786" y="187591"/>
                </a:moveTo>
                <a:lnTo>
                  <a:pt x="2418816" y="187591"/>
                </a:lnTo>
                <a:lnTo>
                  <a:pt x="2418816" y="26301"/>
                </a:lnTo>
                <a:lnTo>
                  <a:pt x="2218537" y="26301"/>
                </a:lnTo>
                <a:lnTo>
                  <a:pt x="2218537" y="187591"/>
                </a:lnTo>
                <a:lnTo>
                  <a:pt x="2152142" y="187591"/>
                </a:lnTo>
                <a:lnTo>
                  <a:pt x="2152142" y="345071"/>
                </a:lnTo>
                <a:lnTo>
                  <a:pt x="2218537" y="345071"/>
                </a:lnTo>
                <a:lnTo>
                  <a:pt x="2218537" y="723531"/>
                </a:lnTo>
                <a:lnTo>
                  <a:pt x="2418816" y="723531"/>
                </a:lnTo>
                <a:lnTo>
                  <a:pt x="2418816" y="345071"/>
                </a:lnTo>
                <a:lnTo>
                  <a:pt x="2532786" y="345071"/>
                </a:lnTo>
                <a:lnTo>
                  <a:pt x="2532786" y="187591"/>
                </a:lnTo>
                <a:close/>
              </a:path>
              <a:path w="5754370" h="742950">
                <a:moveTo>
                  <a:pt x="3277438" y="455739"/>
                </a:moveTo>
                <a:lnTo>
                  <a:pt x="3275850" y="424586"/>
                </a:lnTo>
                <a:lnTo>
                  <a:pt x="3271164" y="395274"/>
                </a:lnTo>
                <a:lnTo>
                  <a:pt x="3271088" y="394792"/>
                </a:lnTo>
                <a:lnTo>
                  <a:pt x="3263125" y="366382"/>
                </a:lnTo>
                <a:lnTo>
                  <a:pt x="3252000" y="339331"/>
                </a:lnTo>
                <a:lnTo>
                  <a:pt x="3247682" y="331495"/>
                </a:lnTo>
                <a:lnTo>
                  <a:pt x="3237979" y="313880"/>
                </a:lnTo>
                <a:lnTo>
                  <a:pt x="3202292" y="268478"/>
                </a:lnTo>
                <a:lnTo>
                  <a:pt x="3156623" y="230492"/>
                </a:lnTo>
                <a:lnTo>
                  <a:pt x="3102394" y="200736"/>
                </a:lnTo>
                <a:lnTo>
                  <a:pt x="3065996" y="187185"/>
                </a:lnTo>
                <a:lnTo>
                  <a:pt x="3065996" y="455739"/>
                </a:lnTo>
                <a:lnTo>
                  <a:pt x="3065475" y="465886"/>
                </a:lnTo>
                <a:lnTo>
                  <a:pt x="3065437" y="466458"/>
                </a:lnTo>
                <a:lnTo>
                  <a:pt x="3063506" y="478574"/>
                </a:lnTo>
                <a:lnTo>
                  <a:pt x="3063468" y="478828"/>
                </a:lnTo>
                <a:lnTo>
                  <a:pt x="3043415" y="523201"/>
                </a:lnTo>
                <a:lnTo>
                  <a:pt x="3009100" y="556209"/>
                </a:lnTo>
                <a:lnTo>
                  <a:pt x="2962503" y="574484"/>
                </a:lnTo>
                <a:lnTo>
                  <a:pt x="2936633" y="576834"/>
                </a:lnTo>
                <a:lnTo>
                  <a:pt x="2923527" y="576237"/>
                </a:lnTo>
                <a:lnTo>
                  <a:pt x="2886291" y="567436"/>
                </a:lnTo>
                <a:lnTo>
                  <a:pt x="2845346" y="541337"/>
                </a:lnTo>
                <a:lnTo>
                  <a:pt x="2817685" y="502196"/>
                </a:lnTo>
                <a:lnTo>
                  <a:pt x="2807919" y="466458"/>
                </a:lnTo>
                <a:lnTo>
                  <a:pt x="2807830" y="465886"/>
                </a:lnTo>
                <a:lnTo>
                  <a:pt x="2807335" y="455739"/>
                </a:lnTo>
                <a:lnTo>
                  <a:pt x="2807284" y="450507"/>
                </a:lnTo>
                <a:lnTo>
                  <a:pt x="2807779" y="441274"/>
                </a:lnTo>
                <a:lnTo>
                  <a:pt x="2807830" y="440270"/>
                </a:lnTo>
                <a:lnTo>
                  <a:pt x="2823362" y="394982"/>
                </a:lnTo>
                <a:lnTo>
                  <a:pt x="2829776" y="385127"/>
                </a:lnTo>
                <a:lnTo>
                  <a:pt x="2829852" y="385000"/>
                </a:lnTo>
                <a:lnTo>
                  <a:pt x="2864154" y="352120"/>
                </a:lnTo>
                <a:lnTo>
                  <a:pt x="2910776" y="333844"/>
                </a:lnTo>
                <a:lnTo>
                  <a:pt x="2936633" y="331495"/>
                </a:lnTo>
                <a:lnTo>
                  <a:pt x="2949740" y="332079"/>
                </a:lnTo>
                <a:lnTo>
                  <a:pt x="2986976" y="340893"/>
                </a:lnTo>
                <a:lnTo>
                  <a:pt x="3027921" y="366991"/>
                </a:lnTo>
                <a:lnTo>
                  <a:pt x="3043313" y="385000"/>
                </a:lnTo>
                <a:lnTo>
                  <a:pt x="3043415" y="385127"/>
                </a:lnTo>
                <a:lnTo>
                  <a:pt x="3063468" y="429247"/>
                </a:lnTo>
                <a:lnTo>
                  <a:pt x="3065996" y="455739"/>
                </a:lnTo>
                <a:lnTo>
                  <a:pt x="3065996" y="187185"/>
                </a:lnTo>
                <a:lnTo>
                  <a:pt x="3040265" y="179628"/>
                </a:lnTo>
                <a:lnTo>
                  <a:pt x="3007652" y="173062"/>
                </a:lnTo>
                <a:lnTo>
                  <a:pt x="3008109" y="173062"/>
                </a:lnTo>
                <a:lnTo>
                  <a:pt x="2972752" y="168960"/>
                </a:lnTo>
                <a:lnTo>
                  <a:pt x="2973311" y="168960"/>
                </a:lnTo>
                <a:lnTo>
                  <a:pt x="2936633" y="167589"/>
                </a:lnTo>
                <a:lnTo>
                  <a:pt x="2865399" y="173062"/>
                </a:lnTo>
                <a:lnTo>
                  <a:pt x="2799981" y="189509"/>
                </a:lnTo>
                <a:lnTo>
                  <a:pt x="2741752" y="215480"/>
                </a:lnTo>
                <a:lnTo>
                  <a:pt x="2692095" y="249555"/>
                </a:lnTo>
                <a:lnTo>
                  <a:pt x="2651696" y="291045"/>
                </a:lnTo>
                <a:lnTo>
                  <a:pt x="2621280" y="339331"/>
                </a:lnTo>
                <a:lnTo>
                  <a:pt x="2602192" y="392963"/>
                </a:lnTo>
                <a:lnTo>
                  <a:pt x="2595829" y="450507"/>
                </a:lnTo>
                <a:lnTo>
                  <a:pt x="2597416" y="482650"/>
                </a:lnTo>
                <a:lnTo>
                  <a:pt x="2610142" y="542417"/>
                </a:lnTo>
                <a:lnTo>
                  <a:pt x="2635212" y="595985"/>
                </a:lnTo>
                <a:lnTo>
                  <a:pt x="2670352" y="642188"/>
                </a:lnTo>
                <a:lnTo>
                  <a:pt x="2715018" y="680643"/>
                </a:lnTo>
                <a:lnTo>
                  <a:pt x="2768485" y="710438"/>
                </a:lnTo>
                <a:lnTo>
                  <a:pt x="2829991" y="731075"/>
                </a:lnTo>
                <a:lnTo>
                  <a:pt x="2897492" y="741514"/>
                </a:lnTo>
                <a:lnTo>
                  <a:pt x="2933319" y="742823"/>
                </a:lnTo>
                <a:lnTo>
                  <a:pt x="2969717" y="741514"/>
                </a:lnTo>
                <a:lnTo>
                  <a:pt x="3038602" y="731075"/>
                </a:lnTo>
                <a:lnTo>
                  <a:pt x="3101746" y="710438"/>
                </a:lnTo>
                <a:lnTo>
                  <a:pt x="3156242" y="680948"/>
                </a:lnTo>
                <a:lnTo>
                  <a:pt x="3201543" y="643001"/>
                </a:lnTo>
                <a:lnTo>
                  <a:pt x="3237230" y="597585"/>
                </a:lnTo>
                <a:lnTo>
                  <a:pt x="3262807" y="545096"/>
                </a:lnTo>
                <a:lnTo>
                  <a:pt x="3275812" y="486892"/>
                </a:lnTo>
                <a:lnTo>
                  <a:pt x="3277438" y="455739"/>
                </a:lnTo>
                <a:close/>
              </a:path>
              <a:path w="5754370" h="742950">
                <a:moveTo>
                  <a:pt x="3818534" y="178028"/>
                </a:moveTo>
                <a:lnTo>
                  <a:pt x="3810406" y="176644"/>
                </a:lnTo>
                <a:lnTo>
                  <a:pt x="3803218" y="175945"/>
                </a:lnTo>
                <a:lnTo>
                  <a:pt x="3779799" y="175945"/>
                </a:lnTo>
                <a:lnTo>
                  <a:pt x="3721697" y="182333"/>
                </a:lnTo>
                <a:lnTo>
                  <a:pt x="3671354" y="201523"/>
                </a:lnTo>
                <a:lnTo>
                  <a:pt x="3628479" y="232714"/>
                </a:lnTo>
                <a:lnTo>
                  <a:pt x="3592792" y="275120"/>
                </a:lnTo>
                <a:lnTo>
                  <a:pt x="3592792" y="187426"/>
                </a:lnTo>
                <a:lnTo>
                  <a:pt x="3392513" y="187426"/>
                </a:lnTo>
                <a:lnTo>
                  <a:pt x="3392513" y="722998"/>
                </a:lnTo>
                <a:lnTo>
                  <a:pt x="3592792" y="722998"/>
                </a:lnTo>
                <a:lnTo>
                  <a:pt x="3592792" y="493318"/>
                </a:lnTo>
                <a:lnTo>
                  <a:pt x="3594976" y="457987"/>
                </a:lnTo>
                <a:lnTo>
                  <a:pt x="3612400" y="400824"/>
                </a:lnTo>
                <a:lnTo>
                  <a:pt x="3647262" y="361873"/>
                </a:lnTo>
                <a:lnTo>
                  <a:pt x="3699535" y="342303"/>
                </a:lnTo>
                <a:lnTo>
                  <a:pt x="3732212" y="339852"/>
                </a:lnTo>
                <a:lnTo>
                  <a:pt x="3755034" y="341033"/>
                </a:lnTo>
                <a:lnTo>
                  <a:pt x="3777030" y="344551"/>
                </a:lnTo>
                <a:lnTo>
                  <a:pt x="3798201" y="350418"/>
                </a:lnTo>
                <a:lnTo>
                  <a:pt x="3818534" y="358648"/>
                </a:lnTo>
                <a:lnTo>
                  <a:pt x="3818534" y="178028"/>
                </a:lnTo>
                <a:close/>
              </a:path>
              <a:path w="5754370" h="742950">
                <a:moveTo>
                  <a:pt x="4554347" y="187426"/>
                </a:moveTo>
                <a:lnTo>
                  <a:pt x="4359592" y="187426"/>
                </a:lnTo>
                <a:lnTo>
                  <a:pt x="4359592" y="455739"/>
                </a:lnTo>
                <a:lnTo>
                  <a:pt x="4359021" y="466458"/>
                </a:lnTo>
                <a:lnTo>
                  <a:pt x="4343412" y="513346"/>
                </a:lnTo>
                <a:lnTo>
                  <a:pt x="4312424" y="549236"/>
                </a:lnTo>
                <a:lnTo>
                  <a:pt x="4268406" y="571550"/>
                </a:lnTo>
                <a:lnTo>
                  <a:pt x="4230128" y="576834"/>
                </a:lnTo>
                <a:lnTo>
                  <a:pt x="4216539" y="576249"/>
                </a:lnTo>
                <a:lnTo>
                  <a:pt x="4178681" y="567436"/>
                </a:lnTo>
                <a:lnTo>
                  <a:pt x="4137736" y="541337"/>
                </a:lnTo>
                <a:lnTo>
                  <a:pt x="4110634" y="502183"/>
                </a:lnTo>
                <a:lnTo>
                  <a:pt x="4100779" y="455739"/>
                </a:lnTo>
                <a:lnTo>
                  <a:pt x="4100677" y="453644"/>
                </a:lnTo>
                <a:lnTo>
                  <a:pt x="4101185" y="443369"/>
                </a:lnTo>
                <a:lnTo>
                  <a:pt x="4116057" y="396786"/>
                </a:lnTo>
                <a:lnTo>
                  <a:pt x="4146727" y="361188"/>
                </a:lnTo>
                <a:lnTo>
                  <a:pt x="4190809" y="338874"/>
                </a:lnTo>
                <a:lnTo>
                  <a:pt x="4230128" y="333578"/>
                </a:lnTo>
                <a:lnTo>
                  <a:pt x="4243235" y="334175"/>
                </a:lnTo>
                <a:lnTo>
                  <a:pt x="4280484" y="342988"/>
                </a:lnTo>
                <a:lnTo>
                  <a:pt x="4321429" y="369087"/>
                </a:lnTo>
                <a:lnTo>
                  <a:pt x="4349089" y="408228"/>
                </a:lnTo>
                <a:lnTo>
                  <a:pt x="4359491" y="453644"/>
                </a:lnTo>
                <a:lnTo>
                  <a:pt x="4359592" y="455739"/>
                </a:lnTo>
                <a:lnTo>
                  <a:pt x="4359592" y="187426"/>
                </a:lnTo>
                <a:lnTo>
                  <a:pt x="4352963" y="187426"/>
                </a:lnTo>
                <a:lnTo>
                  <a:pt x="4352963" y="240677"/>
                </a:lnTo>
                <a:lnTo>
                  <a:pt x="4315828" y="210070"/>
                </a:lnTo>
                <a:lnTo>
                  <a:pt x="4274121" y="188214"/>
                </a:lnTo>
                <a:lnTo>
                  <a:pt x="4227855" y="175094"/>
                </a:lnTo>
                <a:lnTo>
                  <a:pt x="4177030" y="170713"/>
                </a:lnTo>
                <a:lnTo>
                  <a:pt x="4146181" y="172123"/>
                </a:lnTo>
                <a:lnTo>
                  <a:pt x="4088638" y="183349"/>
                </a:lnTo>
                <a:lnTo>
                  <a:pt x="4036834" y="205409"/>
                </a:lnTo>
                <a:lnTo>
                  <a:pt x="3992016" y="235940"/>
                </a:lnTo>
                <a:lnTo>
                  <a:pt x="3954538" y="274370"/>
                </a:lnTo>
                <a:lnTo>
                  <a:pt x="3925214" y="319519"/>
                </a:lnTo>
                <a:lnTo>
                  <a:pt x="3904475" y="370751"/>
                </a:lnTo>
                <a:lnTo>
                  <a:pt x="3897973" y="397370"/>
                </a:lnTo>
                <a:lnTo>
                  <a:pt x="3897896" y="397662"/>
                </a:lnTo>
                <a:lnTo>
                  <a:pt x="3893959" y="425297"/>
                </a:lnTo>
                <a:lnTo>
                  <a:pt x="3892651" y="453644"/>
                </a:lnTo>
                <a:lnTo>
                  <a:pt x="3893997" y="483857"/>
                </a:lnTo>
                <a:lnTo>
                  <a:pt x="3904780" y="540753"/>
                </a:lnTo>
                <a:lnTo>
                  <a:pt x="3926078" y="592696"/>
                </a:lnTo>
                <a:lnTo>
                  <a:pt x="3956227" y="638111"/>
                </a:lnTo>
                <a:lnTo>
                  <a:pt x="3994721" y="676503"/>
                </a:lnTo>
                <a:lnTo>
                  <a:pt x="4040086" y="706513"/>
                </a:lnTo>
                <a:lnTo>
                  <a:pt x="4091889" y="727646"/>
                </a:lnTo>
                <a:lnTo>
                  <a:pt x="4148874" y="738352"/>
                </a:lnTo>
                <a:lnTo>
                  <a:pt x="4179239" y="739698"/>
                </a:lnTo>
                <a:lnTo>
                  <a:pt x="4231170" y="734936"/>
                </a:lnTo>
                <a:lnTo>
                  <a:pt x="4277436" y="720636"/>
                </a:lnTo>
                <a:lnTo>
                  <a:pt x="4318038" y="696823"/>
                </a:lnTo>
                <a:lnTo>
                  <a:pt x="4352963" y="663473"/>
                </a:lnTo>
                <a:lnTo>
                  <a:pt x="4352963" y="722998"/>
                </a:lnTo>
                <a:lnTo>
                  <a:pt x="4554347" y="722998"/>
                </a:lnTo>
                <a:lnTo>
                  <a:pt x="4554347" y="663473"/>
                </a:lnTo>
                <a:lnTo>
                  <a:pt x="4554347" y="576834"/>
                </a:lnTo>
                <a:lnTo>
                  <a:pt x="4554347" y="333578"/>
                </a:lnTo>
                <a:lnTo>
                  <a:pt x="4554347" y="240677"/>
                </a:lnTo>
                <a:lnTo>
                  <a:pt x="4554347" y="187426"/>
                </a:lnTo>
                <a:close/>
              </a:path>
              <a:path w="5754370" h="742950">
                <a:moveTo>
                  <a:pt x="5027930" y="187591"/>
                </a:moveTo>
                <a:lnTo>
                  <a:pt x="4913960" y="187591"/>
                </a:lnTo>
                <a:lnTo>
                  <a:pt x="4913960" y="26301"/>
                </a:lnTo>
                <a:lnTo>
                  <a:pt x="4713681" y="26301"/>
                </a:lnTo>
                <a:lnTo>
                  <a:pt x="4713681" y="187591"/>
                </a:lnTo>
                <a:lnTo>
                  <a:pt x="4647285" y="187591"/>
                </a:lnTo>
                <a:lnTo>
                  <a:pt x="4647285" y="345071"/>
                </a:lnTo>
                <a:lnTo>
                  <a:pt x="4713681" y="345071"/>
                </a:lnTo>
                <a:lnTo>
                  <a:pt x="4713681" y="723531"/>
                </a:lnTo>
                <a:lnTo>
                  <a:pt x="4913960" y="723531"/>
                </a:lnTo>
                <a:lnTo>
                  <a:pt x="4913960" y="345071"/>
                </a:lnTo>
                <a:lnTo>
                  <a:pt x="5027930" y="345071"/>
                </a:lnTo>
                <a:lnTo>
                  <a:pt x="5027930" y="187591"/>
                </a:lnTo>
                <a:close/>
              </a:path>
              <a:path w="5754370" h="742950">
                <a:moveTo>
                  <a:pt x="5753786" y="187426"/>
                </a:moveTo>
                <a:lnTo>
                  <a:pt x="5559031" y="187426"/>
                </a:lnTo>
                <a:lnTo>
                  <a:pt x="5559031" y="455739"/>
                </a:lnTo>
                <a:lnTo>
                  <a:pt x="5558460" y="466458"/>
                </a:lnTo>
                <a:lnTo>
                  <a:pt x="5542851" y="513346"/>
                </a:lnTo>
                <a:lnTo>
                  <a:pt x="5511863" y="549236"/>
                </a:lnTo>
                <a:lnTo>
                  <a:pt x="5467845" y="571550"/>
                </a:lnTo>
                <a:lnTo>
                  <a:pt x="5429567" y="576834"/>
                </a:lnTo>
                <a:lnTo>
                  <a:pt x="5415978" y="576249"/>
                </a:lnTo>
                <a:lnTo>
                  <a:pt x="5378120" y="567436"/>
                </a:lnTo>
                <a:lnTo>
                  <a:pt x="5337175" y="541337"/>
                </a:lnTo>
                <a:lnTo>
                  <a:pt x="5310060" y="502183"/>
                </a:lnTo>
                <a:lnTo>
                  <a:pt x="5300205" y="455739"/>
                </a:lnTo>
                <a:lnTo>
                  <a:pt x="5300103" y="453644"/>
                </a:lnTo>
                <a:lnTo>
                  <a:pt x="5300624" y="443369"/>
                </a:lnTo>
                <a:lnTo>
                  <a:pt x="5300726" y="441337"/>
                </a:lnTo>
                <a:lnTo>
                  <a:pt x="5315496" y="396786"/>
                </a:lnTo>
                <a:lnTo>
                  <a:pt x="5346154" y="361188"/>
                </a:lnTo>
                <a:lnTo>
                  <a:pt x="5390248" y="338874"/>
                </a:lnTo>
                <a:lnTo>
                  <a:pt x="5429567" y="333578"/>
                </a:lnTo>
                <a:lnTo>
                  <a:pt x="5442674" y="334175"/>
                </a:lnTo>
                <a:lnTo>
                  <a:pt x="5479910" y="342988"/>
                </a:lnTo>
                <a:lnTo>
                  <a:pt x="5520868" y="369087"/>
                </a:lnTo>
                <a:lnTo>
                  <a:pt x="5548515" y="408228"/>
                </a:lnTo>
                <a:lnTo>
                  <a:pt x="5558917" y="453644"/>
                </a:lnTo>
                <a:lnTo>
                  <a:pt x="5559031" y="455739"/>
                </a:lnTo>
                <a:lnTo>
                  <a:pt x="5559031" y="187426"/>
                </a:lnTo>
                <a:lnTo>
                  <a:pt x="5552389" y="187426"/>
                </a:lnTo>
                <a:lnTo>
                  <a:pt x="5552389" y="240677"/>
                </a:lnTo>
                <a:lnTo>
                  <a:pt x="5515254" y="210070"/>
                </a:lnTo>
                <a:lnTo>
                  <a:pt x="5473560" y="188214"/>
                </a:lnTo>
                <a:lnTo>
                  <a:pt x="5427294" y="175094"/>
                </a:lnTo>
                <a:lnTo>
                  <a:pt x="5376469" y="170713"/>
                </a:lnTo>
                <a:lnTo>
                  <a:pt x="5345620" y="172123"/>
                </a:lnTo>
                <a:lnTo>
                  <a:pt x="5288077" y="183349"/>
                </a:lnTo>
                <a:lnTo>
                  <a:pt x="5236273" y="205409"/>
                </a:lnTo>
                <a:lnTo>
                  <a:pt x="5191455" y="235940"/>
                </a:lnTo>
                <a:lnTo>
                  <a:pt x="5153977" y="274370"/>
                </a:lnTo>
                <a:lnTo>
                  <a:pt x="5124653" y="319519"/>
                </a:lnTo>
                <a:lnTo>
                  <a:pt x="5103914" y="370751"/>
                </a:lnTo>
                <a:lnTo>
                  <a:pt x="5097411" y="397370"/>
                </a:lnTo>
                <a:lnTo>
                  <a:pt x="5097335" y="397662"/>
                </a:lnTo>
                <a:lnTo>
                  <a:pt x="5093398" y="425297"/>
                </a:lnTo>
                <a:lnTo>
                  <a:pt x="5092077" y="453644"/>
                </a:lnTo>
                <a:lnTo>
                  <a:pt x="5093436" y="483857"/>
                </a:lnTo>
                <a:lnTo>
                  <a:pt x="5104219" y="540753"/>
                </a:lnTo>
                <a:lnTo>
                  <a:pt x="5125517" y="592696"/>
                </a:lnTo>
                <a:lnTo>
                  <a:pt x="5155666" y="638111"/>
                </a:lnTo>
                <a:lnTo>
                  <a:pt x="5194160" y="676503"/>
                </a:lnTo>
                <a:lnTo>
                  <a:pt x="5239524" y="706513"/>
                </a:lnTo>
                <a:lnTo>
                  <a:pt x="5291315" y="727646"/>
                </a:lnTo>
                <a:lnTo>
                  <a:pt x="5348313" y="738352"/>
                </a:lnTo>
                <a:lnTo>
                  <a:pt x="5378666" y="739698"/>
                </a:lnTo>
                <a:lnTo>
                  <a:pt x="5430609" y="734936"/>
                </a:lnTo>
                <a:lnTo>
                  <a:pt x="5476875" y="720636"/>
                </a:lnTo>
                <a:lnTo>
                  <a:pt x="5517477" y="696823"/>
                </a:lnTo>
                <a:lnTo>
                  <a:pt x="5552389" y="663473"/>
                </a:lnTo>
                <a:lnTo>
                  <a:pt x="5552389" y="722998"/>
                </a:lnTo>
                <a:lnTo>
                  <a:pt x="5753786" y="722998"/>
                </a:lnTo>
                <a:lnTo>
                  <a:pt x="5753786" y="663473"/>
                </a:lnTo>
                <a:lnTo>
                  <a:pt x="5753786" y="576834"/>
                </a:lnTo>
                <a:lnTo>
                  <a:pt x="5753786" y="333578"/>
                </a:lnTo>
                <a:lnTo>
                  <a:pt x="5753786" y="240677"/>
                </a:lnTo>
                <a:lnTo>
                  <a:pt x="5753786" y="187426"/>
                </a:lnTo>
                <a:close/>
              </a:path>
            </a:pathLst>
          </a:custGeom>
          <a:solidFill>
            <a:srgbClr val="FFFFFF"/>
          </a:solidFill>
        </p:spPr>
        <p:txBody>
          <a:bodyPr wrap="square" lIns="0" tIns="0" rIns="0" bIns="0" rtlCol="0"/>
          <a:lstStyle/>
          <a:p>
            <a:pPr algn="l" rtl="0"/>
            <a:endParaRPr/>
          </a:p>
        </p:txBody>
      </p:sp>
    </p:spTree>
    <p:extLst>
      <p:ext uri="{BB962C8B-B14F-4D97-AF65-F5344CB8AC3E}">
        <p14:creationId xmlns:p14="http://schemas.microsoft.com/office/powerpoint/2010/main" val="2210185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and Text">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7155"/>
            <a:ext cx="11233150" cy="4534233"/>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pic>
        <p:nvPicPr>
          <p:cNvPr id="2" name="Picture 1" descr="A blue letters on a black background&#10;&#10;Description automatically generated">
            <a:extLst>
              <a:ext uri="{FF2B5EF4-FFF2-40B4-BE49-F238E27FC236}">
                <a16:creationId xmlns:a16="http://schemas.microsoft.com/office/drawing/2014/main" id="{A06D018F-F123-CB01-91DA-D027EE03D24C}"/>
              </a:ext>
            </a:extLst>
          </p:cNvPr>
          <p:cNvPicPr>
            <a:picLocks noChangeAspect="1"/>
          </p:cNvPicPr>
          <p:nvPr userDrawn="1"/>
        </p:nvPicPr>
        <p:blipFill>
          <a:blip r:embed="rId5"/>
          <a:stretch>
            <a:fillRect/>
          </a:stretch>
        </p:blipFill>
        <p:spPr>
          <a:xfrm>
            <a:off x="10307937" y="6228261"/>
            <a:ext cx="1440000" cy="304460"/>
          </a:xfrm>
          <a:prstGeom prst="rect">
            <a:avLst/>
          </a:prstGeom>
        </p:spPr>
      </p:pic>
    </p:spTree>
    <p:extLst>
      <p:ext uri="{BB962C8B-B14F-4D97-AF65-F5344CB8AC3E}">
        <p14:creationId xmlns:p14="http://schemas.microsoft.com/office/powerpoint/2010/main" val="164477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0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CBE928-C13A-FFBF-A987-C5118CD70CD0}"/>
              </a:ext>
            </a:extLst>
          </p:cNvPr>
          <p:cNvPicPr>
            <a:picLocks noChangeAspect="1"/>
          </p:cNvPicPr>
          <p:nvPr userDrawn="1"/>
        </p:nvPicPr>
        <p:blipFill rotWithShape="1">
          <a:blip r:embed="rId4"/>
          <a:srcRect l="11111"/>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5832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29056" y="3520440"/>
            <a:ext cx="5285232" cy="1258922"/>
          </a:xfrm>
          <a:prstGeom prst="rect">
            <a:avLst/>
          </a:prstGeom>
        </p:spPr>
        <p:txBody>
          <a:bodyPr vert="horz" lIns="0" tIns="0" rIns="0" bIns="0" anchor="ctr" anchorCtr="0">
            <a:noAutofit/>
          </a:bodyPr>
          <a:lstStyle>
            <a:lvl1pPr algn="l" rtl="0">
              <a:lnSpc>
                <a:spcPct val="93000"/>
              </a:lnSpc>
              <a:defRPr sz="3600" b="0" baseline="0">
                <a:solidFill>
                  <a:schemeClr val="bg1"/>
                </a:solidFill>
                <a:latin typeface="+mj-lt"/>
                <a:ea typeface="+mj-ea"/>
                <a:cs typeface="Calibri" panose="020F0502020204030204" pitchFamily="34" charset="0"/>
                <a:sym typeface="Trebuchet MS" panose="020B0603020202020204" pitchFamily="34" charset="0"/>
              </a:defRPr>
            </a:lvl1pPr>
          </a:lstStyle>
          <a:p>
            <a:r>
              <a:rPr lang="fi-FI">
                <a:latin typeface="+mj-lt"/>
              </a:rPr>
              <a:t>Tilaisuuden nimi</a:t>
            </a:r>
            <a:endParaRPr lang="fi-FI"/>
          </a:p>
        </p:txBody>
      </p:sp>
      <p:sp>
        <p:nvSpPr>
          <p:cNvPr id="23" name="Otsikon paikkamerkki 9">
            <a:extLst>
              <a:ext uri="{FF2B5EF4-FFF2-40B4-BE49-F238E27FC236}">
                <a16:creationId xmlns:a16="http://schemas.microsoft.com/office/drawing/2014/main" id="{25802FCD-2B2C-44FA-9354-1CD516D9E23A}"/>
              </a:ext>
            </a:extLst>
          </p:cNvPr>
          <p:cNvSpPr txBox="1">
            <a:spLocks/>
          </p:cNvSpPr>
          <p:nvPr userDrawn="1"/>
        </p:nvSpPr>
        <p:spPr>
          <a:xfrm>
            <a:off x="486507" y="6024806"/>
            <a:ext cx="1330570" cy="4111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1600" b="1" i="0" kern="1200" spc="0">
                <a:solidFill>
                  <a:schemeClr val="bg1"/>
                </a:solidFill>
                <a:latin typeface="Gilroy ExtraBold" pitchFamily="2" charset="77"/>
                <a:ea typeface="+mj-ea"/>
                <a:cs typeface="+mj-cs"/>
              </a:defRPr>
            </a:lvl1pPr>
          </a:lstStyle>
          <a:p>
            <a:pPr rtl="0"/>
            <a:r>
              <a:rPr lang="fi-FI" sz="1600" b="0" i="0" u="none" strike="noStrike" kern="1200" spc="0">
                <a:solidFill>
                  <a:schemeClr val="bg1"/>
                </a:solidFill>
                <a:effectLst/>
                <a:latin typeface="+mn-lt"/>
                <a:ea typeface="+mn-ea"/>
                <a:cs typeface="+mn-cs"/>
              </a:rPr>
              <a:t>©</a:t>
            </a:r>
            <a:r>
              <a:rPr lang="fi-FI" b="0" i="0">
                <a:solidFill>
                  <a:schemeClr val="bg1"/>
                </a:solidFill>
                <a:latin typeface="+mn-lt"/>
                <a:ea typeface="+mn-ea"/>
                <a:cs typeface="+mn-cs"/>
              </a:rPr>
              <a:t>Lentorata</a:t>
            </a:r>
          </a:p>
        </p:txBody>
      </p:sp>
      <p:sp>
        <p:nvSpPr>
          <p:cNvPr id="10" name="Text Placeholder 12">
            <a:extLst>
              <a:ext uri="{FF2B5EF4-FFF2-40B4-BE49-F238E27FC236}">
                <a16:creationId xmlns:a16="http://schemas.microsoft.com/office/drawing/2014/main" id="{691297B9-CF37-FFA5-1B9A-9BF8DF8AFBDC}"/>
              </a:ext>
            </a:extLst>
          </p:cNvPr>
          <p:cNvSpPr>
            <a:spLocks noGrp="1"/>
          </p:cNvSpPr>
          <p:nvPr>
            <p:ph type="body" sz="quarter" idx="10" hasCustomPrompt="1"/>
          </p:nvPr>
        </p:nvSpPr>
        <p:spPr>
          <a:xfrm>
            <a:off x="822325" y="5043997"/>
            <a:ext cx="5029835" cy="888491"/>
          </a:xfrm>
        </p:spPr>
        <p:txBody>
          <a:bodyPr tIns="0" anchor="ctr" anchorCtr="0"/>
          <a:lstStyle>
            <a:lvl1pPr marL="0" indent="0">
              <a:buFontTx/>
              <a:buNone/>
              <a:defRPr sz="2600" b="0" i="0">
                <a:solidFill>
                  <a:schemeClr val="bg1"/>
                </a:solidFill>
                <a:latin typeface="+mn-lt"/>
                <a:cs typeface="Calibri" panose="020F0502020204030204" pitchFamily="34" charset="0"/>
              </a:defRPr>
            </a:lvl1pPr>
          </a:lstStyle>
          <a:p>
            <a:pPr lvl="0"/>
            <a:r>
              <a:rPr lang="en-GB"/>
              <a:t>Esiintyjän nimi</a:t>
            </a:r>
          </a:p>
        </p:txBody>
      </p:sp>
      <p:pic>
        <p:nvPicPr>
          <p:cNvPr id="2" name="Picture 1" descr="A white text on a black background&#10;&#10;Description automatically generated">
            <a:extLst>
              <a:ext uri="{FF2B5EF4-FFF2-40B4-BE49-F238E27FC236}">
                <a16:creationId xmlns:a16="http://schemas.microsoft.com/office/drawing/2014/main" id="{5C1EAB1D-CCCE-F8C3-32BD-B0C50781F670}"/>
              </a:ext>
            </a:extLst>
          </p:cNvPr>
          <p:cNvPicPr>
            <a:picLocks noChangeAspect="1"/>
          </p:cNvPicPr>
          <p:nvPr userDrawn="1"/>
        </p:nvPicPr>
        <p:blipFill>
          <a:blip r:embed="rId7"/>
          <a:stretch>
            <a:fillRect/>
          </a:stretch>
        </p:blipFill>
        <p:spPr>
          <a:xfrm>
            <a:off x="8599708" y="5762869"/>
            <a:ext cx="3175000" cy="673100"/>
          </a:xfrm>
          <a:prstGeom prst="rect">
            <a:avLst/>
          </a:prstGeom>
        </p:spPr>
      </p:pic>
    </p:spTree>
    <p:extLst>
      <p:ext uri="{BB962C8B-B14F-4D97-AF65-F5344CB8AC3E}">
        <p14:creationId xmlns:p14="http://schemas.microsoft.com/office/powerpoint/2010/main" val="2110874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E052C0C-78F8-B8F7-0387-977B837435DE}"/>
              </a:ext>
            </a:extLst>
          </p:cNvPr>
          <p:cNvPicPr>
            <a:picLocks noChangeAspect="1"/>
          </p:cNvPicPr>
          <p:nvPr userDrawn="1"/>
        </p:nvPicPr>
        <p:blipFill>
          <a:blip r:embed="rId4"/>
          <a:src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5832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479425" y="716684"/>
            <a:ext cx="5285232" cy="1258922"/>
          </a:xfrm>
          <a:prstGeom prst="rect">
            <a:avLst/>
          </a:prstGeom>
        </p:spPr>
        <p:txBody>
          <a:bodyPr vert="horz" lIns="0" tIns="0" rIns="0" bIns="0" anchor="ctr" anchorCtr="0">
            <a:noAutofit/>
          </a:bodyPr>
          <a:lstStyle>
            <a:lvl1pPr algn="l" rtl="0">
              <a:lnSpc>
                <a:spcPct val="93000"/>
              </a:lnSpc>
              <a:defRPr sz="3600" b="0" baseline="0">
                <a:solidFill>
                  <a:schemeClr val="bg1"/>
                </a:solidFill>
                <a:latin typeface="+mj-lt"/>
                <a:ea typeface="+mj-ea"/>
                <a:cs typeface="Calibri" panose="020F0502020204030204" pitchFamily="34" charset="0"/>
                <a:sym typeface="Trebuchet MS" panose="020B0603020202020204" pitchFamily="34" charset="0"/>
              </a:defRPr>
            </a:lvl1pPr>
          </a:lstStyle>
          <a:p>
            <a:r>
              <a:rPr lang="fi-FI">
                <a:latin typeface="+mj-lt"/>
              </a:rPr>
              <a:t>Tilaisuuden nimi</a:t>
            </a:r>
            <a:endParaRPr lang="fi-FI"/>
          </a:p>
        </p:txBody>
      </p:sp>
      <p:sp>
        <p:nvSpPr>
          <p:cNvPr id="23" name="Otsikon paikkamerkki 9">
            <a:extLst>
              <a:ext uri="{FF2B5EF4-FFF2-40B4-BE49-F238E27FC236}">
                <a16:creationId xmlns:a16="http://schemas.microsoft.com/office/drawing/2014/main" id="{25802FCD-2B2C-44FA-9354-1CD516D9E23A}"/>
              </a:ext>
            </a:extLst>
          </p:cNvPr>
          <p:cNvSpPr txBox="1">
            <a:spLocks/>
          </p:cNvSpPr>
          <p:nvPr userDrawn="1"/>
        </p:nvSpPr>
        <p:spPr>
          <a:xfrm>
            <a:off x="401727" y="6024806"/>
            <a:ext cx="1330570" cy="4111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1600" b="1" i="0" kern="1200" spc="0">
                <a:solidFill>
                  <a:schemeClr val="bg1"/>
                </a:solidFill>
                <a:latin typeface="Gilroy ExtraBold" pitchFamily="2" charset="77"/>
                <a:ea typeface="+mj-ea"/>
                <a:cs typeface="+mj-cs"/>
              </a:defRPr>
            </a:lvl1pPr>
          </a:lstStyle>
          <a:p>
            <a:pPr rtl="0"/>
            <a:r>
              <a:rPr lang="fi-FI" sz="1600" b="0" i="0" u="none" strike="noStrike" kern="1200" spc="0">
                <a:solidFill>
                  <a:schemeClr val="bg1"/>
                </a:solidFill>
                <a:effectLst/>
                <a:latin typeface="+mn-lt"/>
                <a:ea typeface="+mn-ea"/>
                <a:cs typeface="+mn-cs"/>
              </a:rPr>
              <a:t>© </a:t>
            </a:r>
            <a:r>
              <a:rPr lang="fi-FI" b="0" i="0">
                <a:solidFill>
                  <a:schemeClr val="bg1"/>
                </a:solidFill>
                <a:latin typeface="+mn-lt"/>
                <a:ea typeface="+mn-ea"/>
                <a:cs typeface="+mn-cs"/>
              </a:rPr>
              <a:t>Lentorata</a:t>
            </a:r>
          </a:p>
        </p:txBody>
      </p:sp>
      <p:sp>
        <p:nvSpPr>
          <p:cNvPr id="10" name="Text Placeholder 12">
            <a:extLst>
              <a:ext uri="{FF2B5EF4-FFF2-40B4-BE49-F238E27FC236}">
                <a16:creationId xmlns:a16="http://schemas.microsoft.com/office/drawing/2014/main" id="{691297B9-CF37-FFA5-1B9A-9BF8DF8AFBDC}"/>
              </a:ext>
            </a:extLst>
          </p:cNvPr>
          <p:cNvSpPr>
            <a:spLocks noGrp="1"/>
          </p:cNvSpPr>
          <p:nvPr>
            <p:ph type="body" sz="quarter" idx="10" hasCustomPrompt="1"/>
          </p:nvPr>
        </p:nvSpPr>
        <p:spPr>
          <a:xfrm>
            <a:off x="479425" y="4539321"/>
            <a:ext cx="5029835" cy="888491"/>
          </a:xfrm>
        </p:spPr>
        <p:txBody>
          <a:bodyPr tIns="0" anchor="ctr" anchorCtr="0"/>
          <a:lstStyle>
            <a:lvl1pPr marL="0" indent="0">
              <a:buFontTx/>
              <a:buNone/>
              <a:defRPr sz="2600" b="0" i="0">
                <a:solidFill>
                  <a:schemeClr val="bg1"/>
                </a:solidFill>
                <a:latin typeface="+mn-lt"/>
                <a:cs typeface="Calibri" panose="020F0502020204030204" pitchFamily="34" charset="0"/>
              </a:defRPr>
            </a:lvl1pPr>
          </a:lstStyle>
          <a:p>
            <a:pPr lvl="0"/>
            <a:r>
              <a:rPr lang="en-GB" err="1"/>
              <a:t>Esiintyjän</a:t>
            </a:r>
            <a:r>
              <a:rPr lang="en-GB"/>
              <a:t> </a:t>
            </a:r>
            <a:r>
              <a:rPr lang="en-GB" err="1"/>
              <a:t>nimi</a:t>
            </a:r>
            <a:endParaRPr lang="en-GB"/>
          </a:p>
        </p:txBody>
      </p:sp>
      <p:pic>
        <p:nvPicPr>
          <p:cNvPr id="8" name="Picture 7" descr="A white text on a black background&#10;&#10;Description automatically generated">
            <a:extLst>
              <a:ext uri="{FF2B5EF4-FFF2-40B4-BE49-F238E27FC236}">
                <a16:creationId xmlns:a16="http://schemas.microsoft.com/office/drawing/2014/main" id="{39683BFB-8A7C-D04A-52A7-0581F99726E6}"/>
              </a:ext>
            </a:extLst>
          </p:cNvPr>
          <p:cNvPicPr>
            <a:picLocks noChangeAspect="1"/>
          </p:cNvPicPr>
          <p:nvPr userDrawn="1"/>
        </p:nvPicPr>
        <p:blipFill>
          <a:blip r:embed="rId7"/>
          <a:stretch>
            <a:fillRect/>
          </a:stretch>
        </p:blipFill>
        <p:spPr>
          <a:xfrm>
            <a:off x="8599708" y="5762869"/>
            <a:ext cx="3175000" cy="673100"/>
          </a:xfrm>
          <a:prstGeom prst="rect">
            <a:avLst/>
          </a:prstGeom>
        </p:spPr>
      </p:pic>
    </p:spTree>
    <p:extLst>
      <p:ext uri="{BB962C8B-B14F-4D97-AF65-F5344CB8AC3E}">
        <p14:creationId xmlns:p14="http://schemas.microsoft.com/office/powerpoint/2010/main" val="953396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itle and two colum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pic>
        <p:nvPicPr>
          <p:cNvPr id="7" name="Picture 6" descr="A blue letters on a black background&#10;&#10;Description automatically generated">
            <a:extLst>
              <a:ext uri="{FF2B5EF4-FFF2-40B4-BE49-F238E27FC236}">
                <a16:creationId xmlns:a16="http://schemas.microsoft.com/office/drawing/2014/main" id="{E452BFB9-883C-3A01-DF20-097943603D70}"/>
              </a:ext>
            </a:extLst>
          </p:cNvPr>
          <p:cNvPicPr>
            <a:picLocks noChangeAspect="1"/>
          </p:cNvPicPr>
          <p:nvPr userDrawn="1"/>
        </p:nvPicPr>
        <p:blipFill>
          <a:blip r:embed="rId5"/>
          <a:stretch>
            <a:fillRect/>
          </a:stretch>
        </p:blipFill>
        <p:spPr>
          <a:xfrm>
            <a:off x="10307937" y="6228261"/>
            <a:ext cx="1440000" cy="304460"/>
          </a:xfrm>
          <a:prstGeom prst="rect">
            <a:avLst/>
          </a:prstGeom>
        </p:spPr>
      </p:pic>
    </p:spTree>
    <p:extLst>
      <p:ext uri="{BB962C8B-B14F-4D97-AF65-F5344CB8AC3E}">
        <p14:creationId xmlns:p14="http://schemas.microsoft.com/office/powerpoint/2010/main" val="2240654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Title_blank_logo">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pic>
        <p:nvPicPr>
          <p:cNvPr id="2" name="Picture 1" descr="A blue letters on a black background&#10;&#10;Description automatically generated">
            <a:extLst>
              <a:ext uri="{FF2B5EF4-FFF2-40B4-BE49-F238E27FC236}">
                <a16:creationId xmlns:a16="http://schemas.microsoft.com/office/drawing/2014/main" id="{A06D018F-F123-CB01-91DA-D027EE03D24C}"/>
              </a:ext>
            </a:extLst>
          </p:cNvPr>
          <p:cNvPicPr>
            <a:picLocks noChangeAspect="1"/>
          </p:cNvPicPr>
          <p:nvPr userDrawn="1"/>
        </p:nvPicPr>
        <p:blipFill>
          <a:blip r:embed="rId5"/>
          <a:stretch>
            <a:fillRect/>
          </a:stretch>
        </p:blipFill>
        <p:spPr>
          <a:xfrm>
            <a:off x="10307937" y="6228261"/>
            <a:ext cx="1440000" cy="304460"/>
          </a:xfrm>
          <a:prstGeom prst="rect">
            <a:avLst/>
          </a:prstGeom>
        </p:spPr>
      </p:pic>
    </p:spTree>
    <p:extLst>
      <p:ext uri="{BB962C8B-B14F-4D97-AF65-F5344CB8AC3E}">
        <p14:creationId xmlns:p14="http://schemas.microsoft.com/office/powerpoint/2010/main" val="2570521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and Text_turkoosi-viiva">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6626352"/>
            <a:ext cx="12192000" cy="231648"/>
          </a:xfrm>
          <a:prstGeom prst="rect">
            <a:avLst/>
          </a:prstGeom>
          <a:solidFill>
            <a:schemeClr val="accent3"/>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80000" y="1487157"/>
            <a:ext cx="11232000" cy="4534232"/>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80000" y="420568"/>
            <a:ext cx="1123200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5" name="Google Shape;32;p23">
            <a:extLst>
              <a:ext uri="{FF2B5EF4-FFF2-40B4-BE49-F238E27FC236}">
                <a16:creationId xmlns:a16="http://schemas.microsoft.com/office/drawing/2014/main" id="{E842F218-9B9C-1BBD-9207-603727AC8B16}"/>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2" name="Picture 1" descr="A blue letters on a black background&#10;&#10;Description automatically generated">
            <a:extLst>
              <a:ext uri="{FF2B5EF4-FFF2-40B4-BE49-F238E27FC236}">
                <a16:creationId xmlns:a16="http://schemas.microsoft.com/office/drawing/2014/main" id="{611BAAC7-4D32-4AC3-9D01-51CBC6D72B15}"/>
              </a:ext>
            </a:extLst>
          </p:cNvPr>
          <p:cNvPicPr>
            <a:picLocks noChangeAspect="1"/>
          </p:cNvPicPr>
          <p:nvPr userDrawn="1"/>
        </p:nvPicPr>
        <p:blipFill>
          <a:blip r:embed="rId5"/>
          <a:stretch>
            <a:fillRect/>
          </a:stretch>
        </p:blipFill>
        <p:spPr>
          <a:xfrm>
            <a:off x="10307937" y="6228261"/>
            <a:ext cx="1440000" cy="304460"/>
          </a:xfrm>
          <a:prstGeom prst="rect">
            <a:avLst/>
          </a:prstGeom>
        </p:spPr>
      </p:pic>
      <p:sp>
        <p:nvSpPr>
          <p:cNvPr id="3" name="Date Placeholder 3">
            <a:extLst>
              <a:ext uri="{FF2B5EF4-FFF2-40B4-BE49-F238E27FC236}">
                <a16:creationId xmlns:a16="http://schemas.microsoft.com/office/drawing/2014/main" id="{4ECEE2D2-C365-477E-5F60-7D9C13005852}"/>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0" name="TextBox 9">
            <a:extLst>
              <a:ext uri="{FF2B5EF4-FFF2-40B4-BE49-F238E27FC236}">
                <a16:creationId xmlns:a16="http://schemas.microsoft.com/office/drawing/2014/main" id="{C11B361E-F184-150E-BE92-C96F7E5CBDF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2216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Title and two colums_turkoosi-viiva">
    <p:spTree>
      <p:nvGrpSpPr>
        <p:cNvPr id="1" name=""/>
        <p:cNvGrpSpPr/>
        <p:nvPr/>
      </p:nvGrpSpPr>
      <p:grpSpPr>
        <a:xfrm>
          <a:off x="0" y="0"/>
          <a:ext cx="0" cy="0"/>
          <a:chOff x="0" y="0"/>
          <a:chExt cx="0" cy="0"/>
        </a:xfrm>
      </p:grpSpPr>
      <p:sp>
        <p:nvSpPr>
          <p:cNvPr id="2" name="Google Shape;32;p23">
            <a:extLst>
              <a:ext uri="{FF2B5EF4-FFF2-40B4-BE49-F238E27FC236}">
                <a16:creationId xmlns:a16="http://schemas.microsoft.com/office/drawing/2014/main" id="{CD2E6237-A93E-BB5B-2F5A-701746E1116B}"/>
              </a:ext>
            </a:extLst>
          </p:cNvPr>
          <p:cNvSpPr/>
          <p:nvPr userDrawn="1"/>
        </p:nvSpPr>
        <p:spPr>
          <a:xfrm>
            <a:off x="0" y="6626352"/>
            <a:ext cx="12192000" cy="231648"/>
          </a:xfrm>
          <a:prstGeom prst="rect">
            <a:avLst/>
          </a:prstGeom>
          <a:solidFill>
            <a:schemeClr val="accent3"/>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pic>
        <p:nvPicPr>
          <p:cNvPr id="7" name="Picture 6" descr="A blue letters on a black background&#10;&#10;Description automatically generated">
            <a:extLst>
              <a:ext uri="{FF2B5EF4-FFF2-40B4-BE49-F238E27FC236}">
                <a16:creationId xmlns:a16="http://schemas.microsoft.com/office/drawing/2014/main" id="{E452BFB9-883C-3A01-DF20-097943603D70}"/>
              </a:ext>
            </a:extLst>
          </p:cNvPr>
          <p:cNvPicPr>
            <a:picLocks noChangeAspect="1"/>
          </p:cNvPicPr>
          <p:nvPr userDrawn="1"/>
        </p:nvPicPr>
        <p:blipFill>
          <a:blip r:embed="rId5"/>
          <a:stretch>
            <a:fillRect/>
          </a:stretch>
        </p:blipFill>
        <p:spPr>
          <a:xfrm>
            <a:off x="10307937" y="6228261"/>
            <a:ext cx="1440000" cy="304460"/>
          </a:xfrm>
          <a:prstGeom prst="rect">
            <a:avLst/>
          </a:prstGeom>
        </p:spPr>
      </p:pic>
      <p:sp>
        <p:nvSpPr>
          <p:cNvPr id="4" name="Date Placeholder 3">
            <a:extLst>
              <a:ext uri="{FF2B5EF4-FFF2-40B4-BE49-F238E27FC236}">
                <a16:creationId xmlns:a16="http://schemas.microsoft.com/office/drawing/2014/main" id="{888DA92B-704D-CC36-C347-491267D7EA19}"/>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7464B5EE-33C3-8290-A123-9CB6BC10CE40}"/>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20869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Title and Text_korkea-turkoosi">
    <p:bg>
      <p:bgPr>
        <a:solidFill>
          <a:schemeClr val="bg1"/>
        </a:solidFill>
        <a:effectLst/>
      </p:bgPr>
    </p:bg>
    <p:spTree>
      <p:nvGrpSpPr>
        <p:cNvPr id="1" name=""/>
        <p:cNvGrpSpPr/>
        <p:nvPr/>
      </p:nvGrpSpPr>
      <p:grpSpPr>
        <a:xfrm>
          <a:off x="0" y="0"/>
          <a:ext cx="0" cy="0"/>
          <a:chOff x="0" y="0"/>
          <a:chExt cx="0" cy="0"/>
        </a:xfrm>
      </p:grpSpPr>
      <p:sp>
        <p:nvSpPr>
          <p:cNvPr id="10" name="Google Shape;28;p23">
            <a:extLst>
              <a:ext uri="{FF2B5EF4-FFF2-40B4-BE49-F238E27FC236}">
                <a16:creationId xmlns:a16="http://schemas.microsoft.com/office/drawing/2014/main" id="{E2674F69-89F5-40FA-2704-505F9BA04F79}"/>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1" name="Picture 10">
            <a:extLst>
              <a:ext uri="{FF2B5EF4-FFF2-40B4-BE49-F238E27FC236}">
                <a16:creationId xmlns:a16="http://schemas.microsoft.com/office/drawing/2014/main" id="{C1A5219F-72BA-F147-CB43-61FF228F4825}"/>
              </a:ext>
            </a:extLst>
          </p:cNvPr>
          <p:cNvPicPr>
            <a:picLocks noChangeAspect="1"/>
          </p:cNvPicPr>
          <p:nvPr userDrawn="1"/>
        </p:nvPicPr>
        <p:blipFill>
          <a:blip r:embed="rId3"/>
          <a:srcRect/>
          <a:stretch/>
        </p:blipFill>
        <p:spPr>
          <a:xfrm>
            <a:off x="10307937" y="6308646"/>
            <a:ext cx="1440000" cy="304457"/>
          </a:xfrm>
          <a:prstGeom prst="rect">
            <a:avLst/>
          </a:prstGeom>
        </p:spPr>
      </p:pic>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7155"/>
            <a:ext cx="11233150" cy="4534233"/>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2" name="Date Placeholder 3">
            <a:extLst>
              <a:ext uri="{FF2B5EF4-FFF2-40B4-BE49-F238E27FC236}">
                <a16:creationId xmlns:a16="http://schemas.microsoft.com/office/drawing/2014/main" id="{D1A552B7-C73B-2CF6-7978-295B2CEACC1A}"/>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30FCA8BC-DC0C-73F3-FC21-90FA4AD85694}"/>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74356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logan EN">
    <p:bg>
      <p:bgPr>
        <a:solidFill>
          <a:srgbClr val="152A96"/>
        </a:solidFill>
        <a:effectLst/>
      </p:bgPr>
    </p:bg>
    <p:spTree>
      <p:nvGrpSpPr>
        <p:cNvPr id="1" name=""/>
        <p:cNvGrpSpPr/>
        <p:nvPr/>
      </p:nvGrpSpPr>
      <p:grpSpPr>
        <a:xfrm>
          <a:off x="0" y="0"/>
          <a:ext cx="0" cy="0"/>
          <a:chOff x="0" y="0"/>
          <a:chExt cx="0" cy="0"/>
        </a:xfrm>
      </p:grpSpPr>
      <p:pic>
        <p:nvPicPr>
          <p:cNvPr id="16" name="Kuva 15">
            <a:extLst>
              <a:ext uri="{FF2B5EF4-FFF2-40B4-BE49-F238E27FC236}">
                <a16:creationId xmlns:a16="http://schemas.microsoft.com/office/drawing/2014/main" id="{ADA7F5C7-CC2E-04D0-1DDD-C979ADCF7E5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208033" y="1887482"/>
            <a:ext cx="7775935" cy="3083037"/>
          </a:xfrm>
          <a:prstGeom prst="rect">
            <a:avLst/>
          </a:prstGeom>
        </p:spPr>
      </p:pic>
      <p:pic>
        <p:nvPicPr>
          <p:cNvPr id="19" name="Kuva 18">
            <a:extLst>
              <a:ext uri="{FF2B5EF4-FFF2-40B4-BE49-F238E27FC236}">
                <a16:creationId xmlns:a16="http://schemas.microsoft.com/office/drawing/2014/main" id="{BFC0D921-E5FA-C887-8972-D9CD584AA3E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345832">
            <a:off x="8412543" y="-1165516"/>
            <a:ext cx="4256989" cy="4256989"/>
          </a:xfrm>
          <a:prstGeom prst="rect">
            <a:avLst/>
          </a:prstGeom>
        </p:spPr>
      </p:pic>
      <p:pic>
        <p:nvPicPr>
          <p:cNvPr id="2" name="Kuva 1">
            <a:extLst>
              <a:ext uri="{FF2B5EF4-FFF2-40B4-BE49-F238E27FC236}">
                <a16:creationId xmlns:a16="http://schemas.microsoft.com/office/drawing/2014/main" id="{9DCF0609-0DB1-A0AE-B10D-7774FB1FEC8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208033" y="1887482"/>
            <a:ext cx="7775935" cy="3083037"/>
          </a:xfrm>
          <a:prstGeom prst="rect">
            <a:avLst/>
          </a:prstGeom>
        </p:spPr>
      </p:pic>
      <p:pic>
        <p:nvPicPr>
          <p:cNvPr id="3" name="Kuva 2">
            <a:extLst>
              <a:ext uri="{FF2B5EF4-FFF2-40B4-BE49-F238E27FC236}">
                <a16:creationId xmlns:a16="http://schemas.microsoft.com/office/drawing/2014/main" id="{27E1D4CC-8480-054B-AB25-D8BC9F96BA9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345832">
            <a:off x="8412543" y="-1165516"/>
            <a:ext cx="4256989" cy="4256989"/>
          </a:xfrm>
          <a:prstGeom prst="rect">
            <a:avLst/>
          </a:prstGeom>
        </p:spPr>
      </p:pic>
    </p:spTree>
    <p:extLst>
      <p:ext uri="{BB962C8B-B14F-4D97-AF65-F5344CB8AC3E}">
        <p14:creationId xmlns:p14="http://schemas.microsoft.com/office/powerpoint/2010/main" val="1577402507"/>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Title and two colums_korkea-turkoosi">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sp>
        <p:nvSpPr>
          <p:cNvPr id="14" name="TextBox 13">
            <a:extLst>
              <a:ext uri="{FF2B5EF4-FFF2-40B4-BE49-F238E27FC236}">
                <a16:creationId xmlns:a16="http://schemas.microsoft.com/office/drawing/2014/main" id="{F1791489-1BCC-9C83-8A7C-2F926F0FA72F}"/>
              </a:ext>
            </a:extLst>
          </p:cNvPr>
          <p:cNvSpPr txBox="1"/>
          <p:nvPr userDrawn="1"/>
        </p:nvSpPr>
        <p:spPr>
          <a:xfrm>
            <a:off x="11167872"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solidFill>
                <a:schemeClr val="bg1">
                  <a:lumMod val="50000"/>
                </a:schemeClr>
              </a:solidFill>
              <a:latin typeface="+mn-lt"/>
              <a:ea typeface="+mn-ea"/>
              <a:cs typeface="+mn-cs"/>
              <a:sym typeface="Trebuchet MS" panose="020B0603020202020204" pitchFamily="34" charset="0"/>
            </a:endParaRPr>
          </a:p>
        </p:txBody>
      </p:sp>
      <p:sp>
        <p:nvSpPr>
          <p:cNvPr id="2" name="Google Shape;28;p23">
            <a:extLst>
              <a:ext uri="{FF2B5EF4-FFF2-40B4-BE49-F238E27FC236}">
                <a16:creationId xmlns:a16="http://schemas.microsoft.com/office/drawing/2014/main" id="{8C7B4583-1299-284A-0AD4-478831DEE2E2}"/>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4" name="Picture 3">
            <a:extLst>
              <a:ext uri="{FF2B5EF4-FFF2-40B4-BE49-F238E27FC236}">
                <a16:creationId xmlns:a16="http://schemas.microsoft.com/office/drawing/2014/main" id="{18D29CED-6D8B-0689-A466-A6824E41FD51}"/>
              </a:ext>
            </a:extLst>
          </p:cNvPr>
          <p:cNvPicPr>
            <a:picLocks noChangeAspect="1"/>
          </p:cNvPicPr>
          <p:nvPr userDrawn="1"/>
        </p:nvPicPr>
        <p:blipFill>
          <a:blip r:embed="rId5"/>
          <a:srcRect/>
          <a:stretch/>
        </p:blipFill>
        <p:spPr>
          <a:xfrm>
            <a:off x="10307937" y="6308646"/>
            <a:ext cx="1440000" cy="304457"/>
          </a:xfrm>
          <a:prstGeom prst="rect">
            <a:avLst/>
          </a:prstGeom>
        </p:spPr>
      </p:pic>
      <p:sp>
        <p:nvSpPr>
          <p:cNvPr id="7" name="Date Placeholder 3">
            <a:extLst>
              <a:ext uri="{FF2B5EF4-FFF2-40B4-BE49-F238E27FC236}">
                <a16:creationId xmlns:a16="http://schemas.microsoft.com/office/drawing/2014/main" id="{78B40642-E640-ABA6-D4BF-8A77BF8C790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9" name="TextBox 8">
            <a:extLst>
              <a:ext uri="{FF2B5EF4-FFF2-40B4-BE49-F238E27FC236}">
                <a16:creationId xmlns:a16="http://schemas.microsoft.com/office/drawing/2014/main" id="{77C1AC23-78A5-F0C3-5D6C-71AAB8DAE2FA}"/>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14777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 Title, text, selected image-korkea-turkoosi">
    <p:bg>
      <p:bgPr>
        <a:solidFill>
          <a:schemeClr val="bg1"/>
        </a:solidFill>
        <a:effectLst/>
      </p:bgPr>
    </p:bg>
    <p:spTree>
      <p:nvGrpSpPr>
        <p:cNvPr id="1" name=""/>
        <p:cNvGrpSpPr/>
        <p:nvPr/>
      </p:nvGrpSpPr>
      <p:grpSpPr>
        <a:xfrm>
          <a:off x="0" y="0"/>
          <a:ext cx="0" cy="0"/>
          <a:chOff x="0" y="0"/>
          <a:chExt cx="0" cy="0"/>
        </a:xfrm>
      </p:grpSpPr>
      <p:pic>
        <p:nvPicPr>
          <p:cNvPr id="5" name="Picture Placeholder 13" descr="Hands typing on a computer&#10;&#10;Description automatically generated">
            <a:extLst>
              <a:ext uri="{FF2B5EF4-FFF2-40B4-BE49-F238E27FC236}">
                <a16:creationId xmlns:a16="http://schemas.microsoft.com/office/drawing/2014/main" id="{9269FDCE-B88F-072E-C490-AE708E8A6C7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345922" y="231782"/>
            <a:ext cx="5846078" cy="6073767"/>
          </a:xfrm>
          <a:prstGeom prst="rect">
            <a:avLst/>
          </a:prstGeom>
        </p:spPr>
      </p:pic>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4312"/>
            <a:ext cx="5686425" cy="4537075"/>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0" name="Google Shape;32;p23">
            <a:extLst>
              <a:ext uri="{FF2B5EF4-FFF2-40B4-BE49-F238E27FC236}">
                <a16:creationId xmlns:a16="http://schemas.microsoft.com/office/drawing/2014/main" id="{DA24C26F-60D6-4B1C-9DAC-87914A6D9F35}"/>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5686425"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endParaRPr lang="fi-FI"/>
          </a:p>
        </p:txBody>
      </p:sp>
      <p:sp>
        <p:nvSpPr>
          <p:cNvPr id="9" name="Google Shape;28;p23">
            <a:extLst>
              <a:ext uri="{FF2B5EF4-FFF2-40B4-BE49-F238E27FC236}">
                <a16:creationId xmlns:a16="http://schemas.microsoft.com/office/drawing/2014/main" id="{F84B88B2-BED3-9315-68F0-D68297B8C812}"/>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5" name="Picture 14">
            <a:extLst>
              <a:ext uri="{FF2B5EF4-FFF2-40B4-BE49-F238E27FC236}">
                <a16:creationId xmlns:a16="http://schemas.microsoft.com/office/drawing/2014/main" id="{FEA68DFF-558A-A615-0B4A-1C7815EDD1CF}"/>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99A11C89-B592-3EE9-42DB-237EA3C8164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3" name="TextBox 2">
            <a:extLst>
              <a:ext uri="{FF2B5EF4-FFF2-40B4-BE49-F238E27FC236}">
                <a16:creationId xmlns:a16="http://schemas.microsoft.com/office/drawing/2014/main" id="{47163AE5-00EF-9FCC-D086-AA17D226DA9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34657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 Title, text, insert image_korkea-turkoosi">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4312"/>
            <a:ext cx="5686425" cy="4537075"/>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0" name="Google Shape;32;p23">
            <a:extLst>
              <a:ext uri="{FF2B5EF4-FFF2-40B4-BE49-F238E27FC236}">
                <a16:creationId xmlns:a16="http://schemas.microsoft.com/office/drawing/2014/main" id="{DA24C26F-60D6-4B1C-9DAC-87914A6D9F35}"/>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5686425"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endParaRPr lang="fi-FI"/>
          </a:p>
        </p:txBody>
      </p:sp>
      <p:sp>
        <p:nvSpPr>
          <p:cNvPr id="6" name="Picture Placeholder 5">
            <a:extLst>
              <a:ext uri="{FF2B5EF4-FFF2-40B4-BE49-F238E27FC236}">
                <a16:creationId xmlns:a16="http://schemas.microsoft.com/office/drawing/2014/main" id="{E47ED439-3299-E5AC-BA3B-609D2F3EB589}"/>
              </a:ext>
            </a:extLst>
          </p:cNvPr>
          <p:cNvSpPr>
            <a:spLocks noGrp="1"/>
          </p:cNvSpPr>
          <p:nvPr>
            <p:ph type="pic" sz="quarter" idx="11"/>
          </p:nvPr>
        </p:nvSpPr>
        <p:spPr>
          <a:xfrm>
            <a:off x="6400800" y="238133"/>
            <a:ext cx="5791200" cy="6016752"/>
          </a:xfrm>
        </p:spPr>
        <p:txBody>
          <a:bodyPr/>
          <a:lstStyle/>
          <a:p>
            <a:endParaRPr lang="fi-FI"/>
          </a:p>
        </p:txBody>
      </p:sp>
      <p:sp>
        <p:nvSpPr>
          <p:cNvPr id="9" name="Google Shape;28;p23">
            <a:extLst>
              <a:ext uri="{FF2B5EF4-FFF2-40B4-BE49-F238E27FC236}">
                <a16:creationId xmlns:a16="http://schemas.microsoft.com/office/drawing/2014/main" id="{F84B88B2-BED3-9315-68F0-D68297B8C812}"/>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5" name="Picture 14">
            <a:extLst>
              <a:ext uri="{FF2B5EF4-FFF2-40B4-BE49-F238E27FC236}">
                <a16:creationId xmlns:a16="http://schemas.microsoft.com/office/drawing/2014/main" id="{FEA68DFF-558A-A615-0B4A-1C7815EDD1CF}"/>
              </a:ext>
            </a:extLst>
          </p:cNvPr>
          <p:cNvPicPr>
            <a:picLocks noChangeAspect="1"/>
          </p:cNvPicPr>
          <p:nvPr userDrawn="1"/>
        </p:nvPicPr>
        <p:blipFill>
          <a:blip r:embed="rId5"/>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99A11C89-B592-3EE9-42DB-237EA3C8164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3" name="TextBox 2">
            <a:extLst>
              <a:ext uri="{FF2B5EF4-FFF2-40B4-BE49-F238E27FC236}">
                <a16:creationId xmlns:a16="http://schemas.microsoft.com/office/drawing/2014/main" id="{47163AE5-00EF-9FCC-D086-AA17D226DA9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35929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7_Dark blue arrow one third &amp; bullets">
    <p:bg>
      <p:bgPr>
        <a:solidFill>
          <a:schemeClr val="bg1"/>
        </a:solidFill>
        <a:effectLst/>
      </p:bgPr>
    </p:bg>
    <p:spTree>
      <p:nvGrpSpPr>
        <p:cNvPr id="1" name=""/>
        <p:cNvGrpSpPr/>
        <p:nvPr/>
      </p:nvGrpSpPr>
      <p:grpSpPr>
        <a:xfrm>
          <a:off x="0" y="0"/>
          <a:ext cx="0" cy="0"/>
          <a:chOff x="0" y="0"/>
          <a:chExt cx="0" cy="0"/>
        </a:xfrm>
      </p:grpSpPr>
      <p:sp>
        <p:nvSpPr>
          <p:cNvPr id="2" name="Google Shape;28;p23">
            <a:extLst>
              <a:ext uri="{FF2B5EF4-FFF2-40B4-BE49-F238E27FC236}">
                <a16:creationId xmlns:a16="http://schemas.microsoft.com/office/drawing/2014/main" id="{E8865FD9-0377-A1C2-08DA-43EC7A3D7599}"/>
              </a:ext>
            </a:extLst>
          </p:cNvPr>
          <p:cNvSpPr/>
          <p:nvPr userDrawn="1"/>
        </p:nvSpPr>
        <p:spPr>
          <a:xfrm>
            <a:off x="0" y="6260122"/>
            <a:ext cx="12192000" cy="59787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5" name="Picture 4">
            <a:extLst>
              <a:ext uri="{FF2B5EF4-FFF2-40B4-BE49-F238E27FC236}">
                <a16:creationId xmlns:a16="http://schemas.microsoft.com/office/drawing/2014/main" id="{8E74D969-86FF-62F8-313B-753C983EC9BE}"/>
              </a:ext>
            </a:extLst>
          </p:cNvPr>
          <p:cNvPicPr>
            <a:picLocks noChangeAspect="1"/>
          </p:cNvPicPr>
          <p:nvPr userDrawn="1"/>
        </p:nvPicPr>
        <p:blipFill>
          <a:blip r:embed="rId3"/>
          <a:srcRect/>
          <a:stretch/>
        </p:blipFill>
        <p:spPr>
          <a:xfrm>
            <a:off x="10307937" y="6308646"/>
            <a:ext cx="1440000" cy="304457"/>
          </a:xfrm>
          <a:prstGeom prst="rect">
            <a:avLst/>
          </a:prstGeom>
        </p:spPr>
      </p:pic>
      <p:sp>
        <p:nvSpPr>
          <p:cNvPr id="13" name="Pentagon 3"/>
          <p:cNvSpPr/>
          <p:nvPr userDrawn="1"/>
        </p:nvSpPr>
        <p:spPr bwMode="white">
          <a:xfrm>
            <a:off x="0" y="-1"/>
            <a:ext cx="5177017" cy="6262577"/>
          </a:xfrm>
          <a:prstGeom prst="homePlate">
            <a:avLst>
              <a:gd name="adj" fmla="val 157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fi-FI" sz="1200">
              <a:solidFill>
                <a:prstClr val="white"/>
              </a:solidFill>
              <a:latin typeface="+mn-lt"/>
              <a:ea typeface="+mn-ea"/>
              <a:cs typeface="+mn-cs"/>
              <a:sym typeface="Trebuchet MS" panose="020B0603020202020204" pitchFamily="34" charset="0"/>
            </a:endParaRPr>
          </a:p>
        </p:txBody>
      </p:sp>
      <p:graphicFrame>
        <p:nvGraphicFramePr>
          <p:cNvPr id="3" name="Object 2" hidden="1">
            <a:extLst>
              <a:ext uri="{FF2B5EF4-FFF2-40B4-BE49-F238E27FC236}">
                <a16:creationId xmlns:a16="http://schemas.microsoft.com/office/drawing/2014/main" id="{A16F89AB-4CF7-42DB-9CAD-00C742C4CCA4}"/>
              </a:ext>
            </a:extLst>
          </p:cNvPr>
          <p:cNvGraphicFramePr>
            <a:graphicFrameLocks noChangeAspect="1"/>
          </p:cNvGraphicFramePr>
          <p:nvPr userDrawn="1">
            <p:custDataLst>
              <p:tags r:id="rId1"/>
            </p:custDataLst>
            <p:extLst>
              <p:ext uri="{D42A27DB-BD31-4B8C-83A1-F6EECF244321}">
                <p14:modId xmlns:p14="http://schemas.microsoft.com/office/powerpoint/2010/main" val="497088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a:extLst>
                          <a:ext uri="{FF2B5EF4-FFF2-40B4-BE49-F238E27FC236}">
                            <a16:creationId xmlns:a16="http://schemas.microsoft.com/office/drawing/2014/main" id="{A16F89AB-4CF7-42DB-9CAD-00C742C4CC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
          <p:cNvSpPr>
            <a:spLocks noGrp="1"/>
          </p:cNvSpPr>
          <p:nvPr>
            <p:ph type="title" hasCustomPrompt="1"/>
          </p:nvPr>
        </p:nvSpPr>
        <p:spPr>
          <a:xfrm>
            <a:off x="824948" y="1599110"/>
            <a:ext cx="3849320" cy="2690148"/>
          </a:xfrm>
          <a:prstGeom prst="rect">
            <a:avLst/>
          </a:prstGeom>
          <a:ln>
            <a:noFill/>
          </a:ln>
        </p:spPr>
        <p:txBody>
          <a:bodyPr vert="horz" lIns="0" tIns="45720" rIns="91440" bIns="45720" anchor="ctr">
            <a:noAutofit/>
          </a:bodyPr>
          <a:lstStyle>
            <a:lvl1pPr rtl="0">
              <a:defRPr sz="3000" b="0">
                <a:solidFill>
                  <a:srgbClr val="FFFFFF"/>
                </a:solidFill>
                <a:latin typeface="+mj-lt"/>
                <a:ea typeface="+mj-ea"/>
                <a:cs typeface="+mj-cs"/>
                <a:sym typeface="Trebuchet MS" panose="020B0603020202020204" pitchFamily="34" charset="0"/>
              </a:defRPr>
            </a:lvl1pPr>
          </a:lstStyle>
          <a:p>
            <a:r>
              <a:rPr lang="fi-FI" err="1"/>
              <a:t>Click</a:t>
            </a:r>
            <a:r>
              <a:rPr lang="fi-FI"/>
              <a:t> to </a:t>
            </a:r>
            <a:r>
              <a:rPr lang="fi-FI" err="1"/>
              <a:t>add</a:t>
            </a:r>
            <a:r>
              <a:rPr lang="fi-FI"/>
              <a:t> </a:t>
            </a:r>
            <a:r>
              <a:rPr lang="fi-FI" err="1"/>
              <a:t>title</a:t>
            </a:r>
            <a:endParaRPr lang="fi-FI"/>
          </a:p>
        </p:txBody>
      </p:sp>
      <p:sp>
        <p:nvSpPr>
          <p:cNvPr id="4" name="Content Placeholder 3">
            <a:extLst>
              <a:ext uri="{FF2B5EF4-FFF2-40B4-BE49-F238E27FC236}">
                <a16:creationId xmlns:a16="http://schemas.microsoft.com/office/drawing/2014/main" id="{11C7E4FD-7D8C-5EE9-61B0-29F1E0F3775B}"/>
              </a:ext>
            </a:extLst>
          </p:cNvPr>
          <p:cNvSpPr>
            <a:spLocks noGrp="1"/>
          </p:cNvSpPr>
          <p:nvPr>
            <p:ph sz="quarter" idx="10" hasCustomPrompt="1"/>
          </p:nvPr>
        </p:nvSpPr>
        <p:spPr>
          <a:xfrm>
            <a:off x="5438274" y="1001486"/>
            <a:ext cx="5896476" cy="4484914"/>
          </a:xfrm>
        </p:spPr>
        <p:txBody>
          <a:bodyPr rIns="72000" anchor="ctr" anchorCtr="0"/>
          <a:lstStyle>
            <a:lvl1pPr>
              <a:lnSpc>
                <a:spcPct val="100000"/>
              </a:lnSpc>
              <a:spcBef>
                <a:spcPts val="0"/>
              </a:spcBef>
              <a:spcAft>
                <a:spcPts val="1800"/>
              </a:spcAft>
              <a:defRPr sz="2000"/>
            </a:lvl1pPr>
            <a:lvl2pPr>
              <a:lnSpc>
                <a:spcPct val="100000"/>
              </a:lnSpc>
              <a:spcBef>
                <a:spcPts val="0"/>
              </a:spcBef>
              <a:spcAft>
                <a:spcPts val="1800"/>
              </a:spcAft>
              <a:defRPr sz="2000"/>
            </a:lvl2pPr>
            <a:lvl3pPr>
              <a:lnSpc>
                <a:spcPct val="100000"/>
              </a:lnSpc>
              <a:spcBef>
                <a:spcPts val="0"/>
              </a:spcBef>
              <a:spcAft>
                <a:spcPts val="1800"/>
              </a:spcAft>
              <a:defRPr sz="2000"/>
            </a:lvl3pPr>
          </a:lstStyle>
          <a:p>
            <a:pPr lvl="0"/>
            <a:r>
              <a:rPr lang="en-GB"/>
              <a:t>Click to edit Master text styles, font Arial</a:t>
            </a:r>
          </a:p>
          <a:p>
            <a:pPr lvl="1"/>
            <a:r>
              <a:rPr lang="en-GB"/>
              <a:t>Second level</a:t>
            </a:r>
          </a:p>
          <a:p>
            <a:pPr lvl="2"/>
            <a:r>
              <a:rPr lang="en-GB"/>
              <a:t>Third level</a:t>
            </a:r>
            <a:endParaRPr lang="fi-FI"/>
          </a:p>
        </p:txBody>
      </p:sp>
      <p:grpSp>
        <p:nvGrpSpPr>
          <p:cNvPr id="59" name="Group 58">
            <a:extLst>
              <a:ext uri="{FF2B5EF4-FFF2-40B4-BE49-F238E27FC236}">
                <a16:creationId xmlns:a16="http://schemas.microsoft.com/office/drawing/2014/main" id="{65D8B0E2-B201-DE87-FBE7-BFD19DEA17F0}"/>
              </a:ext>
            </a:extLst>
          </p:cNvPr>
          <p:cNvGrpSpPr/>
          <p:nvPr userDrawn="1"/>
        </p:nvGrpSpPr>
        <p:grpSpPr>
          <a:xfrm>
            <a:off x="252173" y="6293565"/>
            <a:ext cx="7699778" cy="504000"/>
            <a:chOff x="188377" y="6209593"/>
            <a:chExt cx="7699778" cy="548559"/>
          </a:xfrm>
          <a:solidFill>
            <a:schemeClr val="bg1"/>
          </a:solidFill>
        </p:grpSpPr>
        <p:grpSp>
          <p:nvGrpSpPr>
            <p:cNvPr id="19" name="Group 18">
              <a:extLst>
                <a:ext uri="{FF2B5EF4-FFF2-40B4-BE49-F238E27FC236}">
                  <a16:creationId xmlns:a16="http://schemas.microsoft.com/office/drawing/2014/main" id="{018B3BB4-A633-DD16-7DDC-C08E1F619F79}"/>
                </a:ext>
              </a:extLst>
            </p:cNvPr>
            <p:cNvGrpSpPr/>
            <p:nvPr userDrawn="1"/>
          </p:nvGrpSpPr>
          <p:grpSpPr>
            <a:xfrm>
              <a:off x="188377" y="6267399"/>
              <a:ext cx="126000" cy="485497"/>
              <a:chOff x="372309" y="6272654"/>
              <a:chExt cx="119465" cy="485497"/>
            </a:xfrm>
            <a:grpFill/>
          </p:grpSpPr>
          <p:sp>
            <p:nvSpPr>
              <p:cNvPr id="11" name="Rectangle 10">
                <a:extLst>
                  <a:ext uri="{FF2B5EF4-FFF2-40B4-BE49-F238E27FC236}">
                    <a16:creationId xmlns:a16="http://schemas.microsoft.com/office/drawing/2014/main" id="{F7FC2A99-4F69-0CEE-CE94-9F27EAAF417F}"/>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12" name="Rectangle 11">
                <a:extLst>
                  <a:ext uri="{FF2B5EF4-FFF2-40B4-BE49-F238E27FC236}">
                    <a16:creationId xmlns:a16="http://schemas.microsoft.com/office/drawing/2014/main" id="{BCDAD4B3-0DEC-6757-4E6B-D604A0FEE629}"/>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20" name="Group 19">
              <a:extLst>
                <a:ext uri="{FF2B5EF4-FFF2-40B4-BE49-F238E27FC236}">
                  <a16:creationId xmlns:a16="http://schemas.microsoft.com/office/drawing/2014/main" id="{7FC021DE-392E-98C1-2C61-AE1BE3981F97}"/>
                </a:ext>
              </a:extLst>
            </p:cNvPr>
            <p:cNvGrpSpPr/>
            <p:nvPr userDrawn="1"/>
          </p:nvGrpSpPr>
          <p:grpSpPr>
            <a:xfrm rot="2678555">
              <a:off x="1822738" y="6214847"/>
              <a:ext cx="126000" cy="485497"/>
              <a:chOff x="372309" y="6272654"/>
              <a:chExt cx="119465" cy="485497"/>
            </a:xfrm>
            <a:grpFill/>
          </p:grpSpPr>
          <p:sp>
            <p:nvSpPr>
              <p:cNvPr id="21" name="Rectangle 20">
                <a:extLst>
                  <a:ext uri="{FF2B5EF4-FFF2-40B4-BE49-F238E27FC236}">
                    <a16:creationId xmlns:a16="http://schemas.microsoft.com/office/drawing/2014/main" id="{88803CC6-A180-1BA4-4446-679BC2788C37}"/>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22" name="Rectangle 21">
                <a:extLst>
                  <a:ext uri="{FF2B5EF4-FFF2-40B4-BE49-F238E27FC236}">
                    <a16:creationId xmlns:a16="http://schemas.microsoft.com/office/drawing/2014/main" id="{A853675A-267C-A296-6543-3D909C609826}"/>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23" name="Group 22">
              <a:extLst>
                <a:ext uri="{FF2B5EF4-FFF2-40B4-BE49-F238E27FC236}">
                  <a16:creationId xmlns:a16="http://schemas.microsoft.com/office/drawing/2014/main" id="{FA142C47-8CEC-F6F7-0774-DCB97D4B0E36}"/>
                </a:ext>
              </a:extLst>
            </p:cNvPr>
            <p:cNvGrpSpPr/>
            <p:nvPr userDrawn="1"/>
          </p:nvGrpSpPr>
          <p:grpSpPr>
            <a:xfrm rot="18881942">
              <a:off x="939868" y="6340970"/>
              <a:ext cx="126000" cy="485497"/>
              <a:chOff x="372309" y="6272654"/>
              <a:chExt cx="119465" cy="485497"/>
            </a:xfrm>
            <a:grpFill/>
          </p:grpSpPr>
          <p:sp>
            <p:nvSpPr>
              <p:cNvPr id="24" name="Rectangle 23">
                <a:extLst>
                  <a:ext uri="{FF2B5EF4-FFF2-40B4-BE49-F238E27FC236}">
                    <a16:creationId xmlns:a16="http://schemas.microsoft.com/office/drawing/2014/main" id="{7DF86EC7-1303-6B4C-B88B-2FC3987E8668}"/>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25" name="Rectangle 24">
                <a:extLst>
                  <a:ext uri="{FF2B5EF4-FFF2-40B4-BE49-F238E27FC236}">
                    <a16:creationId xmlns:a16="http://schemas.microsoft.com/office/drawing/2014/main" id="{C938322D-60DA-3E2A-6E03-6E05FE4C2FAB}"/>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35" name="Group 34">
              <a:extLst>
                <a:ext uri="{FF2B5EF4-FFF2-40B4-BE49-F238E27FC236}">
                  <a16:creationId xmlns:a16="http://schemas.microsoft.com/office/drawing/2014/main" id="{C490ABB3-4F70-AEE1-FAB8-859078AFB942}"/>
                </a:ext>
              </a:extLst>
            </p:cNvPr>
            <p:cNvGrpSpPr/>
            <p:nvPr userDrawn="1"/>
          </p:nvGrpSpPr>
          <p:grpSpPr>
            <a:xfrm>
              <a:off x="3215357" y="6267400"/>
              <a:ext cx="126000" cy="485497"/>
              <a:chOff x="372309" y="6272654"/>
              <a:chExt cx="119465" cy="485497"/>
            </a:xfrm>
            <a:grpFill/>
          </p:grpSpPr>
          <p:sp>
            <p:nvSpPr>
              <p:cNvPr id="36" name="Rectangle 35">
                <a:extLst>
                  <a:ext uri="{FF2B5EF4-FFF2-40B4-BE49-F238E27FC236}">
                    <a16:creationId xmlns:a16="http://schemas.microsoft.com/office/drawing/2014/main" id="{0B43D687-8C1B-021A-BE84-4BC1D19395F0}"/>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37" name="Rectangle 36">
                <a:extLst>
                  <a:ext uri="{FF2B5EF4-FFF2-40B4-BE49-F238E27FC236}">
                    <a16:creationId xmlns:a16="http://schemas.microsoft.com/office/drawing/2014/main" id="{F5C367CE-CED1-AEBD-622B-FBF122C03A8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38" name="Group 37">
              <a:extLst>
                <a:ext uri="{FF2B5EF4-FFF2-40B4-BE49-F238E27FC236}">
                  <a16:creationId xmlns:a16="http://schemas.microsoft.com/office/drawing/2014/main" id="{4664A8EB-A51F-01D1-FD39-8E0D91A9829D}"/>
                </a:ext>
              </a:extLst>
            </p:cNvPr>
            <p:cNvGrpSpPr/>
            <p:nvPr userDrawn="1"/>
          </p:nvGrpSpPr>
          <p:grpSpPr>
            <a:xfrm rot="2678555">
              <a:off x="4849718" y="6214848"/>
              <a:ext cx="126000" cy="485497"/>
              <a:chOff x="372309" y="6272654"/>
              <a:chExt cx="119465" cy="485497"/>
            </a:xfrm>
            <a:grpFill/>
          </p:grpSpPr>
          <p:sp>
            <p:nvSpPr>
              <p:cNvPr id="39" name="Rectangle 38">
                <a:extLst>
                  <a:ext uri="{FF2B5EF4-FFF2-40B4-BE49-F238E27FC236}">
                    <a16:creationId xmlns:a16="http://schemas.microsoft.com/office/drawing/2014/main" id="{26F72560-1E1C-CE90-D951-464FCC2B3427}"/>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0" name="Rectangle 39">
                <a:extLst>
                  <a:ext uri="{FF2B5EF4-FFF2-40B4-BE49-F238E27FC236}">
                    <a16:creationId xmlns:a16="http://schemas.microsoft.com/office/drawing/2014/main" id="{B6FB0DA2-DF64-A3E5-59DF-405EC23CDDF8}"/>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1" name="Group 40">
              <a:extLst>
                <a:ext uri="{FF2B5EF4-FFF2-40B4-BE49-F238E27FC236}">
                  <a16:creationId xmlns:a16="http://schemas.microsoft.com/office/drawing/2014/main" id="{5514B5D8-B243-512F-797E-F51B11B21EE8}"/>
                </a:ext>
              </a:extLst>
            </p:cNvPr>
            <p:cNvGrpSpPr/>
            <p:nvPr userDrawn="1"/>
          </p:nvGrpSpPr>
          <p:grpSpPr>
            <a:xfrm rot="18881942">
              <a:off x="3966848" y="6340971"/>
              <a:ext cx="126000" cy="485497"/>
              <a:chOff x="372309" y="6272654"/>
              <a:chExt cx="119465" cy="485497"/>
            </a:xfrm>
            <a:grpFill/>
          </p:grpSpPr>
          <p:sp>
            <p:nvSpPr>
              <p:cNvPr id="42" name="Rectangle 41">
                <a:extLst>
                  <a:ext uri="{FF2B5EF4-FFF2-40B4-BE49-F238E27FC236}">
                    <a16:creationId xmlns:a16="http://schemas.microsoft.com/office/drawing/2014/main" id="{2807236D-706C-C495-EC56-13BC11F037DA}"/>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3" name="Rectangle 42">
                <a:extLst>
                  <a:ext uri="{FF2B5EF4-FFF2-40B4-BE49-F238E27FC236}">
                    <a16:creationId xmlns:a16="http://schemas.microsoft.com/office/drawing/2014/main" id="{1F91F07C-F34B-C61C-C7E5-715A4CF0022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4" name="Group 43">
              <a:extLst>
                <a:ext uri="{FF2B5EF4-FFF2-40B4-BE49-F238E27FC236}">
                  <a16:creationId xmlns:a16="http://schemas.microsoft.com/office/drawing/2014/main" id="{56008001-891A-4C16-80A4-23015A4389A9}"/>
                </a:ext>
              </a:extLst>
            </p:cNvPr>
            <p:cNvGrpSpPr/>
            <p:nvPr userDrawn="1"/>
          </p:nvGrpSpPr>
          <p:grpSpPr>
            <a:xfrm rot="5400000">
              <a:off x="2479632" y="6409289"/>
              <a:ext cx="126000" cy="485497"/>
              <a:chOff x="372309" y="6272654"/>
              <a:chExt cx="119465" cy="485497"/>
            </a:xfrm>
            <a:grpFill/>
          </p:grpSpPr>
          <p:sp>
            <p:nvSpPr>
              <p:cNvPr id="45" name="Rectangle 44">
                <a:extLst>
                  <a:ext uri="{FF2B5EF4-FFF2-40B4-BE49-F238E27FC236}">
                    <a16:creationId xmlns:a16="http://schemas.microsoft.com/office/drawing/2014/main" id="{1C9DD28C-8C97-39EE-46EF-B1CDA3375AB6}"/>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6" name="Rectangle 45">
                <a:extLst>
                  <a:ext uri="{FF2B5EF4-FFF2-40B4-BE49-F238E27FC236}">
                    <a16:creationId xmlns:a16="http://schemas.microsoft.com/office/drawing/2014/main" id="{84B933B2-9F8B-47D5-BD5B-C70CD2F4A4A9}"/>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7" name="Group 46">
              <a:extLst>
                <a:ext uri="{FF2B5EF4-FFF2-40B4-BE49-F238E27FC236}">
                  <a16:creationId xmlns:a16="http://schemas.microsoft.com/office/drawing/2014/main" id="{C32DA56A-9F7A-16A0-0A6F-DEEFE40B85B3}"/>
                </a:ext>
              </a:extLst>
            </p:cNvPr>
            <p:cNvGrpSpPr/>
            <p:nvPr userDrawn="1"/>
          </p:nvGrpSpPr>
          <p:grpSpPr>
            <a:xfrm rot="5400000">
              <a:off x="5501358" y="6414547"/>
              <a:ext cx="126000" cy="485497"/>
              <a:chOff x="372309" y="6272654"/>
              <a:chExt cx="119465" cy="485497"/>
            </a:xfrm>
            <a:grpFill/>
          </p:grpSpPr>
          <p:sp>
            <p:nvSpPr>
              <p:cNvPr id="48" name="Rectangle 47">
                <a:extLst>
                  <a:ext uri="{FF2B5EF4-FFF2-40B4-BE49-F238E27FC236}">
                    <a16:creationId xmlns:a16="http://schemas.microsoft.com/office/drawing/2014/main" id="{DC65C60A-12FB-BBF4-6147-FACA04B9EECE}"/>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9" name="Rectangle 48">
                <a:extLst>
                  <a:ext uri="{FF2B5EF4-FFF2-40B4-BE49-F238E27FC236}">
                    <a16:creationId xmlns:a16="http://schemas.microsoft.com/office/drawing/2014/main" id="{2AA4D70C-09BA-C362-A2D6-5F31D9F851F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0" name="Group 49">
              <a:extLst>
                <a:ext uri="{FF2B5EF4-FFF2-40B4-BE49-F238E27FC236}">
                  <a16:creationId xmlns:a16="http://schemas.microsoft.com/office/drawing/2014/main" id="{842A9FDE-5A82-ABD6-93FF-91FE2535F7DF}"/>
                </a:ext>
              </a:extLst>
            </p:cNvPr>
            <p:cNvGrpSpPr/>
            <p:nvPr userDrawn="1"/>
          </p:nvGrpSpPr>
          <p:grpSpPr>
            <a:xfrm>
              <a:off x="6242337" y="6272655"/>
              <a:ext cx="126000" cy="485497"/>
              <a:chOff x="372309" y="6272654"/>
              <a:chExt cx="119465" cy="485497"/>
            </a:xfrm>
            <a:grpFill/>
          </p:grpSpPr>
          <p:sp>
            <p:nvSpPr>
              <p:cNvPr id="51" name="Rectangle 50">
                <a:extLst>
                  <a:ext uri="{FF2B5EF4-FFF2-40B4-BE49-F238E27FC236}">
                    <a16:creationId xmlns:a16="http://schemas.microsoft.com/office/drawing/2014/main" id="{7140C44F-6322-91E1-402E-5C86B423D5C5}"/>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2" name="Rectangle 51">
                <a:extLst>
                  <a:ext uri="{FF2B5EF4-FFF2-40B4-BE49-F238E27FC236}">
                    <a16:creationId xmlns:a16="http://schemas.microsoft.com/office/drawing/2014/main" id="{C0220DEA-71E5-642E-2224-119C3B601E46}"/>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3" name="Group 52">
              <a:extLst>
                <a:ext uri="{FF2B5EF4-FFF2-40B4-BE49-F238E27FC236}">
                  <a16:creationId xmlns:a16="http://schemas.microsoft.com/office/drawing/2014/main" id="{FAC451F2-5C1A-C624-0B78-B16A07AE68D3}"/>
                </a:ext>
              </a:extLst>
            </p:cNvPr>
            <p:cNvGrpSpPr/>
            <p:nvPr userDrawn="1"/>
          </p:nvGrpSpPr>
          <p:grpSpPr>
            <a:xfrm rot="2678555">
              <a:off x="6925511" y="6209593"/>
              <a:ext cx="126000" cy="485497"/>
              <a:chOff x="372309" y="6272654"/>
              <a:chExt cx="119465" cy="485497"/>
            </a:xfrm>
            <a:grpFill/>
          </p:grpSpPr>
          <p:sp>
            <p:nvSpPr>
              <p:cNvPr id="54" name="Rectangle 53">
                <a:extLst>
                  <a:ext uri="{FF2B5EF4-FFF2-40B4-BE49-F238E27FC236}">
                    <a16:creationId xmlns:a16="http://schemas.microsoft.com/office/drawing/2014/main" id="{D0516035-B055-2078-2040-646FAD6D08B9}"/>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5" name="Rectangle 54">
                <a:extLst>
                  <a:ext uri="{FF2B5EF4-FFF2-40B4-BE49-F238E27FC236}">
                    <a16:creationId xmlns:a16="http://schemas.microsoft.com/office/drawing/2014/main" id="{C89E3CBA-50CD-C288-84AC-B373B3235913}"/>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6" name="Group 55">
              <a:extLst>
                <a:ext uri="{FF2B5EF4-FFF2-40B4-BE49-F238E27FC236}">
                  <a16:creationId xmlns:a16="http://schemas.microsoft.com/office/drawing/2014/main" id="{1E737443-9DCD-0E27-1926-E6AF646DF0A6}"/>
                </a:ext>
              </a:extLst>
            </p:cNvPr>
            <p:cNvGrpSpPr/>
            <p:nvPr userDrawn="1"/>
          </p:nvGrpSpPr>
          <p:grpSpPr>
            <a:xfrm rot="5400000">
              <a:off x="7582407" y="6409293"/>
              <a:ext cx="126000" cy="485497"/>
              <a:chOff x="372309" y="6272654"/>
              <a:chExt cx="119465" cy="485497"/>
            </a:xfrm>
            <a:grpFill/>
          </p:grpSpPr>
          <p:sp>
            <p:nvSpPr>
              <p:cNvPr id="57" name="Rectangle 56">
                <a:extLst>
                  <a:ext uri="{FF2B5EF4-FFF2-40B4-BE49-F238E27FC236}">
                    <a16:creationId xmlns:a16="http://schemas.microsoft.com/office/drawing/2014/main" id="{049F2289-973A-6ED7-7686-B1AB8B696443}"/>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8" name="Rectangle 57">
                <a:extLst>
                  <a:ext uri="{FF2B5EF4-FFF2-40B4-BE49-F238E27FC236}">
                    <a16:creationId xmlns:a16="http://schemas.microsoft.com/office/drawing/2014/main" id="{27E43809-2663-128F-7674-FD725DA1BE8A}"/>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sp>
        <p:nvSpPr>
          <p:cNvPr id="8" name="Date Placeholder 3">
            <a:extLst>
              <a:ext uri="{FF2B5EF4-FFF2-40B4-BE49-F238E27FC236}">
                <a16:creationId xmlns:a16="http://schemas.microsoft.com/office/drawing/2014/main" id="{5E1E01F6-0547-EF2D-4A41-708004048082}"/>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9" name="TextBox 8">
            <a:extLst>
              <a:ext uri="{FF2B5EF4-FFF2-40B4-BE49-F238E27FC236}">
                <a16:creationId xmlns:a16="http://schemas.microsoft.com/office/drawing/2014/main" id="{F9D24FEB-9500-8636-96AC-5386E1C03E45}"/>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43406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nd Text_violetti-viiva">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6626352"/>
            <a:ext cx="12192000" cy="231648"/>
          </a:xfrm>
          <a:prstGeom prst="rect">
            <a:avLst/>
          </a:prstGeom>
          <a:solidFill>
            <a:schemeClr val="accent4"/>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80000" y="1487157"/>
            <a:ext cx="11232000" cy="4534232"/>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80000" y="420568"/>
            <a:ext cx="1123200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5" name="Google Shape;32;p23">
            <a:extLst>
              <a:ext uri="{FF2B5EF4-FFF2-40B4-BE49-F238E27FC236}">
                <a16:creationId xmlns:a16="http://schemas.microsoft.com/office/drawing/2014/main" id="{E842F218-9B9C-1BBD-9207-603727AC8B16}"/>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2" name="Picture 1" descr="A blue letters on a black background&#10;&#10;Description automatically generated">
            <a:extLst>
              <a:ext uri="{FF2B5EF4-FFF2-40B4-BE49-F238E27FC236}">
                <a16:creationId xmlns:a16="http://schemas.microsoft.com/office/drawing/2014/main" id="{611BAAC7-4D32-4AC3-9D01-51CBC6D72B15}"/>
              </a:ext>
            </a:extLst>
          </p:cNvPr>
          <p:cNvPicPr>
            <a:picLocks noChangeAspect="1"/>
          </p:cNvPicPr>
          <p:nvPr userDrawn="1"/>
        </p:nvPicPr>
        <p:blipFill>
          <a:blip r:embed="rId5"/>
          <a:stretch>
            <a:fillRect/>
          </a:stretch>
        </p:blipFill>
        <p:spPr>
          <a:xfrm>
            <a:off x="10307937" y="6228261"/>
            <a:ext cx="1440000" cy="304460"/>
          </a:xfrm>
          <a:prstGeom prst="rect">
            <a:avLst/>
          </a:prstGeom>
        </p:spPr>
      </p:pic>
      <p:sp>
        <p:nvSpPr>
          <p:cNvPr id="3" name="Date Placeholder 3">
            <a:extLst>
              <a:ext uri="{FF2B5EF4-FFF2-40B4-BE49-F238E27FC236}">
                <a16:creationId xmlns:a16="http://schemas.microsoft.com/office/drawing/2014/main" id="{4ECEE2D2-C365-477E-5F60-7D9C13005852}"/>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0" name="TextBox 9">
            <a:extLst>
              <a:ext uri="{FF2B5EF4-FFF2-40B4-BE49-F238E27FC236}">
                <a16:creationId xmlns:a16="http://schemas.microsoft.com/office/drawing/2014/main" id="{C11B361E-F184-150E-BE92-C96F7E5CBDF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83390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Title and two colums_violetti-viiva">
    <p:spTree>
      <p:nvGrpSpPr>
        <p:cNvPr id="1" name=""/>
        <p:cNvGrpSpPr/>
        <p:nvPr/>
      </p:nvGrpSpPr>
      <p:grpSpPr>
        <a:xfrm>
          <a:off x="0" y="0"/>
          <a:ext cx="0" cy="0"/>
          <a:chOff x="0" y="0"/>
          <a:chExt cx="0" cy="0"/>
        </a:xfrm>
      </p:grpSpPr>
      <p:sp>
        <p:nvSpPr>
          <p:cNvPr id="2" name="Google Shape;32;p23">
            <a:extLst>
              <a:ext uri="{FF2B5EF4-FFF2-40B4-BE49-F238E27FC236}">
                <a16:creationId xmlns:a16="http://schemas.microsoft.com/office/drawing/2014/main" id="{CD2E6237-A93E-BB5B-2F5A-701746E1116B}"/>
              </a:ext>
            </a:extLst>
          </p:cNvPr>
          <p:cNvSpPr/>
          <p:nvPr userDrawn="1"/>
        </p:nvSpPr>
        <p:spPr>
          <a:xfrm>
            <a:off x="0" y="6626352"/>
            <a:ext cx="12192000" cy="231648"/>
          </a:xfrm>
          <a:prstGeom prst="rect">
            <a:avLst/>
          </a:prstGeom>
          <a:solidFill>
            <a:schemeClr val="accent4"/>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pic>
        <p:nvPicPr>
          <p:cNvPr id="7" name="Picture 6" descr="A blue letters on a black background&#10;&#10;Description automatically generated">
            <a:extLst>
              <a:ext uri="{FF2B5EF4-FFF2-40B4-BE49-F238E27FC236}">
                <a16:creationId xmlns:a16="http://schemas.microsoft.com/office/drawing/2014/main" id="{E452BFB9-883C-3A01-DF20-097943603D70}"/>
              </a:ext>
            </a:extLst>
          </p:cNvPr>
          <p:cNvPicPr>
            <a:picLocks noChangeAspect="1"/>
          </p:cNvPicPr>
          <p:nvPr userDrawn="1"/>
        </p:nvPicPr>
        <p:blipFill>
          <a:blip r:embed="rId5"/>
          <a:stretch>
            <a:fillRect/>
          </a:stretch>
        </p:blipFill>
        <p:spPr>
          <a:xfrm>
            <a:off x="10307937" y="6228261"/>
            <a:ext cx="1440000" cy="304460"/>
          </a:xfrm>
          <a:prstGeom prst="rect">
            <a:avLst/>
          </a:prstGeom>
        </p:spPr>
      </p:pic>
      <p:sp>
        <p:nvSpPr>
          <p:cNvPr id="4" name="Date Placeholder 3">
            <a:extLst>
              <a:ext uri="{FF2B5EF4-FFF2-40B4-BE49-F238E27FC236}">
                <a16:creationId xmlns:a16="http://schemas.microsoft.com/office/drawing/2014/main" id="{888DA92B-704D-CC36-C347-491267D7EA19}"/>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7464B5EE-33C3-8290-A123-9CB6BC10CE40}"/>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4194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Title and Text_korkea_violetti">
    <p:bg>
      <p:bgPr>
        <a:solidFill>
          <a:schemeClr val="bg1"/>
        </a:solidFill>
        <a:effectLst/>
      </p:bgPr>
    </p:bg>
    <p:spTree>
      <p:nvGrpSpPr>
        <p:cNvPr id="1" name=""/>
        <p:cNvGrpSpPr/>
        <p:nvPr/>
      </p:nvGrpSpPr>
      <p:grpSpPr>
        <a:xfrm>
          <a:off x="0" y="0"/>
          <a:ext cx="0" cy="0"/>
          <a:chOff x="0" y="0"/>
          <a:chExt cx="0" cy="0"/>
        </a:xfrm>
      </p:grpSpPr>
      <p:sp>
        <p:nvSpPr>
          <p:cNvPr id="10" name="Google Shape;28;p23">
            <a:extLst>
              <a:ext uri="{FF2B5EF4-FFF2-40B4-BE49-F238E27FC236}">
                <a16:creationId xmlns:a16="http://schemas.microsoft.com/office/drawing/2014/main" id="{E2674F69-89F5-40FA-2704-505F9BA04F79}"/>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1" name="Picture 10">
            <a:extLst>
              <a:ext uri="{FF2B5EF4-FFF2-40B4-BE49-F238E27FC236}">
                <a16:creationId xmlns:a16="http://schemas.microsoft.com/office/drawing/2014/main" id="{C1A5219F-72BA-F147-CB43-61FF228F4825}"/>
              </a:ext>
            </a:extLst>
          </p:cNvPr>
          <p:cNvPicPr>
            <a:picLocks noChangeAspect="1"/>
          </p:cNvPicPr>
          <p:nvPr userDrawn="1"/>
        </p:nvPicPr>
        <p:blipFill>
          <a:blip r:embed="rId3"/>
          <a:srcRect/>
          <a:stretch/>
        </p:blipFill>
        <p:spPr>
          <a:xfrm>
            <a:off x="10307937" y="6308646"/>
            <a:ext cx="1440000" cy="304457"/>
          </a:xfrm>
          <a:prstGeom prst="rect">
            <a:avLst/>
          </a:prstGeom>
        </p:spPr>
      </p:pic>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7155"/>
            <a:ext cx="11233150" cy="4534233"/>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2" name="Date Placeholder 3">
            <a:extLst>
              <a:ext uri="{FF2B5EF4-FFF2-40B4-BE49-F238E27FC236}">
                <a16:creationId xmlns:a16="http://schemas.microsoft.com/office/drawing/2014/main" id="{D1A552B7-C73B-2CF6-7978-295B2CEACC1A}"/>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30FCA8BC-DC0C-73F3-FC21-90FA4AD85694}"/>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56782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6_Title and two colums_korkea _violetti">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userDrawn="1">
            <p:custDataLst>
              <p:tags r:id="rId1"/>
            </p:custDataLst>
            <p:extLst>
              <p:ext uri="{D42A27DB-BD31-4B8C-83A1-F6EECF244321}">
                <p14:modId xmlns:p14="http://schemas.microsoft.com/office/powerpoint/2010/main" val="264745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32;p23">
            <a:extLst>
              <a:ext uri="{FF2B5EF4-FFF2-40B4-BE49-F238E27FC236}">
                <a16:creationId xmlns:a16="http://schemas.microsoft.com/office/drawing/2014/main" id="{42D9AA39-E443-4F62-A733-F200D8CEDF17}"/>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0" name="Title 4">
            <a:extLst>
              <a:ext uri="{FF2B5EF4-FFF2-40B4-BE49-F238E27FC236}">
                <a16:creationId xmlns:a16="http://schemas.microsoft.com/office/drawing/2014/main" id="{1D8D1255-EBA7-1BA7-4843-856D561EBB3F}"/>
              </a:ext>
            </a:extLst>
          </p:cNvPr>
          <p:cNvSpPr>
            <a:spLocks noGrp="1"/>
          </p:cNvSpPr>
          <p:nvPr>
            <p:ph type="title" hasCustomPrompt="1"/>
          </p:nvPr>
        </p:nvSpPr>
        <p:spPr>
          <a:xfrm>
            <a:off x="479425" y="423763"/>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8" name="Tekstin paikkamerkki 5">
            <a:extLst>
              <a:ext uri="{FF2B5EF4-FFF2-40B4-BE49-F238E27FC236}">
                <a16:creationId xmlns:a16="http://schemas.microsoft.com/office/drawing/2014/main" id="{4077C1E9-2D95-27B2-ADB8-F19CE283349C}"/>
              </a:ext>
            </a:extLst>
          </p:cNvPr>
          <p:cNvSpPr>
            <a:spLocks noGrp="1"/>
          </p:cNvSpPr>
          <p:nvPr>
            <p:ph type="body" sz="quarter" idx="11"/>
          </p:nvPr>
        </p:nvSpPr>
        <p:spPr>
          <a:xfrm>
            <a:off x="479426" y="1484313"/>
            <a:ext cx="5477622"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sp>
        <p:nvSpPr>
          <p:cNvPr id="11" name="Tekstin paikkamerkki 5">
            <a:extLst>
              <a:ext uri="{FF2B5EF4-FFF2-40B4-BE49-F238E27FC236}">
                <a16:creationId xmlns:a16="http://schemas.microsoft.com/office/drawing/2014/main" id="{361D1F0D-E570-B296-285C-EE313BF59742}"/>
              </a:ext>
            </a:extLst>
          </p:cNvPr>
          <p:cNvSpPr>
            <a:spLocks noGrp="1"/>
          </p:cNvSpPr>
          <p:nvPr>
            <p:ph type="body" sz="quarter" idx="14"/>
          </p:nvPr>
        </p:nvSpPr>
        <p:spPr>
          <a:xfrm>
            <a:off x="6202017" y="1484313"/>
            <a:ext cx="5510558" cy="4537075"/>
          </a:xfrm>
          <a:prstGeom prst="rect">
            <a:avLst/>
          </a:prstGeom>
        </p:spPr>
        <p:txBody>
          <a:bodyPr rIns="0"/>
          <a:lstStyle>
            <a:lvl1pPr>
              <a:lnSpc>
                <a:spcPct val="100000"/>
              </a:lnSpc>
              <a:spcBef>
                <a:spcPts val="0"/>
              </a:spcBef>
              <a:spcAft>
                <a:spcPts val="600"/>
              </a:spcAft>
              <a:defRPr sz="1800" b="0" i="0">
                <a:latin typeface="+mn-lt"/>
                <a:cs typeface="Calibri" panose="020F0502020204030204" pitchFamily="34" charset="0"/>
              </a:defRPr>
            </a:lvl1pPr>
            <a:lvl2pPr>
              <a:defRPr sz="1500" b="0" i="0">
                <a:latin typeface="Gilroy" pitchFamily="2" charset="77"/>
              </a:defRPr>
            </a:lvl2pPr>
            <a:lvl3pPr>
              <a:defRPr sz="1500" b="0" i="0">
                <a:latin typeface="Gilroy" pitchFamily="2" charset="77"/>
              </a:defRPr>
            </a:lvl3pPr>
            <a:lvl4pPr>
              <a:defRPr sz="1500" b="0" i="0">
                <a:latin typeface="Gilroy" pitchFamily="2" charset="77"/>
              </a:defRPr>
            </a:lvl4pPr>
            <a:lvl5pPr>
              <a:defRPr sz="1500" b="0" i="0">
                <a:latin typeface="Gilroy" pitchFamily="2" charset="77"/>
              </a:defRPr>
            </a:lvl5pPr>
          </a:lstStyle>
          <a:p>
            <a:pPr lvl="0"/>
            <a:endParaRPr lang="fi-FI"/>
          </a:p>
        </p:txBody>
      </p:sp>
      <p:sp>
        <p:nvSpPr>
          <p:cNvPr id="14" name="TextBox 13">
            <a:extLst>
              <a:ext uri="{FF2B5EF4-FFF2-40B4-BE49-F238E27FC236}">
                <a16:creationId xmlns:a16="http://schemas.microsoft.com/office/drawing/2014/main" id="{F1791489-1BCC-9C83-8A7C-2F926F0FA72F}"/>
              </a:ext>
            </a:extLst>
          </p:cNvPr>
          <p:cNvSpPr txBox="1"/>
          <p:nvPr userDrawn="1"/>
        </p:nvSpPr>
        <p:spPr>
          <a:xfrm>
            <a:off x="11167872"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solidFill>
                <a:schemeClr val="bg1">
                  <a:lumMod val="50000"/>
                </a:schemeClr>
              </a:solidFill>
              <a:latin typeface="+mn-lt"/>
              <a:ea typeface="+mn-ea"/>
              <a:cs typeface="+mn-cs"/>
              <a:sym typeface="Trebuchet MS" panose="020B0603020202020204" pitchFamily="34" charset="0"/>
            </a:endParaRPr>
          </a:p>
        </p:txBody>
      </p:sp>
      <p:sp>
        <p:nvSpPr>
          <p:cNvPr id="2" name="Google Shape;28;p23">
            <a:extLst>
              <a:ext uri="{FF2B5EF4-FFF2-40B4-BE49-F238E27FC236}">
                <a16:creationId xmlns:a16="http://schemas.microsoft.com/office/drawing/2014/main" id="{8C7B4583-1299-284A-0AD4-478831DEE2E2}"/>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4" name="Picture 3">
            <a:extLst>
              <a:ext uri="{FF2B5EF4-FFF2-40B4-BE49-F238E27FC236}">
                <a16:creationId xmlns:a16="http://schemas.microsoft.com/office/drawing/2014/main" id="{18D29CED-6D8B-0689-A466-A6824E41FD51}"/>
              </a:ext>
            </a:extLst>
          </p:cNvPr>
          <p:cNvPicPr>
            <a:picLocks noChangeAspect="1"/>
          </p:cNvPicPr>
          <p:nvPr userDrawn="1"/>
        </p:nvPicPr>
        <p:blipFill>
          <a:blip r:embed="rId5"/>
          <a:srcRect/>
          <a:stretch/>
        </p:blipFill>
        <p:spPr>
          <a:xfrm>
            <a:off x="10307937" y="6308646"/>
            <a:ext cx="1440000" cy="304457"/>
          </a:xfrm>
          <a:prstGeom prst="rect">
            <a:avLst/>
          </a:prstGeom>
        </p:spPr>
      </p:pic>
      <p:sp>
        <p:nvSpPr>
          <p:cNvPr id="7" name="Date Placeholder 3">
            <a:extLst>
              <a:ext uri="{FF2B5EF4-FFF2-40B4-BE49-F238E27FC236}">
                <a16:creationId xmlns:a16="http://schemas.microsoft.com/office/drawing/2014/main" id="{549B75F9-8A55-117B-C8F3-0840E39CBD1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9" name="TextBox 8">
            <a:extLst>
              <a:ext uri="{FF2B5EF4-FFF2-40B4-BE49-F238E27FC236}">
                <a16:creationId xmlns:a16="http://schemas.microsoft.com/office/drawing/2014/main" id="{A51C4B8E-3AFA-5A8C-8601-E18456D835AB}"/>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96124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text and selected image_korkea_violetti">
    <p:bg>
      <p:bgPr>
        <a:solidFill>
          <a:schemeClr val="bg1"/>
        </a:solidFill>
        <a:effectLst/>
      </p:bgPr>
    </p:bg>
    <p:spTree>
      <p:nvGrpSpPr>
        <p:cNvPr id="1" name=""/>
        <p:cNvGrpSpPr/>
        <p:nvPr/>
      </p:nvGrpSpPr>
      <p:grpSpPr>
        <a:xfrm>
          <a:off x="0" y="0"/>
          <a:ext cx="0" cy="0"/>
          <a:chOff x="0" y="0"/>
          <a:chExt cx="0" cy="0"/>
        </a:xfrm>
      </p:grpSpPr>
      <p:pic>
        <p:nvPicPr>
          <p:cNvPr id="5" name="Picture Placeholder 7" descr="A person and a child walking in a train station&#10;&#10;Description automatically generated">
            <a:extLst>
              <a:ext uri="{FF2B5EF4-FFF2-40B4-BE49-F238E27FC236}">
                <a16:creationId xmlns:a16="http://schemas.microsoft.com/office/drawing/2014/main" id="{BEBC3374-510B-A2EE-5162-CDE399494231}"/>
              </a:ext>
            </a:extLst>
          </p:cNvPr>
          <p:cNvPicPr>
            <a:picLocks noChangeAspect="1"/>
          </p:cNvPicPr>
          <p:nvPr userDrawn="1"/>
        </p:nvPicPr>
        <p:blipFill rotWithShape="1">
          <a:blip r:embed="rId3"/>
          <a:srcRect l="17916" r="17916"/>
          <a:stretch/>
        </p:blipFill>
        <p:spPr>
          <a:xfrm>
            <a:off x="6388100" y="231782"/>
            <a:ext cx="5803900" cy="6029947"/>
          </a:xfrm>
          <a:prstGeom prst="rect">
            <a:avLst/>
          </a:prstGeom>
        </p:spPr>
      </p:pic>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4312"/>
            <a:ext cx="5686425" cy="4537075"/>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0" name="Google Shape;32;p23">
            <a:extLst>
              <a:ext uri="{FF2B5EF4-FFF2-40B4-BE49-F238E27FC236}">
                <a16:creationId xmlns:a16="http://schemas.microsoft.com/office/drawing/2014/main" id="{DA24C26F-60D6-4B1C-9DAC-87914A6D9F35}"/>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5686425"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endParaRPr lang="fi-FI"/>
          </a:p>
        </p:txBody>
      </p:sp>
      <p:sp>
        <p:nvSpPr>
          <p:cNvPr id="9" name="Google Shape;28;p23">
            <a:extLst>
              <a:ext uri="{FF2B5EF4-FFF2-40B4-BE49-F238E27FC236}">
                <a16:creationId xmlns:a16="http://schemas.microsoft.com/office/drawing/2014/main" id="{F84B88B2-BED3-9315-68F0-D68297B8C812}"/>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5" name="Picture 14">
            <a:extLst>
              <a:ext uri="{FF2B5EF4-FFF2-40B4-BE49-F238E27FC236}">
                <a16:creationId xmlns:a16="http://schemas.microsoft.com/office/drawing/2014/main" id="{FEA68DFF-558A-A615-0B4A-1C7815EDD1CF}"/>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99A11C89-B592-3EE9-42DB-237EA3C8164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3" name="TextBox 2">
            <a:extLst>
              <a:ext uri="{FF2B5EF4-FFF2-40B4-BE49-F238E27FC236}">
                <a16:creationId xmlns:a16="http://schemas.microsoft.com/office/drawing/2014/main" id="{47163AE5-00EF-9FCC-D086-AA17D226DA9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77042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8_Title, text, insert image-korkea_violetti">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4312"/>
            <a:ext cx="5686425" cy="4537075"/>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0" name="Google Shape;32;p23">
            <a:extLst>
              <a:ext uri="{FF2B5EF4-FFF2-40B4-BE49-F238E27FC236}">
                <a16:creationId xmlns:a16="http://schemas.microsoft.com/office/drawing/2014/main" id="{DA24C26F-60D6-4B1C-9DAC-87914A6D9F35}"/>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5686425"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endParaRPr lang="fi-FI"/>
          </a:p>
        </p:txBody>
      </p:sp>
      <p:sp>
        <p:nvSpPr>
          <p:cNvPr id="6" name="Picture Placeholder 5">
            <a:extLst>
              <a:ext uri="{FF2B5EF4-FFF2-40B4-BE49-F238E27FC236}">
                <a16:creationId xmlns:a16="http://schemas.microsoft.com/office/drawing/2014/main" id="{E47ED439-3299-E5AC-BA3B-609D2F3EB589}"/>
              </a:ext>
            </a:extLst>
          </p:cNvPr>
          <p:cNvSpPr>
            <a:spLocks noGrp="1"/>
          </p:cNvSpPr>
          <p:nvPr>
            <p:ph type="pic" sz="quarter" idx="11"/>
          </p:nvPr>
        </p:nvSpPr>
        <p:spPr>
          <a:xfrm>
            <a:off x="6400800" y="238133"/>
            <a:ext cx="5791200" cy="6016752"/>
          </a:xfrm>
        </p:spPr>
        <p:txBody>
          <a:bodyPr/>
          <a:lstStyle/>
          <a:p>
            <a:endParaRPr lang="fi-FI"/>
          </a:p>
        </p:txBody>
      </p:sp>
      <p:sp>
        <p:nvSpPr>
          <p:cNvPr id="9" name="Google Shape;28;p23">
            <a:extLst>
              <a:ext uri="{FF2B5EF4-FFF2-40B4-BE49-F238E27FC236}">
                <a16:creationId xmlns:a16="http://schemas.microsoft.com/office/drawing/2014/main" id="{F84B88B2-BED3-9315-68F0-D68297B8C812}"/>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15" name="Picture 14">
            <a:extLst>
              <a:ext uri="{FF2B5EF4-FFF2-40B4-BE49-F238E27FC236}">
                <a16:creationId xmlns:a16="http://schemas.microsoft.com/office/drawing/2014/main" id="{FEA68DFF-558A-A615-0B4A-1C7815EDD1CF}"/>
              </a:ext>
            </a:extLst>
          </p:cNvPr>
          <p:cNvPicPr>
            <a:picLocks noChangeAspect="1"/>
          </p:cNvPicPr>
          <p:nvPr userDrawn="1"/>
        </p:nvPicPr>
        <p:blipFill>
          <a:blip r:embed="rId5"/>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99A11C89-B592-3EE9-42DB-237EA3C8164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3" name="TextBox 2">
            <a:extLst>
              <a:ext uri="{FF2B5EF4-FFF2-40B4-BE49-F238E27FC236}">
                <a16:creationId xmlns:a16="http://schemas.microsoft.com/office/drawing/2014/main" id="{47163AE5-00EF-9FCC-D086-AA17D226DA9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4511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sältödia 1">
    <p:bg>
      <p:bgPr>
        <a:solidFill>
          <a:srgbClr val="A2E4B8">
            <a:alpha val="9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917FE-05B0-A24A-4800-4DA5F1FAC167}"/>
              </a:ext>
            </a:extLst>
          </p:cNvPr>
          <p:cNvSpPr>
            <a:spLocks noGrp="1"/>
          </p:cNvSpPr>
          <p:nvPr>
            <p:ph type="title"/>
          </p:nvPr>
        </p:nvSpPr>
        <p:spPr>
          <a:xfrm>
            <a:off x="838200" y="681037"/>
            <a:ext cx="9379591" cy="1009651"/>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pic>
        <p:nvPicPr>
          <p:cNvPr id="5" name="Kuva 4">
            <a:extLst>
              <a:ext uri="{FF2B5EF4-FFF2-40B4-BE49-F238E27FC236}">
                <a16:creationId xmlns:a16="http://schemas.microsoft.com/office/drawing/2014/main" id="{C9079990-BCE1-42C9-84D2-73D76052F04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275855">
            <a:off x="9635249" y="-843780"/>
            <a:ext cx="2857500" cy="2857500"/>
          </a:xfrm>
          <a:prstGeom prst="rect">
            <a:avLst/>
          </a:prstGeom>
        </p:spPr>
      </p:pic>
      <p:sp>
        <p:nvSpPr>
          <p:cNvPr id="14" name="Päivämäärän paikkamerkki 13">
            <a:extLst>
              <a:ext uri="{FF2B5EF4-FFF2-40B4-BE49-F238E27FC236}">
                <a16:creationId xmlns:a16="http://schemas.microsoft.com/office/drawing/2014/main" id="{B6667C1A-D0F4-9A65-0A50-36A2B2B880E7}"/>
              </a:ext>
            </a:extLst>
          </p:cNvPr>
          <p:cNvSpPr>
            <a:spLocks noGrp="1"/>
          </p:cNvSpPr>
          <p:nvPr>
            <p:ph type="dt" sz="half" idx="10"/>
          </p:nvPr>
        </p:nvSpPr>
        <p:spPr/>
        <p:txBody>
          <a:bodyPr/>
          <a:lstStyle/>
          <a:p>
            <a:endParaRPr lang="fi-FI" dirty="0"/>
          </a:p>
        </p:txBody>
      </p:sp>
      <p:sp>
        <p:nvSpPr>
          <p:cNvPr id="15" name="Alatunnisteen paikkamerkki 14">
            <a:extLst>
              <a:ext uri="{FF2B5EF4-FFF2-40B4-BE49-F238E27FC236}">
                <a16:creationId xmlns:a16="http://schemas.microsoft.com/office/drawing/2014/main" id="{0E4A4AA1-6045-E23C-474C-D4E585150B50}"/>
              </a:ext>
            </a:extLst>
          </p:cNvPr>
          <p:cNvSpPr>
            <a:spLocks noGrp="1"/>
          </p:cNvSpPr>
          <p:nvPr>
            <p:ph type="ftr" sz="quarter" idx="11"/>
          </p:nvPr>
        </p:nvSpPr>
        <p:spPr/>
        <p:txBody>
          <a:bodyPr/>
          <a:lstStyle/>
          <a:p>
            <a:r>
              <a:rPr lang="fi-FI"/>
              <a:t>7</a:t>
            </a:r>
          </a:p>
        </p:txBody>
      </p:sp>
      <p:sp>
        <p:nvSpPr>
          <p:cNvPr id="22" name="Sisällön paikkamerkki 10">
            <a:extLst>
              <a:ext uri="{FF2B5EF4-FFF2-40B4-BE49-F238E27FC236}">
                <a16:creationId xmlns:a16="http://schemas.microsoft.com/office/drawing/2014/main" id="{CF0107BC-83FC-3A5B-AFB2-7334731A7768}"/>
              </a:ext>
            </a:extLst>
          </p:cNvPr>
          <p:cNvSpPr>
            <a:spLocks noGrp="1"/>
          </p:cNvSpPr>
          <p:nvPr>
            <p:ph sz="quarter" idx="12"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3" name="Kuva 2">
            <a:extLst>
              <a:ext uri="{FF2B5EF4-FFF2-40B4-BE49-F238E27FC236}">
                <a16:creationId xmlns:a16="http://schemas.microsoft.com/office/drawing/2014/main" id="{B815BA88-9CCF-D552-E297-79AF53E973A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275855">
            <a:off x="9635249" y="-843780"/>
            <a:ext cx="2857500" cy="2857500"/>
          </a:xfrm>
          <a:prstGeom prst="rect">
            <a:avLst/>
          </a:prstGeom>
        </p:spPr>
      </p:pic>
      <p:pic>
        <p:nvPicPr>
          <p:cNvPr id="6" name="Graphic 18">
            <a:extLst>
              <a:ext uri="{FF2B5EF4-FFF2-40B4-BE49-F238E27FC236}">
                <a16:creationId xmlns:a16="http://schemas.microsoft.com/office/drawing/2014/main" id="{FB75D9B8-FEF4-E40F-7A89-73994534101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538320431"/>
      </p:ext>
    </p:extLst>
  </p:cSld>
  <p:clrMapOvr>
    <a:masterClrMapping/>
  </p:clrMapOvr>
  <p:hf sldNum="0" hdr="0" dt="0"/>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9_Dark blue arrow one third &amp; bullets">
    <p:bg>
      <p:bgPr>
        <a:solidFill>
          <a:schemeClr val="bg1"/>
        </a:solidFill>
        <a:effectLst/>
      </p:bgPr>
    </p:bg>
    <p:spTree>
      <p:nvGrpSpPr>
        <p:cNvPr id="1" name=""/>
        <p:cNvGrpSpPr/>
        <p:nvPr/>
      </p:nvGrpSpPr>
      <p:grpSpPr>
        <a:xfrm>
          <a:off x="0" y="0"/>
          <a:ext cx="0" cy="0"/>
          <a:chOff x="0" y="0"/>
          <a:chExt cx="0" cy="0"/>
        </a:xfrm>
      </p:grpSpPr>
      <p:sp>
        <p:nvSpPr>
          <p:cNvPr id="2" name="Google Shape;28;p23">
            <a:extLst>
              <a:ext uri="{FF2B5EF4-FFF2-40B4-BE49-F238E27FC236}">
                <a16:creationId xmlns:a16="http://schemas.microsoft.com/office/drawing/2014/main" id="{E8865FD9-0377-A1C2-08DA-43EC7A3D7599}"/>
              </a:ext>
            </a:extLst>
          </p:cNvPr>
          <p:cNvSpPr/>
          <p:nvPr userDrawn="1"/>
        </p:nvSpPr>
        <p:spPr>
          <a:xfrm>
            <a:off x="0" y="6260122"/>
            <a:ext cx="12192000" cy="59787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pic>
        <p:nvPicPr>
          <p:cNvPr id="5" name="Picture 4">
            <a:extLst>
              <a:ext uri="{FF2B5EF4-FFF2-40B4-BE49-F238E27FC236}">
                <a16:creationId xmlns:a16="http://schemas.microsoft.com/office/drawing/2014/main" id="{8E74D969-86FF-62F8-313B-753C983EC9BE}"/>
              </a:ext>
            </a:extLst>
          </p:cNvPr>
          <p:cNvPicPr>
            <a:picLocks noChangeAspect="1"/>
          </p:cNvPicPr>
          <p:nvPr userDrawn="1"/>
        </p:nvPicPr>
        <p:blipFill>
          <a:blip r:embed="rId3"/>
          <a:srcRect/>
          <a:stretch/>
        </p:blipFill>
        <p:spPr>
          <a:xfrm>
            <a:off x="10307937" y="6308646"/>
            <a:ext cx="1440000" cy="304457"/>
          </a:xfrm>
          <a:prstGeom prst="rect">
            <a:avLst/>
          </a:prstGeom>
        </p:spPr>
      </p:pic>
      <p:sp>
        <p:nvSpPr>
          <p:cNvPr id="13" name="Pentagon 3"/>
          <p:cNvSpPr/>
          <p:nvPr userDrawn="1"/>
        </p:nvSpPr>
        <p:spPr bwMode="white">
          <a:xfrm>
            <a:off x="0" y="-1"/>
            <a:ext cx="5177017" cy="6262577"/>
          </a:xfrm>
          <a:prstGeom prst="homePlate">
            <a:avLst>
              <a:gd name="adj" fmla="val 157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fi-FI" sz="1200">
              <a:solidFill>
                <a:prstClr val="white"/>
              </a:solidFill>
              <a:latin typeface="+mn-lt"/>
              <a:ea typeface="+mn-ea"/>
              <a:cs typeface="+mn-cs"/>
              <a:sym typeface="Trebuchet MS" panose="020B0603020202020204" pitchFamily="34" charset="0"/>
            </a:endParaRPr>
          </a:p>
        </p:txBody>
      </p:sp>
      <p:graphicFrame>
        <p:nvGraphicFramePr>
          <p:cNvPr id="3" name="Object 2" hidden="1">
            <a:extLst>
              <a:ext uri="{FF2B5EF4-FFF2-40B4-BE49-F238E27FC236}">
                <a16:creationId xmlns:a16="http://schemas.microsoft.com/office/drawing/2014/main" id="{A16F89AB-4CF7-42DB-9CAD-00C742C4CCA4}"/>
              </a:ext>
            </a:extLst>
          </p:cNvPr>
          <p:cNvGraphicFramePr>
            <a:graphicFrameLocks noChangeAspect="1"/>
          </p:cNvGraphicFramePr>
          <p:nvPr userDrawn="1">
            <p:custDataLst>
              <p:tags r:id="rId1"/>
            </p:custDataLst>
            <p:extLst>
              <p:ext uri="{D42A27DB-BD31-4B8C-83A1-F6EECF244321}">
                <p14:modId xmlns:p14="http://schemas.microsoft.com/office/powerpoint/2010/main" val="497088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a:extLst>
                          <a:ext uri="{FF2B5EF4-FFF2-40B4-BE49-F238E27FC236}">
                            <a16:creationId xmlns:a16="http://schemas.microsoft.com/office/drawing/2014/main" id="{A16F89AB-4CF7-42DB-9CAD-00C742C4CC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
          <p:cNvSpPr>
            <a:spLocks noGrp="1"/>
          </p:cNvSpPr>
          <p:nvPr>
            <p:ph type="title" hasCustomPrompt="1"/>
          </p:nvPr>
        </p:nvSpPr>
        <p:spPr>
          <a:xfrm>
            <a:off x="824948" y="1599110"/>
            <a:ext cx="3849320" cy="2690148"/>
          </a:xfrm>
          <a:prstGeom prst="rect">
            <a:avLst/>
          </a:prstGeom>
          <a:ln>
            <a:noFill/>
          </a:ln>
        </p:spPr>
        <p:txBody>
          <a:bodyPr vert="horz" lIns="0" tIns="45720" rIns="91440" bIns="45720" anchor="ctr">
            <a:noAutofit/>
          </a:bodyPr>
          <a:lstStyle>
            <a:lvl1pPr rtl="0">
              <a:defRPr sz="3000" b="0">
                <a:solidFill>
                  <a:srgbClr val="FFFFFF"/>
                </a:solidFill>
                <a:latin typeface="+mj-lt"/>
                <a:ea typeface="+mj-ea"/>
                <a:cs typeface="+mj-cs"/>
                <a:sym typeface="Trebuchet MS" panose="020B0603020202020204" pitchFamily="34" charset="0"/>
              </a:defRPr>
            </a:lvl1pPr>
          </a:lstStyle>
          <a:p>
            <a:r>
              <a:rPr lang="fi-FI" err="1"/>
              <a:t>Click</a:t>
            </a:r>
            <a:r>
              <a:rPr lang="fi-FI"/>
              <a:t> to </a:t>
            </a:r>
            <a:r>
              <a:rPr lang="fi-FI" err="1"/>
              <a:t>add</a:t>
            </a:r>
            <a:r>
              <a:rPr lang="fi-FI"/>
              <a:t> </a:t>
            </a:r>
            <a:r>
              <a:rPr lang="fi-FI" err="1"/>
              <a:t>title</a:t>
            </a:r>
            <a:endParaRPr lang="fi-FI"/>
          </a:p>
        </p:txBody>
      </p:sp>
      <p:sp>
        <p:nvSpPr>
          <p:cNvPr id="4" name="Content Placeholder 3">
            <a:extLst>
              <a:ext uri="{FF2B5EF4-FFF2-40B4-BE49-F238E27FC236}">
                <a16:creationId xmlns:a16="http://schemas.microsoft.com/office/drawing/2014/main" id="{11C7E4FD-7D8C-5EE9-61B0-29F1E0F3775B}"/>
              </a:ext>
            </a:extLst>
          </p:cNvPr>
          <p:cNvSpPr>
            <a:spLocks noGrp="1"/>
          </p:cNvSpPr>
          <p:nvPr>
            <p:ph sz="quarter" idx="10" hasCustomPrompt="1"/>
          </p:nvPr>
        </p:nvSpPr>
        <p:spPr>
          <a:xfrm>
            <a:off x="5438274" y="1001486"/>
            <a:ext cx="5896476" cy="4484914"/>
          </a:xfrm>
        </p:spPr>
        <p:txBody>
          <a:bodyPr rIns="72000" anchor="ctr" anchorCtr="0"/>
          <a:lstStyle>
            <a:lvl1pPr>
              <a:lnSpc>
                <a:spcPct val="100000"/>
              </a:lnSpc>
              <a:spcBef>
                <a:spcPts val="0"/>
              </a:spcBef>
              <a:spcAft>
                <a:spcPts val="1800"/>
              </a:spcAft>
              <a:defRPr sz="2000"/>
            </a:lvl1pPr>
            <a:lvl2pPr>
              <a:lnSpc>
                <a:spcPct val="100000"/>
              </a:lnSpc>
              <a:spcBef>
                <a:spcPts val="0"/>
              </a:spcBef>
              <a:spcAft>
                <a:spcPts val="1800"/>
              </a:spcAft>
              <a:defRPr sz="2000"/>
            </a:lvl2pPr>
            <a:lvl3pPr>
              <a:lnSpc>
                <a:spcPct val="100000"/>
              </a:lnSpc>
              <a:spcBef>
                <a:spcPts val="0"/>
              </a:spcBef>
              <a:spcAft>
                <a:spcPts val="1800"/>
              </a:spcAft>
              <a:defRPr sz="2000"/>
            </a:lvl3pPr>
          </a:lstStyle>
          <a:p>
            <a:pPr lvl="0"/>
            <a:r>
              <a:rPr lang="en-GB"/>
              <a:t>Click to edit Master text styles, font Arial</a:t>
            </a:r>
          </a:p>
          <a:p>
            <a:pPr lvl="1"/>
            <a:r>
              <a:rPr lang="en-GB"/>
              <a:t>Second level</a:t>
            </a:r>
          </a:p>
          <a:p>
            <a:pPr lvl="2"/>
            <a:r>
              <a:rPr lang="en-GB"/>
              <a:t>Third level</a:t>
            </a:r>
            <a:endParaRPr lang="fi-FI"/>
          </a:p>
        </p:txBody>
      </p:sp>
      <p:grpSp>
        <p:nvGrpSpPr>
          <p:cNvPr id="59" name="Group 58">
            <a:extLst>
              <a:ext uri="{FF2B5EF4-FFF2-40B4-BE49-F238E27FC236}">
                <a16:creationId xmlns:a16="http://schemas.microsoft.com/office/drawing/2014/main" id="{65D8B0E2-B201-DE87-FBE7-BFD19DEA17F0}"/>
              </a:ext>
            </a:extLst>
          </p:cNvPr>
          <p:cNvGrpSpPr/>
          <p:nvPr userDrawn="1"/>
        </p:nvGrpSpPr>
        <p:grpSpPr>
          <a:xfrm>
            <a:off x="252173" y="6293565"/>
            <a:ext cx="7699778" cy="504000"/>
            <a:chOff x="188377" y="6209593"/>
            <a:chExt cx="7699778" cy="548559"/>
          </a:xfrm>
          <a:solidFill>
            <a:schemeClr val="bg1"/>
          </a:solidFill>
        </p:grpSpPr>
        <p:grpSp>
          <p:nvGrpSpPr>
            <p:cNvPr id="19" name="Group 18">
              <a:extLst>
                <a:ext uri="{FF2B5EF4-FFF2-40B4-BE49-F238E27FC236}">
                  <a16:creationId xmlns:a16="http://schemas.microsoft.com/office/drawing/2014/main" id="{018B3BB4-A633-DD16-7DDC-C08E1F619F79}"/>
                </a:ext>
              </a:extLst>
            </p:cNvPr>
            <p:cNvGrpSpPr/>
            <p:nvPr userDrawn="1"/>
          </p:nvGrpSpPr>
          <p:grpSpPr>
            <a:xfrm>
              <a:off x="188377" y="6267399"/>
              <a:ext cx="126000" cy="485497"/>
              <a:chOff x="372309" y="6272654"/>
              <a:chExt cx="119465" cy="485497"/>
            </a:xfrm>
            <a:grpFill/>
          </p:grpSpPr>
          <p:sp>
            <p:nvSpPr>
              <p:cNvPr id="11" name="Rectangle 10">
                <a:extLst>
                  <a:ext uri="{FF2B5EF4-FFF2-40B4-BE49-F238E27FC236}">
                    <a16:creationId xmlns:a16="http://schemas.microsoft.com/office/drawing/2014/main" id="{F7FC2A99-4F69-0CEE-CE94-9F27EAAF417F}"/>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12" name="Rectangle 11">
                <a:extLst>
                  <a:ext uri="{FF2B5EF4-FFF2-40B4-BE49-F238E27FC236}">
                    <a16:creationId xmlns:a16="http://schemas.microsoft.com/office/drawing/2014/main" id="{BCDAD4B3-0DEC-6757-4E6B-D604A0FEE629}"/>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20" name="Group 19">
              <a:extLst>
                <a:ext uri="{FF2B5EF4-FFF2-40B4-BE49-F238E27FC236}">
                  <a16:creationId xmlns:a16="http://schemas.microsoft.com/office/drawing/2014/main" id="{7FC021DE-392E-98C1-2C61-AE1BE3981F97}"/>
                </a:ext>
              </a:extLst>
            </p:cNvPr>
            <p:cNvGrpSpPr/>
            <p:nvPr userDrawn="1"/>
          </p:nvGrpSpPr>
          <p:grpSpPr>
            <a:xfrm rot="2678555">
              <a:off x="1822738" y="6214847"/>
              <a:ext cx="126000" cy="485497"/>
              <a:chOff x="372309" y="6272654"/>
              <a:chExt cx="119465" cy="485497"/>
            </a:xfrm>
            <a:grpFill/>
          </p:grpSpPr>
          <p:sp>
            <p:nvSpPr>
              <p:cNvPr id="21" name="Rectangle 20">
                <a:extLst>
                  <a:ext uri="{FF2B5EF4-FFF2-40B4-BE49-F238E27FC236}">
                    <a16:creationId xmlns:a16="http://schemas.microsoft.com/office/drawing/2014/main" id="{88803CC6-A180-1BA4-4446-679BC2788C37}"/>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22" name="Rectangle 21">
                <a:extLst>
                  <a:ext uri="{FF2B5EF4-FFF2-40B4-BE49-F238E27FC236}">
                    <a16:creationId xmlns:a16="http://schemas.microsoft.com/office/drawing/2014/main" id="{A853675A-267C-A296-6543-3D909C609826}"/>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23" name="Group 22">
              <a:extLst>
                <a:ext uri="{FF2B5EF4-FFF2-40B4-BE49-F238E27FC236}">
                  <a16:creationId xmlns:a16="http://schemas.microsoft.com/office/drawing/2014/main" id="{FA142C47-8CEC-F6F7-0774-DCB97D4B0E36}"/>
                </a:ext>
              </a:extLst>
            </p:cNvPr>
            <p:cNvGrpSpPr/>
            <p:nvPr userDrawn="1"/>
          </p:nvGrpSpPr>
          <p:grpSpPr>
            <a:xfrm rot="18881942">
              <a:off x="939868" y="6340970"/>
              <a:ext cx="126000" cy="485497"/>
              <a:chOff x="372309" y="6272654"/>
              <a:chExt cx="119465" cy="485497"/>
            </a:xfrm>
            <a:grpFill/>
          </p:grpSpPr>
          <p:sp>
            <p:nvSpPr>
              <p:cNvPr id="24" name="Rectangle 23">
                <a:extLst>
                  <a:ext uri="{FF2B5EF4-FFF2-40B4-BE49-F238E27FC236}">
                    <a16:creationId xmlns:a16="http://schemas.microsoft.com/office/drawing/2014/main" id="{7DF86EC7-1303-6B4C-B88B-2FC3987E8668}"/>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25" name="Rectangle 24">
                <a:extLst>
                  <a:ext uri="{FF2B5EF4-FFF2-40B4-BE49-F238E27FC236}">
                    <a16:creationId xmlns:a16="http://schemas.microsoft.com/office/drawing/2014/main" id="{C938322D-60DA-3E2A-6E03-6E05FE4C2FAB}"/>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35" name="Group 34">
              <a:extLst>
                <a:ext uri="{FF2B5EF4-FFF2-40B4-BE49-F238E27FC236}">
                  <a16:creationId xmlns:a16="http://schemas.microsoft.com/office/drawing/2014/main" id="{C490ABB3-4F70-AEE1-FAB8-859078AFB942}"/>
                </a:ext>
              </a:extLst>
            </p:cNvPr>
            <p:cNvGrpSpPr/>
            <p:nvPr userDrawn="1"/>
          </p:nvGrpSpPr>
          <p:grpSpPr>
            <a:xfrm>
              <a:off x="3215357" y="6267400"/>
              <a:ext cx="126000" cy="485497"/>
              <a:chOff x="372309" y="6272654"/>
              <a:chExt cx="119465" cy="485497"/>
            </a:xfrm>
            <a:grpFill/>
          </p:grpSpPr>
          <p:sp>
            <p:nvSpPr>
              <p:cNvPr id="36" name="Rectangle 35">
                <a:extLst>
                  <a:ext uri="{FF2B5EF4-FFF2-40B4-BE49-F238E27FC236}">
                    <a16:creationId xmlns:a16="http://schemas.microsoft.com/office/drawing/2014/main" id="{0B43D687-8C1B-021A-BE84-4BC1D19395F0}"/>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37" name="Rectangle 36">
                <a:extLst>
                  <a:ext uri="{FF2B5EF4-FFF2-40B4-BE49-F238E27FC236}">
                    <a16:creationId xmlns:a16="http://schemas.microsoft.com/office/drawing/2014/main" id="{F5C367CE-CED1-AEBD-622B-FBF122C03A8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38" name="Group 37">
              <a:extLst>
                <a:ext uri="{FF2B5EF4-FFF2-40B4-BE49-F238E27FC236}">
                  <a16:creationId xmlns:a16="http://schemas.microsoft.com/office/drawing/2014/main" id="{4664A8EB-A51F-01D1-FD39-8E0D91A9829D}"/>
                </a:ext>
              </a:extLst>
            </p:cNvPr>
            <p:cNvGrpSpPr/>
            <p:nvPr userDrawn="1"/>
          </p:nvGrpSpPr>
          <p:grpSpPr>
            <a:xfrm rot="2678555">
              <a:off x="4849718" y="6214848"/>
              <a:ext cx="126000" cy="485497"/>
              <a:chOff x="372309" y="6272654"/>
              <a:chExt cx="119465" cy="485497"/>
            </a:xfrm>
            <a:grpFill/>
          </p:grpSpPr>
          <p:sp>
            <p:nvSpPr>
              <p:cNvPr id="39" name="Rectangle 38">
                <a:extLst>
                  <a:ext uri="{FF2B5EF4-FFF2-40B4-BE49-F238E27FC236}">
                    <a16:creationId xmlns:a16="http://schemas.microsoft.com/office/drawing/2014/main" id="{26F72560-1E1C-CE90-D951-464FCC2B3427}"/>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0" name="Rectangle 39">
                <a:extLst>
                  <a:ext uri="{FF2B5EF4-FFF2-40B4-BE49-F238E27FC236}">
                    <a16:creationId xmlns:a16="http://schemas.microsoft.com/office/drawing/2014/main" id="{B6FB0DA2-DF64-A3E5-59DF-405EC23CDDF8}"/>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1" name="Group 40">
              <a:extLst>
                <a:ext uri="{FF2B5EF4-FFF2-40B4-BE49-F238E27FC236}">
                  <a16:creationId xmlns:a16="http://schemas.microsoft.com/office/drawing/2014/main" id="{5514B5D8-B243-512F-797E-F51B11B21EE8}"/>
                </a:ext>
              </a:extLst>
            </p:cNvPr>
            <p:cNvGrpSpPr/>
            <p:nvPr userDrawn="1"/>
          </p:nvGrpSpPr>
          <p:grpSpPr>
            <a:xfrm rot="18881942">
              <a:off x="3966848" y="6340971"/>
              <a:ext cx="126000" cy="485497"/>
              <a:chOff x="372309" y="6272654"/>
              <a:chExt cx="119465" cy="485497"/>
            </a:xfrm>
            <a:grpFill/>
          </p:grpSpPr>
          <p:sp>
            <p:nvSpPr>
              <p:cNvPr id="42" name="Rectangle 41">
                <a:extLst>
                  <a:ext uri="{FF2B5EF4-FFF2-40B4-BE49-F238E27FC236}">
                    <a16:creationId xmlns:a16="http://schemas.microsoft.com/office/drawing/2014/main" id="{2807236D-706C-C495-EC56-13BC11F037DA}"/>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3" name="Rectangle 42">
                <a:extLst>
                  <a:ext uri="{FF2B5EF4-FFF2-40B4-BE49-F238E27FC236}">
                    <a16:creationId xmlns:a16="http://schemas.microsoft.com/office/drawing/2014/main" id="{1F91F07C-F34B-C61C-C7E5-715A4CF0022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4" name="Group 43">
              <a:extLst>
                <a:ext uri="{FF2B5EF4-FFF2-40B4-BE49-F238E27FC236}">
                  <a16:creationId xmlns:a16="http://schemas.microsoft.com/office/drawing/2014/main" id="{56008001-891A-4C16-80A4-23015A4389A9}"/>
                </a:ext>
              </a:extLst>
            </p:cNvPr>
            <p:cNvGrpSpPr/>
            <p:nvPr userDrawn="1"/>
          </p:nvGrpSpPr>
          <p:grpSpPr>
            <a:xfrm rot="5400000">
              <a:off x="2479632" y="6409289"/>
              <a:ext cx="126000" cy="485497"/>
              <a:chOff x="372309" y="6272654"/>
              <a:chExt cx="119465" cy="485497"/>
            </a:xfrm>
            <a:grpFill/>
          </p:grpSpPr>
          <p:sp>
            <p:nvSpPr>
              <p:cNvPr id="45" name="Rectangle 44">
                <a:extLst>
                  <a:ext uri="{FF2B5EF4-FFF2-40B4-BE49-F238E27FC236}">
                    <a16:creationId xmlns:a16="http://schemas.microsoft.com/office/drawing/2014/main" id="{1C9DD28C-8C97-39EE-46EF-B1CDA3375AB6}"/>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6" name="Rectangle 45">
                <a:extLst>
                  <a:ext uri="{FF2B5EF4-FFF2-40B4-BE49-F238E27FC236}">
                    <a16:creationId xmlns:a16="http://schemas.microsoft.com/office/drawing/2014/main" id="{84B933B2-9F8B-47D5-BD5B-C70CD2F4A4A9}"/>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47" name="Group 46">
              <a:extLst>
                <a:ext uri="{FF2B5EF4-FFF2-40B4-BE49-F238E27FC236}">
                  <a16:creationId xmlns:a16="http://schemas.microsoft.com/office/drawing/2014/main" id="{C32DA56A-9F7A-16A0-0A6F-DEEFE40B85B3}"/>
                </a:ext>
              </a:extLst>
            </p:cNvPr>
            <p:cNvGrpSpPr/>
            <p:nvPr userDrawn="1"/>
          </p:nvGrpSpPr>
          <p:grpSpPr>
            <a:xfrm rot="5400000">
              <a:off x="5501358" y="6414547"/>
              <a:ext cx="126000" cy="485497"/>
              <a:chOff x="372309" y="6272654"/>
              <a:chExt cx="119465" cy="485497"/>
            </a:xfrm>
            <a:grpFill/>
          </p:grpSpPr>
          <p:sp>
            <p:nvSpPr>
              <p:cNvPr id="48" name="Rectangle 47">
                <a:extLst>
                  <a:ext uri="{FF2B5EF4-FFF2-40B4-BE49-F238E27FC236}">
                    <a16:creationId xmlns:a16="http://schemas.microsoft.com/office/drawing/2014/main" id="{DC65C60A-12FB-BBF4-6147-FACA04B9EECE}"/>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49" name="Rectangle 48">
                <a:extLst>
                  <a:ext uri="{FF2B5EF4-FFF2-40B4-BE49-F238E27FC236}">
                    <a16:creationId xmlns:a16="http://schemas.microsoft.com/office/drawing/2014/main" id="{2AA4D70C-09BA-C362-A2D6-5F31D9F851F7}"/>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0" name="Group 49">
              <a:extLst>
                <a:ext uri="{FF2B5EF4-FFF2-40B4-BE49-F238E27FC236}">
                  <a16:creationId xmlns:a16="http://schemas.microsoft.com/office/drawing/2014/main" id="{842A9FDE-5A82-ABD6-93FF-91FE2535F7DF}"/>
                </a:ext>
              </a:extLst>
            </p:cNvPr>
            <p:cNvGrpSpPr/>
            <p:nvPr userDrawn="1"/>
          </p:nvGrpSpPr>
          <p:grpSpPr>
            <a:xfrm>
              <a:off x="6242337" y="6272655"/>
              <a:ext cx="126000" cy="485497"/>
              <a:chOff x="372309" y="6272654"/>
              <a:chExt cx="119465" cy="485497"/>
            </a:xfrm>
            <a:grpFill/>
          </p:grpSpPr>
          <p:sp>
            <p:nvSpPr>
              <p:cNvPr id="51" name="Rectangle 50">
                <a:extLst>
                  <a:ext uri="{FF2B5EF4-FFF2-40B4-BE49-F238E27FC236}">
                    <a16:creationId xmlns:a16="http://schemas.microsoft.com/office/drawing/2014/main" id="{7140C44F-6322-91E1-402E-5C86B423D5C5}"/>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2" name="Rectangle 51">
                <a:extLst>
                  <a:ext uri="{FF2B5EF4-FFF2-40B4-BE49-F238E27FC236}">
                    <a16:creationId xmlns:a16="http://schemas.microsoft.com/office/drawing/2014/main" id="{C0220DEA-71E5-642E-2224-119C3B601E46}"/>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3" name="Group 52">
              <a:extLst>
                <a:ext uri="{FF2B5EF4-FFF2-40B4-BE49-F238E27FC236}">
                  <a16:creationId xmlns:a16="http://schemas.microsoft.com/office/drawing/2014/main" id="{FAC451F2-5C1A-C624-0B78-B16A07AE68D3}"/>
                </a:ext>
              </a:extLst>
            </p:cNvPr>
            <p:cNvGrpSpPr/>
            <p:nvPr userDrawn="1"/>
          </p:nvGrpSpPr>
          <p:grpSpPr>
            <a:xfrm rot="2678555">
              <a:off x="6925511" y="6209593"/>
              <a:ext cx="126000" cy="485497"/>
              <a:chOff x="372309" y="6272654"/>
              <a:chExt cx="119465" cy="485497"/>
            </a:xfrm>
            <a:grpFill/>
          </p:grpSpPr>
          <p:sp>
            <p:nvSpPr>
              <p:cNvPr id="54" name="Rectangle 53">
                <a:extLst>
                  <a:ext uri="{FF2B5EF4-FFF2-40B4-BE49-F238E27FC236}">
                    <a16:creationId xmlns:a16="http://schemas.microsoft.com/office/drawing/2014/main" id="{D0516035-B055-2078-2040-646FAD6D08B9}"/>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5" name="Rectangle 54">
                <a:extLst>
                  <a:ext uri="{FF2B5EF4-FFF2-40B4-BE49-F238E27FC236}">
                    <a16:creationId xmlns:a16="http://schemas.microsoft.com/office/drawing/2014/main" id="{C89E3CBA-50CD-C288-84AC-B373B3235913}"/>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nvGrpSpPr>
            <p:cNvPr id="56" name="Group 55">
              <a:extLst>
                <a:ext uri="{FF2B5EF4-FFF2-40B4-BE49-F238E27FC236}">
                  <a16:creationId xmlns:a16="http://schemas.microsoft.com/office/drawing/2014/main" id="{1E737443-9DCD-0E27-1926-E6AF646DF0A6}"/>
                </a:ext>
              </a:extLst>
            </p:cNvPr>
            <p:cNvGrpSpPr/>
            <p:nvPr userDrawn="1"/>
          </p:nvGrpSpPr>
          <p:grpSpPr>
            <a:xfrm rot="5400000">
              <a:off x="7582407" y="6409293"/>
              <a:ext cx="126000" cy="485497"/>
              <a:chOff x="372309" y="6272654"/>
              <a:chExt cx="119465" cy="485497"/>
            </a:xfrm>
            <a:grpFill/>
          </p:grpSpPr>
          <p:sp>
            <p:nvSpPr>
              <p:cNvPr id="57" name="Rectangle 56">
                <a:extLst>
                  <a:ext uri="{FF2B5EF4-FFF2-40B4-BE49-F238E27FC236}">
                    <a16:creationId xmlns:a16="http://schemas.microsoft.com/office/drawing/2014/main" id="{049F2289-973A-6ED7-7686-B1AB8B696443}"/>
                  </a:ext>
                </a:extLst>
              </p:cNvPr>
              <p:cNvSpPr/>
              <p:nvPr userDrawn="1"/>
            </p:nvSpPr>
            <p:spPr>
              <a:xfrm>
                <a:off x="372309"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sp>
            <p:nvSpPr>
              <p:cNvPr id="58" name="Rectangle 57">
                <a:extLst>
                  <a:ext uri="{FF2B5EF4-FFF2-40B4-BE49-F238E27FC236}">
                    <a16:creationId xmlns:a16="http://schemas.microsoft.com/office/drawing/2014/main" id="{27E43809-2663-128F-7674-FD725DA1BE8A}"/>
                  </a:ext>
                </a:extLst>
              </p:cNvPr>
              <p:cNvSpPr/>
              <p:nvPr userDrawn="1"/>
            </p:nvSpPr>
            <p:spPr>
              <a:xfrm>
                <a:off x="446055" y="6272654"/>
                <a:ext cx="45719" cy="485497"/>
              </a:xfrm>
              <a:prstGeom prst="rect">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i-FI" sz="1200">
                  <a:solidFill>
                    <a:srgbClr val="FFFFFF"/>
                  </a:solidFill>
                </a:endParaRPr>
              </a:p>
            </p:txBody>
          </p:sp>
        </p:grpSp>
      </p:grpSp>
      <p:sp>
        <p:nvSpPr>
          <p:cNvPr id="8" name="Date Placeholder 3">
            <a:extLst>
              <a:ext uri="{FF2B5EF4-FFF2-40B4-BE49-F238E27FC236}">
                <a16:creationId xmlns:a16="http://schemas.microsoft.com/office/drawing/2014/main" id="{5E1E01F6-0547-EF2D-4A41-708004048082}"/>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9" name="TextBox 8">
            <a:extLst>
              <a:ext uri="{FF2B5EF4-FFF2-40B4-BE49-F238E27FC236}">
                <a16:creationId xmlns:a16="http://schemas.microsoft.com/office/drawing/2014/main" id="{F9D24FEB-9500-8636-96AC-5386E1C03E45}"/>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04110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0_Title and Text_no_logo">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1487155"/>
            <a:ext cx="11233150" cy="4534233"/>
          </a:xfrm>
        </p:spPr>
        <p:txBody>
          <a:bodyPr bIns="45720"/>
          <a:lstStyle>
            <a:lvl1pPr rtl="0">
              <a:lnSpc>
                <a:spcPct val="100000"/>
              </a:lnSpc>
              <a:spcBef>
                <a:spcPts val="0"/>
              </a:spcBef>
              <a:spcAft>
                <a:spcPts val="600"/>
              </a:spcAft>
              <a:defRPr sz="2000" b="0" i="0">
                <a:latin typeface="+mn-lt"/>
                <a:ea typeface="+mn-ea"/>
                <a:cs typeface="Calibri" panose="020F0502020204030204" pitchFamily="34" charset="0"/>
              </a:defRPr>
            </a:lvl1pPr>
            <a:lvl2pPr rtl="0">
              <a:lnSpc>
                <a:spcPct val="100000"/>
              </a:lnSpc>
              <a:spcBef>
                <a:spcPts val="0"/>
              </a:spcBef>
              <a:spcAft>
                <a:spcPts val="600"/>
              </a:spcAft>
              <a:defRPr sz="2000" b="0" i="0">
                <a:latin typeface="+mn-lt"/>
                <a:ea typeface="+mn-ea"/>
                <a:cs typeface="Calibri" panose="020F0502020204030204" pitchFamily="34" charset="0"/>
              </a:defRPr>
            </a:lvl2pPr>
            <a:lvl3pPr rtl="0">
              <a:lnSpc>
                <a:spcPct val="100000"/>
              </a:lnSpc>
              <a:spcBef>
                <a:spcPts val="0"/>
              </a:spcBef>
              <a:spcAft>
                <a:spcPts val="600"/>
              </a:spcAft>
              <a:defRPr sz="2000" b="0" i="0">
                <a:latin typeface="+mn-lt"/>
                <a:ea typeface="+mn-ea"/>
                <a:cs typeface="Calibri" panose="020F0502020204030204" pitchFamily="34" charset="0"/>
              </a:defRPr>
            </a:lvl3pPr>
            <a:lvl4pPr rtl="0">
              <a:lnSpc>
                <a:spcPct val="100000"/>
              </a:lnSpc>
              <a:spcBef>
                <a:spcPts val="0"/>
              </a:spcBef>
              <a:spcAft>
                <a:spcPts val="600"/>
              </a:spcAft>
              <a:defRPr sz="2800" b="0" i="0">
                <a:latin typeface="+mn-lt"/>
                <a:ea typeface="+mn-ea"/>
                <a:cs typeface="Calibri" panose="020F0502020204030204" pitchFamily="34" charset="0"/>
              </a:defRPr>
            </a:lvl4pPr>
            <a:lvl5pPr rtl="0">
              <a:lnSpc>
                <a:spcPct val="100000"/>
              </a:lnSpc>
              <a:spcBef>
                <a:spcPts val="0"/>
              </a:spcBef>
              <a:spcAft>
                <a:spcPts val="600"/>
              </a:spcAft>
              <a:defRPr sz="2800" b="0" i="0">
                <a:latin typeface="+mn-lt"/>
                <a:ea typeface="+mn-ea"/>
                <a:cs typeface="Calibri" panose="020F0502020204030204" pitchFamily="34" charset="0"/>
              </a:defRPr>
            </a:lvl5pPr>
          </a:lstStyle>
          <a:p>
            <a:pPr lvl="0"/>
            <a:r>
              <a:rPr lang="fi-FI" err="1"/>
              <a:t>Edit</a:t>
            </a:r>
            <a:r>
              <a:rPr lang="fi-FI"/>
              <a:t> Master </a:t>
            </a:r>
            <a:r>
              <a:rPr lang="fi-FI" err="1"/>
              <a:t>text</a:t>
            </a:r>
            <a:r>
              <a:rPr lang="fi-FI"/>
              <a:t> </a:t>
            </a:r>
            <a:r>
              <a:rPr lang="fi-FI" err="1"/>
              <a:t>styles</a:t>
            </a:r>
            <a:r>
              <a:rPr lang="fi-FI"/>
              <a:t>, </a:t>
            </a:r>
            <a:r>
              <a:rPr lang="fi-FI" err="1"/>
              <a:t>font</a:t>
            </a:r>
            <a:r>
              <a:rPr lang="fi-FI"/>
              <a:t> </a:t>
            </a:r>
            <a:r>
              <a:rPr lang="fi-FI" err="1"/>
              <a:t>Arial</a:t>
            </a:r>
            <a:endParaRPr lang="fi-FI"/>
          </a:p>
          <a:p>
            <a:pPr lvl="1"/>
            <a:r>
              <a:rPr lang="fi-FI"/>
              <a:t>Second </a:t>
            </a:r>
            <a:r>
              <a:rPr lang="fi-FI" err="1"/>
              <a:t>level</a:t>
            </a:r>
            <a:endParaRPr lang="fi-FI"/>
          </a:p>
          <a:p>
            <a:pPr lvl="2"/>
            <a:r>
              <a:rPr lang="fi-FI"/>
              <a:t>Third </a:t>
            </a:r>
            <a:r>
              <a:rPr lang="fi-FI" err="1"/>
              <a:t>level</a:t>
            </a:r>
            <a:endParaRPr lang="fi-FI"/>
          </a:p>
        </p:txBody>
      </p:sp>
      <p:sp>
        <p:nvSpPr>
          <p:cNvPr id="13" name="Title 4">
            <a:extLst>
              <a:ext uri="{FF2B5EF4-FFF2-40B4-BE49-F238E27FC236}">
                <a16:creationId xmlns:a16="http://schemas.microsoft.com/office/drawing/2014/main" id="{5AEE5EA5-472C-189F-0DE3-E570993E5E5E}"/>
              </a:ext>
            </a:extLst>
          </p:cNvPr>
          <p:cNvSpPr>
            <a:spLocks noGrp="1"/>
          </p:cNvSpPr>
          <p:nvPr>
            <p:ph type="title" hasCustomPrompt="1"/>
          </p:nvPr>
        </p:nvSpPr>
        <p:spPr>
          <a:xfrm>
            <a:off x="479425" y="420568"/>
            <a:ext cx="11233150" cy="826162"/>
          </a:xfrm>
          <a:prstGeom prst="rect">
            <a:avLst/>
          </a:prstGeom>
        </p:spPr>
        <p:txBody>
          <a:bodyPr vert="horz" wrap="square" lIns="0" tIns="45720" rIns="91440" bIns="45720" anchor="t" anchorCtr="0">
            <a:noAutofit/>
          </a:bodyPr>
          <a:lstStyle>
            <a:lvl1pPr marL="0" indent="0" algn="l" rtl="0">
              <a:lnSpc>
                <a:spcPct val="90000"/>
              </a:lnSpc>
              <a:spcBef>
                <a:spcPct val="0"/>
              </a:spcBef>
              <a:spcAft>
                <a:spcPts val="0"/>
              </a:spcAft>
              <a:defRPr sz="30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fi-FI" err="1"/>
              <a:t>Click</a:t>
            </a:r>
            <a:r>
              <a:rPr lang="fi-FI"/>
              <a:t> to </a:t>
            </a:r>
            <a:r>
              <a:rPr lang="fi-FI" err="1"/>
              <a:t>add</a:t>
            </a:r>
            <a:r>
              <a:rPr lang="fi-FI"/>
              <a:t> </a:t>
            </a:r>
            <a:r>
              <a:rPr lang="fi-FI" err="1"/>
              <a:t>title</a:t>
            </a:r>
            <a:r>
              <a:rPr lang="fi-FI"/>
              <a:t>, </a:t>
            </a:r>
            <a:r>
              <a:rPr lang="fi-FI" err="1"/>
              <a:t>font</a:t>
            </a:r>
            <a:r>
              <a:rPr lang="fi-FI"/>
              <a:t> </a:t>
            </a:r>
            <a:r>
              <a:rPr lang="fi-FI" err="1"/>
              <a:t>Arial</a:t>
            </a:r>
            <a:r>
              <a:rPr lang="fi-FI"/>
              <a:t> Black 30 pt</a:t>
            </a:r>
          </a:p>
        </p:txBody>
      </p:sp>
      <p:sp>
        <p:nvSpPr>
          <p:cNvPr id="2" name="Date Placeholder 3">
            <a:extLst>
              <a:ext uri="{FF2B5EF4-FFF2-40B4-BE49-F238E27FC236}">
                <a16:creationId xmlns:a16="http://schemas.microsoft.com/office/drawing/2014/main" id="{CA727C65-10EA-EA61-C69A-2B1B230A836C}"/>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tx1">
                    <a:lumMod val="50000"/>
                    <a:lumOff val="50000"/>
                  </a:schemeClr>
                </a:solidFill>
                <a:latin typeface="+mn-lt"/>
                <a:sym typeface="Trebuchet MS" panose="020B0603020202020204" pitchFamily="34" charset="0"/>
              </a:defRPr>
            </a:lvl1pPr>
          </a:lstStyle>
          <a:p>
            <a:endParaRPr lang="fi-FI"/>
          </a:p>
        </p:txBody>
      </p:sp>
    </p:spTree>
    <p:extLst>
      <p:ext uri="{BB962C8B-B14F-4D97-AF65-F5344CB8AC3E}">
        <p14:creationId xmlns:p14="http://schemas.microsoft.com/office/powerpoint/2010/main" val="3295959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1_blank_logo">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userDrawn="1"/>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userDrawn="1">
            <p:custDataLst>
              <p:tags r:id="rId1"/>
            </p:custDataLst>
            <p:extLst>
              <p:ext uri="{D42A27DB-BD31-4B8C-83A1-F6EECF244321}">
                <p14:modId xmlns:p14="http://schemas.microsoft.com/office/powerpoint/2010/main" val="878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blue letters on a black background&#10;&#10;Description automatically generated">
            <a:extLst>
              <a:ext uri="{FF2B5EF4-FFF2-40B4-BE49-F238E27FC236}">
                <a16:creationId xmlns:a16="http://schemas.microsoft.com/office/drawing/2014/main" id="{A06D018F-F123-CB01-91DA-D027EE03D24C}"/>
              </a:ext>
            </a:extLst>
          </p:cNvPr>
          <p:cNvPicPr>
            <a:picLocks noChangeAspect="1"/>
          </p:cNvPicPr>
          <p:nvPr userDrawn="1"/>
        </p:nvPicPr>
        <p:blipFill>
          <a:blip r:embed="rId5"/>
          <a:stretch>
            <a:fillRect/>
          </a:stretch>
        </p:blipFill>
        <p:spPr>
          <a:xfrm>
            <a:off x="10307937" y="6228261"/>
            <a:ext cx="1440000" cy="304460"/>
          </a:xfrm>
          <a:prstGeom prst="rect">
            <a:avLst/>
          </a:prstGeom>
        </p:spPr>
      </p:pic>
    </p:spTree>
    <p:extLst>
      <p:ext uri="{BB962C8B-B14F-4D97-AF65-F5344CB8AC3E}">
        <p14:creationId xmlns:p14="http://schemas.microsoft.com/office/powerpoint/2010/main" val="2950114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Sub-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140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solidFill>
                <a:schemeClr val="tx2"/>
              </a:solidFill>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10" name="Title 1">
            <a:extLst>
              <a:ext uri="{FF2B5EF4-FFF2-40B4-BE49-F238E27FC236}">
                <a16:creationId xmlns:a16="http://schemas.microsoft.com/office/drawing/2014/main" id="{FA2F9386-90D4-03DE-3450-696FF6062764}"/>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3600" b="0" baseline="0">
                <a:solidFill>
                  <a:schemeClr val="bg1"/>
                </a:solidFill>
                <a:latin typeface="+mj-lt"/>
                <a:ea typeface="+mj-ea"/>
                <a:cs typeface="+mj-cs"/>
                <a:sym typeface="Trebuchet MS" panose="020B0603020202020204" pitchFamily="34" charset="0"/>
              </a:defRPr>
            </a:lvl1pPr>
          </a:lstStyle>
          <a:p>
            <a:r>
              <a:rPr lang="fi-FI"/>
              <a:t>Otsikko</a:t>
            </a:r>
          </a:p>
        </p:txBody>
      </p:sp>
      <p:pic>
        <p:nvPicPr>
          <p:cNvPr id="9" name="Picture 8">
            <a:extLst>
              <a:ext uri="{FF2B5EF4-FFF2-40B4-BE49-F238E27FC236}">
                <a16:creationId xmlns:a16="http://schemas.microsoft.com/office/drawing/2014/main" id="{B2B11D02-E0B9-FEEB-8F70-3AFA2DFEED5C}"/>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27B99B8B-4385-9A1D-E346-1D70E29F1473}"/>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1813F007-FA4F-F4D4-DD93-76B722A79684}"/>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765D5CA5-CB97-BDC6-C353-42A5B0C6604E}"/>
              </a:ext>
            </a:extLst>
          </p:cNvPr>
          <p:cNvPicPr>
            <a:picLocks noChangeAspect="1"/>
          </p:cNvPicPr>
          <p:nvPr userDrawn="1"/>
        </p:nvPicPr>
        <p:blipFill>
          <a:blip r:embed="rId7"/>
          <a:srcRect/>
          <a:stretch/>
        </p:blipFill>
        <p:spPr>
          <a:xfrm>
            <a:off x="2" y="-1"/>
            <a:ext cx="12191996" cy="3492498"/>
          </a:xfrm>
          <a:prstGeom prst="rect">
            <a:avLst/>
          </a:prstGeom>
        </p:spPr>
      </p:pic>
    </p:spTree>
    <p:extLst>
      <p:ext uri="{BB962C8B-B14F-4D97-AF65-F5344CB8AC3E}">
        <p14:creationId xmlns:p14="http://schemas.microsoft.com/office/powerpoint/2010/main" val="3450727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_Sub-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140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solidFill>
                <a:schemeClr val="tx2"/>
              </a:solidFill>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10" name="Title 1">
            <a:extLst>
              <a:ext uri="{FF2B5EF4-FFF2-40B4-BE49-F238E27FC236}">
                <a16:creationId xmlns:a16="http://schemas.microsoft.com/office/drawing/2014/main" id="{FA2F9386-90D4-03DE-3450-696FF6062764}"/>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3600" b="0" baseline="0">
                <a:solidFill>
                  <a:schemeClr val="bg1"/>
                </a:solidFill>
                <a:latin typeface="+mj-lt"/>
                <a:ea typeface="+mj-ea"/>
                <a:cs typeface="+mj-cs"/>
                <a:sym typeface="Trebuchet MS" panose="020B0603020202020204" pitchFamily="34" charset="0"/>
              </a:defRPr>
            </a:lvl1pPr>
          </a:lstStyle>
          <a:p>
            <a:r>
              <a:rPr lang="fi-FI"/>
              <a:t>Otsikko</a:t>
            </a:r>
          </a:p>
        </p:txBody>
      </p:sp>
      <p:pic>
        <p:nvPicPr>
          <p:cNvPr id="9" name="Picture 8">
            <a:extLst>
              <a:ext uri="{FF2B5EF4-FFF2-40B4-BE49-F238E27FC236}">
                <a16:creationId xmlns:a16="http://schemas.microsoft.com/office/drawing/2014/main" id="{B2B11D02-E0B9-FEEB-8F70-3AFA2DFEED5C}"/>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66A2A5FD-8484-86A2-FE3F-882809B12A54}"/>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646E9DD3-EC42-A912-D0A2-E9E4FE99199B}"/>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765D5CA5-CB97-BDC6-C353-42A5B0C6604E}"/>
              </a:ext>
            </a:extLst>
          </p:cNvPr>
          <p:cNvPicPr>
            <a:picLocks noChangeAspect="1"/>
          </p:cNvPicPr>
          <p:nvPr userDrawn="1"/>
        </p:nvPicPr>
        <p:blipFill>
          <a:blip r:embed="rId7"/>
          <a:srcRect/>
          <a:stretch/>
        </p:blipFill>
        <p:spPr>
          <a:xfrm>
            <a:off x="2" y="-1"/>
            <a:ext cx="12191996" cy="3492498"/>
          </a:xfrm>
          <a:prstGeom prst="rect">
            <a:avLst/>
          </a:prstGeom>
        </p:spPr>
      </p:pic>
    </p:spTree>
    <p:extLst>
      <p:ext uri="{BB962C8B-B14F-4D97-AF65-F5344CB8AC3E}">
        <p14:creationId xmlns:p14="http://schemas.microsoft.com/office/powerpoint/2010/main" val="117351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_Sub-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140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solidFill>
                <a:schemeClr val="tx2"/>
              </a:solidFill>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10" name="Title 1">
            <a:extLst>
              <a:ext uri="{FF2B5EF4-FFF2-40B4-BE49-F238E27FC236}">
                <a16:creationId xmlns:a16="http://schemas.microsoft.com/office/drawing/2014/main" id="{FA2F9386-90D4-03DE-3450-696FF6062764}"/>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3600" b="0" baseline="0">
                <a:solidFill>
                  <a:schemeClr val="bg1"/>
                </a:solidFill>
                <a:latin typeface="+mj-lt"/>
                <a:ea typeface="+mj-ea"/>
                <a:cs typeface="+mj-cs"/>
                <a:sym typeface="Trebuchet MS" panose="020B0603020202020204" pitchFamily="34" charset="0"/>
              </a:defRPr>
            </a:lvl1pPr>
          </a:lstStyle>
          <a:p>
            <a:r>
              <a:rPr lang="fi-FI"/>
              <a:t>Otsikko</a:t>
            </a:r>
          </a:p>
        </p:txBody>
      </p:sp>
      <p:pic>
        <p:nvPicPr>
          <p:cNvPr id="9" name="Picture 8">
            <a:extLst>
              <a:ext uri="{FF2B5EF4-FFF2-40B4-BE49-F238E27FC236}">
                <a16:creationId xmlns:a16="http://schemas.microsoft.com/office/drawing/2014/main" id="{B2B11D02-E0B9-FEEB-8F70-3AFA2DFEED5C}"/>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711289D3-08FE-D5E4-67BB-D7F6F8E4F4AA}"/>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8C0270EB-6777-5793-C83E-ED57E3B63F62}"/>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765D5CA5-CB97-BDC6-C353-42A5B0C6604E}"/>
              </a:ext>
            </a:extLst>
          </p:cNvPr>
          <p:cNvPicPr>
            <a:picLocks noChangeAspect="1"/>
          </p:cNvPicPr>
          <p:nvPr userDrawn="1"/>
        </p:nvPicPr>
        <p:blipFill>
          <a:blip r:embed="rId7"/>
          <a:srcRect/>
          <a:stretch/>
        </p:blipFill>
        <p:spPr>
          <a:xfrm>
            <a:off x="3" y="-1"/>
            <a:ext cx="12191993" cy="3492498"/>
          </a:xfrm>
          <a:prstGeom prst="rect">
            <a:avLst/>
          </a:prstGeom>
        </p:spPr>
      </p:pic>
    </p:spTree>
    <p:extLst>
      <p:ext uri="{BB962C8B-B14F-4D97-AF65-F5344CB8AC3E}">
        <p14:creationId xmlns:p14="http://schemas.microsoft.com/office/powerpoint/2010/main" val="534130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4_Sub-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140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solidFill>
                <a:schemeClr val="tx2"/>
              </a:solidFill>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10" name="Title 1">
            <a:extLst>
              <a:ext uri="{FF2B5EF4-FFF2-40B4-BE49-F238E27FC236}">
                <a16:creationId xmlns:a16="http://schemas.microsoft.com/office/drawing/2014/main" id="{FA2F9386-90D4-03DE-3450-696FF6062764}"/>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3600" b="0" baseline="0">
                <a:solidFill>
                  <a:schemeClr val="bg1"/>
                </a:solidFill>
                <a:latin typeface="+mj-lt"/>
                <a:ea typeface="+mj-ea"/>
                <a:cs typeface="+mj-cs"/>
                <a:sym typeface="Trebuchet MS" panose="020B0603020202020204" pitchFamily="34" charset="0"/>
              </a:defRPr>
            </a:lvl1pPr>
          </a:lstStyle>
          <a:p>
            <a:r>
              <a:rPr lang="fi-FI"/>
              <a:t>Otsikko</a:t>
            </a:r>
          </a:p>
        </p:txBody>
      </p:sp>
      <p:pic>
        <p:nvPicPr>
          <p:cNvPr id="9" name="Picture 8">
            <a:extLst>
              <a:ext uri="{FF2B5EF4-FFF2-40B4-BE49-F238E27FC236}">
                <a16:creationId xmlns:a16="http://schemas.microsoft.com/office/drawing/2014/main" id="{B2B11D02-E0B9-FEEB-8F70-3AFA2DFEED5C}"/>
              </a:ext>
            </a:extLst>
          </p:cNvPr>
          <p:cNvPicPr>
            <a:picLocks noChangeAspect="1"/>
          </p:cNvPicPr>
          <p:nvPr userDrawn="1"/>
        </p:nvPicPr>
        <p:blipFill>
          <a:blip r:embed="rId6"/>
          <a:srcRect/>
          <a:stretch/>
        </p:blipFill>
        <p:spPr>
          <a:xfrm>
            <a:off x="10307937" y="6308646"/>
            <a:ext cx="1440000" cy="304457"/>
          </a:xfrm>
          <a:prstGeom prst="rect">
            <a:avLst/>
          </a:prstGeom>
        </p:spPr>
      </p:pic>
      <p:sp>
        <p:nvSpPr>
          <p:cNvPr id="2" name="Date Placeholder 3">
            <a:extLst>
              <a:ext uri="{FF2B5EF4-FFF2-40B4-BE49-F238E27FC236}">
                <a16:creationId xmlns:a16="http://schemas.microsoft.com/office/drawing/2014/main" id="{A1BDAF98-31C3-21D6-96BD-FDD2328D6273}"/>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5" name="TextBox 4">
            <a:extLst>
              <a:ext uri="{FF2B5EF4-FFF2-40B4-BE49-F238E27FC236}">
                <a16:creationId xmlns:a16="http://schemas.microsoft.com/office/drawing/2014/main" id="{04614073-6201-7A2C-EDD2-4DB70854A80E}"/>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6" name="Picture 5">
            <a:extLst>
              <a:ext uri="{FF2B5EF4-FFF2-40B4-BE49-F238E27FC236}">
                <a16:creationId xmlns:a16="http://schemas.microsoft.com/office/drawing/2014/main" id="{765D5CA5-CB97-BDC6-C353-42A5B0C6604E}"/>
              </a:ext>
            </a:extLst>
          </p:cNvPr>
          <p:cNvPicPr>
            <a:picLocks noChangeAspect="1"/>
          </p:cNvPicPr>
          <p:nvPr userDrawn="1"/>
        </p:nvPicPr>
        <p:blipFill>
          <a:blip r:embed="rId7"/>
          <a:srcRect/>
          <a:stretch/>
        </p:blipFill>
        <p:spPr>
          <a:xfrm>
            <a:off x="5" y="-1"/>
            <a:ext cx="12191989" cy="3492496"/>
          </a:xfrm>
          <a:prstGeom prst="rect">
            <a:avLst/>
          </a:prstGeom>
        </p:spPr>
      </p:pic>
    </p:spTree>
    <p:extLst>
      <p:ext uri="{BB962C8B-B14F-4D97-AF65-F5344CB8AC3E}">
        <p14:creationId xmlns:p14="http://schemas.microsoft.com/office/powerpoint/2010/main" val="3642853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Sub-title slide_turkoosi">
    <p:spTree>
      <p:nvGrpSpPr>
        <p:cNvPr id="1" name=""/>
        <p:cNvGrpSpPr/>
        <p:nvPr/>
      </p:nvGrpSpPr>
      <p:grpSpPr>
        <a:xfrm>
          <a:off x="0" y="0"/>
          <a:ext cx="0" cy="0"/>
          <a:chOff x="0" y="0"/>
          <a:chExt cx="0" cy="0"/>
        </a:xfrm>
      </p:grpSpPr>
      <p:pic>
        <p:nvPicPr>
          <p:cNvPr id="12" name="Picture 11" descr="A train on the tracks&#10;&#10;Description automatically generated">
            <a:extLst>
              <a:ext uri="{FF2B5EF4-FFF2-40B4-BE49-F238E27FC236}">
                <a16:creationId xmlns:a16="http://schemas.microsoft.com/office/drawing/2014/main" id="{9FDC09A4-E79B-6EA0-FD99-2730DE5A201F}"/>
              </a:ext>
            </a:extLst>
          </p:cNvPr>
          <p:cNvPicPr>
            <a:picLocks noChangeAspect="1"/>
          </p:cNvPicPr>
          <p:nvPr userDrawn="1"/>
        </p:nvPicPr>
        <p:blipFill rotWithShape="1">
          <a:blip r:embed="rId4"/>
          <a:srcRect r="11218"/>
          <a:stretch/>
        </p:blipFill>
        <p:spPr>
          <a:xfrm>
            <a:off x="3054097" y="0"/>
            <a:ext cx="9137903" cy="6870153"/>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836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orakulmio 2">
            <a:extLst>
              <a:ext uri="{FF2B5EF4-FFF2-40B4-BE49-F238E27FC236}">
                <a16:creationId xmlns:a16="http://schemas.microsoft.com/office/drawing/2014/main" id="{9186B914-0DAD-4B52-99E8-C361FEA7735C}"/>
              </a:ext>
            </a:extLst>
          </p:cNvPr>
          <p:cNvSpPr/>
          <p:nvPr userDrawn="1"/>
        </p:nvSpPr>
        <p:spPr>
          <a:xfrm>
            <a:off x="0" y="-5679"/>
            <a:ext cx="6389440" cy="6863680"/>
          </a:xfrm>
          <a:custGeom>
            <a:avLst/>
            <a:gdLst>
              <a:gd name="connsiteX0" fmla="*/ 0 w 5276258"/>
              <a:gd name="connsiteY0" fmla="*/ 0 h 6858000"/>
              <a:gd name="connsiteX1" fmla="*/ 5276258 w 5276258"/>
              <a:gd name="connsiteY1" fmla="*/ 0 h 6858000"/>
              <a:gd name="connsiteX2" fmla="*/ 5276258 w 5276258"/>
              <a:gd name="connsiteY2" fmla="*/ 6858000 h 6858000"/>
              <a:gd name="connsiteX3" fmla="*/ 0 w 5276258"/>
              <a:gd name="connsiteY3" fmla="*/ 6858000 h 6858000"/>
              <a:gd name="connsiteX4" fmla="*/ 0 w 5276258"/>
              <a:gd name="connsiteY4" fmla="*/ 0 h 6858000"/>
              <a:gd name="connsiteX0" fmla="*/ 0 w 7178891"/>
              <a:gd name="connsiteY0" fmla="*/ 5680 h 6863680"/>
              <a:gd name="connsiteX1" fmla="*/ 7178891 w 7178891"/>
              <a:gd name="connsiteY1" fmla="*/ 0 h 6863680"/>
              <a:gd name="connsiteX2" fmla="*/ 5276258 w 7178891"/>
              <a:gd name="connsiteY2" fmla="*/ 6863680 h 6863680"/>
              <a:gd name="connsiteX3" fmla="*/ 0 w 7178891"/>
              <a:gd name="connsiteY3" fmla="*/ 6863680 h 6863680"/>
              <a:gd name="connsiteX4" fmla="*/ 0 w 7178891"/>
              <a:gd name="connsiteY4" fmla="*/ 5680 h 6863680"/>
              <a:gd name="connsiteX0" fmla="*/ 0 w 6389440"/>
              <a:gd name="connsiteY0" fmla="*/ 5680 h 6863680"/>
              <a:gd name="connsiteX1" fmla="*/ 6389440 w 6389440"/>
              <a:gd name="connsiteY1" fmla="*/ 0 h 6863680"/>
              <a:gd name="connsiteX2" fmla="*/ 5276258 w 6389440"/>
              <a:gd name="connsiteY2" fmla="*/ 6863680 h 6863680"/>
              <a:gd name="connsiteX3" fmla="*/ 0 w 6389440"/>
              <a:gd name="connsiteY3" fmla="*/ 6863680 h 6863680"/>
              <a:gd name="connsiteX4" fmla="*/ 0 w 6389440"/>
              <a:gd name="connsiteY4" fmla="*/ 5680 h 6863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9440" h="6863680">
                <a:moveTo>
                  <a:pt x="0" y="5680"/>
                </a:moveTo>
                <a:lnTo>
                  <a:pt x="6389440" y="0"/>
                </a:lnTo>
                <a:lnTo>
                  <a:pt x="5276258" y="6863680"/>
                </a:lnTo>
                <a:lnTo>
                  <a:pt x="0" y="6863680"/>
                </a:lnTo>
                <a:lnTo>
                  <a:pt x="0" y="568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4750280-FE26-7EDE-23B8-314C0DD648BB}"/>
              </a:ext>
            </a:extLst>
          </p:cNvPr>
          <p:cNvSpPr>
            <a:spLocks noGrp="1"/>
          </p:cNvSpPr>
          <p:nvPr>
            <p:ph type="ctrTitle"/>
          </p:nvPr>
        </p:nvSpPr>
        <p:spPr bwMode="ltGray">
          <a:xfrm>
            <a:off x="819150" y="1484313"/>
            <a:ext cx="4780676" cy="979487"/>
          </a:xfrm>
          <a:prstGeom prst="rect">
            <a:avLst/>
          </a:prstGeom>
        </p:spPr>
        <p:txBody>
          <a:bodyPr vert="horz" anchor="t">
            <a:noAutofit/>
          </a:bodyPr>
          <a:lstStyle>
            <a:lvl1pPr algn="l" rtl="0">
              <a:lnSpc>
                <a:spcPct val="93000"/>
              </a:lnSpc>
              <a:defRPr sz="3200" b="0" baseline="0">
                <a:solidFill>
                  <a:schemeClr val="bg1"/>
                </a:solidFill>
                <a:latin typeface="+mj-lt"/>
                <a:ea typeface="+mj-ea"/>
                <a:cs typeface="+mj-cs"/>
                <a:sym typeface="Trebuchet MS" panose="020B0603020202020204" pitchFamily="34" charset="0"/>
              </a:defRPr>
            </a:lvl1pPr>
          </a:lstStyle>
          <a:p>
            <a:endParaRPr lang="fi-FI"/>
          </a:p>
        </p:txBody>
      </p:sp>
      <p:pic>
        <p:nvPicPr>
          <p:cNvPr id="2" name="Picture 1">
            <a:extLst>
              <a:ext uri="{FF2B5EF4-FFF2-40B4-BE49-F238E27FC236}">
                <a16:creationId xmlns:a16="http://schemas.microsoft.com/office/drawing/2014/main" id="{5860C2B0-3F50-D738-FB2A-1CD1774BAFC9}"/>
              </a:ext>
            </a:extLst>
          </p:cNvPr>
          <p:cNvPicPr>
            <a:picLocks noChangeAspect="1"/>
          </p:cNvPicPr>
          <p:nvPr userDrawn="1"/>
        </p:nvPicPr>
        <p:blipFill>
          <a:blip r:embed="rId7"/>
          <a:srcRect/>
          <a:stretch/>
        </p:blipFill>
        <p:spPr>
          <a:xfrm>
            <a:off x="10307937" y="6308646"/>
            <a:ext cx="1440000" cy="304457"/>
          </a:xfrm>
          <a:prstGeom prst="rect">
            <a:avLst/>
          </a:prstGeom>
        </p:spPr>
      </p:pic>
      <p:sp>
        <p:nvSpPr>
          <p:cNvPr id="10" name="Date Placeholder 3">
            <a:extLst>
              <a:ext uri="{FF2B5EF4-FFF2-40B4-BE49-F238E27FC236}">
                <a16:creationId xmlns:a16="http://schemas.microsoft.com/office/drawing/2014/main" id="{C1F3421B-156F-4C95-D2C9-18FE8369AB96}"/>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1" name="TextBox 10">
            <a:extLst>
              <a:ext uri="{FF2B5EF4-FFF2-40B4-BE49-F238E27FC236}">
                <a16:creationId xmlns:a16="http://schemas.microsoft.com/office/drawing/2014/main" id="{E163AF03-0560-8462-7DC2-95D6522BD9B0}"/>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
        <p:nvSpPr>
          <p:cNvPr id="6" name="Text Placeholder 5">
            <a:extLst>
              <a:ext uri="{FF2B5EF4-FFF2-40B4-BE49-F238E27FC236}">
                <a16:creationId xmlns:a16="http://schemas.microsoft.com/office/drawing/2014/main" id="{13D77ECC-9502-2B1F-BC5C-440529C9BC1F}"/>
              </a:ext>
            </a:extLst>
          </p:cNvPr>
          <p:cNvSpPr>
            <a:spLocks noGrp="1"/>
          </p:cNvSpPr>
          <p:nvPr>
            <p:ph type="body" sz="quarter" idx="10"/>
          </p:nvPr>
        </p:nvSpPr>
        <p:spPr>
          <a:xfrm>
            <a:off x="819150" y="2647950"/>
            <a:ext cx="4254500" cy="3575050"/>
          </a:xfrm>
        </p:spPr>
        <p:txBody>
          <a:bodyPr/>
          <a:lstStyle>
            <a:lvl1pPr>
              <a:defRPr sz="2200">
                <a:solidFill>
                  <a:schemeClr val="bg1"/>
                </a:solidFill>
              </a:defRPr>
            </a:lvl1pPr>
            <a:lvl2pPr>
              <a:defRPr>
                <a:solidFill>
                  <a:schemeClr val="bg1"/>
                </a:solidFill>
              </a:defRPr>
            </a:lvl2pPr>
            <a:lvl3pPr>
              <a:defRPr sz="1800">
                <a:solidFill>
                  <a:schemeClr val="bg1"/>
                </a:solidFill>
              </a:defRPr>
            </a:lvl3pPr>
          </a:lstStyle>
          <a:p>
            <a:pPr lvl="0"/>
            <a:r>
              <a:rPr lang="en-GB"/>
              <a:t>Click to edit Master text styles</a:t>
            </a:r>
          </a:p>
          <a:p>
            <a:pPr lvl="1"/>
            <a:r>
              <a:rPr lang="en-GB"/>
              <a:t>Second level</a:t>
            </a:r>
          </a:p>
          <a:p>
            <a:pPr lvl="2"/>
            <a:r>
              <a:rPr lang="en-GB"/>
              <a:t>Third level</a:t>
            </a:r>
            <a:endParaRPr lang="fi-FI"/>
          </a:p>
        </p:txBody>
      </p:sp>
    </p:spTree>
    <p:extLst>
      <p:ext uri="{BB962C8B-B14F-4D97-AF65-F5344CB8AC3E}">
        <p14:creationId xmlns:p14="http://schemas.microsoft.com/office/powerpoint/2010/main" val="3747891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2_Sub-title slide_violetti">
    <p:spTree>
      <p:nvGrpSpPr>
        <p:cNvPr id="1" name=""/>
        <p:cNvGrpSpPr/>
        <p:nvPr/>
      </p:nvGrpSpPr>
      <p:grpSpPr>
        <a:xfrm>
          <a:off x="0" y="0"/>
          <a:ext cx="0" cy="0"/>
          <a:chOff x="0" y="0"/>
          <a:chExt cx="0" cy="0"/>
        </a:xfrm>
      </p:grpSpPr>
      <p:pic>
        <p:nvPicPr>
          <p:cNvPr id="20" name="Picture 19" descr="A train on the tracks&#10;&#10;Description automatically generated">
            <a:extLst>
              <a:ext uri="{FF2B5EF4-FFF2-40B4-BE49-F238E27FC236}">
                <a16:creationId xmlns:a16="http://schemas.microsoft.com/office/drawing/2014/main" id="{528413EE-69DE-474E-3B44-B3B0242E8AED}"/>
              </a:ext>
            </a:extLst>
          </p:cNvPr>
          <p:cNvPicPr>
            <a:picLocks noChangeAspect="1"/>
          </p:cNvPicPr>
          <p:nvPr userDrawn="1"/>
        </p:nvPicPr>
        <p:blipFill rotWithShape="1">
          <a:blip r:embed="rId4"/>
          <a:srcRect r="18091"/>
          <a:stretch/>
        </p:blipFill>
        <p:spPr>
          <a:xfrm>
            <a:off x="3756283" y="0"/>
            <a:ext cx="8435718" cy="6865906"/>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836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orakulmio 2">
            <a:extLst>
              <a:ext uri="{FF2B5EF4-FFF2-40B4-BE49-F238E27FC236}">
                <a16:creationId xmlns:a16="http://schemas.microsoft.com/office/drawing/2014/main" id="{9186B914-0DAD-4B52-99E8-C361FEA7735C}"/>
              </a:ext>
            </a:extLst>
          </p:cNvPr>
          <p:cNvSpPr/>
          <p:nvPr userDrawn="1"/>
        </p:nvSpPr>
        <p:spPr>
          <a:xfrm>
            <a:off x="0" y="-5679"/>
            <a:ext cx="6389440" cy="6863680"/>
          </a:xfrm>
          <a:custGeom>
            <a:avLst/>
            <a:gdLst>
              <a:gd name="connsiteX0" fmla="*/ 0 w 5276258"/>
              <a:gd name="connsiteY0" fmla="*/ 0 h 6858000"/>
              <a:gd name="connsiteX1" fmla="*/ 5276258 w 5276258"/>
              <a:gd name="connsiteY1" fmla="*/ 0 h 6858000"/>
              <a:gd name="connsiteX2" fmla="*/ 5276258 w 5276258"/>
              <a:gd name="connsiteY2" fmla="*/ 6858000 h 6858000"/>
              <a:gd name="connsiteX3" fmla="*/ 0 w 5276258"/>
              <a:gd name="connsiteY3" fmla="*/ 6858000 h 6858000"/>
              <a:gd name="connsiteX4" fmla="*/ 0 w 5276258"/>
              <a:gd name="connsiteY4" fmla="*/ 0 h 6858000"/>
              <a:gd name="connsiteX0" fmla="*/ 0 w 7178891"/>
              <a:gd name="connsiteY0" fmla="*/ 5680 h 6863680"/>
              <a:gd name="connsiteX1" fmla="*/ 7178891 w 7178891"/>
              <a:gd name="connsiteY1" fmla="*/ 0 h 6863680"/>
              <a:gd name="connsiteX2" fmla="*/ 5276258 w 7178891"/>
              <a:gd name="connsiteY2" fmla="*/ 6863680 h 6863680"/>
              <a:gd name="connsiteX3" fmla="*/ 0 w 7178891"/>
              <a:gd name="connsiteY3" fmla="*/ 6863680 h 6863680"/>
              <a:gd name="connsiteX4" fmla="*/ 0 w 7178891"/>
              <a:gd name="connsiteY4" fmla="*/ 5680 h 6863680"/>
              <a:gd name="connsiteX0" fmla="*/ 0 w 6389440"/>
              <a:gd name="connsiteY0" fmla="*/ 5680 h 6863680"/>
              <a:gd name="connsiteX1" fmla="*/ 6389440 w 6389440"/>
              <a:gd name="connsiteY1" fmla="*/ 0 h 6863680"/>
              <a:gd name="connsiteX2" fmla="*/ 5276258 w 6389440"/>
              <a:gd name="connsiteY2" fmla="*/ 6863680 h 6863680"/>
              <a:gd name="connsiteX3" fmla="*/ 0 w 6389440"/>
              <a:gd name="connsiteY3" fmla="*/ 6863680 h 6863680"/>
              <a:gd name="connsiteX4" fmla="*/ 0 w 6389440"/>
              <a:gd name="connsiteY4" fmla="*/ 5680 h 6863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9440" h="6863680">
                <a:moveTo>
                  <a:pt x="0" y="5680"/>
                </a:moveTo>
                <a:lnTo>
                  <a:pt x="6389440" y="0"/>
                </a:lnTo>
                <a:lnTo>
                  <a:pt x="5276258" y="6863680"/>
                </a:lnTo>
                <a:lnTo>
                  <a:pt x="0" y="6863680"/>
                </a:lnTo>
                <a:lnTo>
                  <a:pt x="0" y="568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4750280-FE26-7EDE-23B8-314C0DD648BB}"/>
              </a:ext>
            </a:extLst>
          </p:cNvPr>
          <p:cNvSpPr>
            <a:spLocks noGrp="1"/>
          </p:cNvSpPr>
          <p:nvPr>
            <p:ph type="ctrTitle"/>
          </p:nvPr>
        </p:nvSpPr>
        <p:spPr bwMode="ltGray">
          <a:xfrm>
            <a:off x="819150" y="1484313"/>
            <a:ext cx="4780676" cy="979487"/>
          </a:xfrm>
          <a:prstGeom prst="rect">
            <a:avLst/>
          </a:prstGeom>
        </p:spPr>
        <p:txBody>
          <a:bodyPr vert="horz" anchor="t">
            <a:noAutofit/>
          </a:bodyPr>
          <a:lstStyle>
            <a:lvl1pPr algn="l" rtl="0">
              <a:lnSpc>
                <a:spcPct val="93000"/>
              </a:lnSpc>
              <a:defRPr sz="3200" b="0" baseline="0">
                <a:solidFill>
                  <a:schemeClr val="bg1"/>
                </a:solidFill>
                <a:latin typeface="+mj-lt"/>
                <a:ea typeface="+mj-ea"/>
                <a:cs typeface="+mj-cs"/>
                <a:sym typeface="Trebuchet MS" panose="020B0603020202020204" pitchFamily="34" charset="0"/>
              </a:defRPr>
            </a:lvl1pPr>
          </a:lstStyle>
          <a:p>
            <a:endParaRPr lang="fi-FI"/>
          </a:p>
        </p:txBody>
      </p:sp>
      <p:pic>
        <p:nvPicPr>
          <p:cNvPr id="2" name="Picture 1">
            <a:extLst>
              <a:ext uri="{FF2B5EF4-FFF2-40B4-BE49-F238E27FC236}">
                <a16:creationId xmlns:a16="http://schemas.microsoft.com/office/drawing/2014/main" id="{5860C2B0-3F50-D738-FB2A-1CD1774BAFC9}"/>
              </a:ext>
            </a:extLst>
          </p:cNvPr>
          <p:cNvPicPr>
            <a:picLocks noChangeAspect="1"/>
          </p:cNvPicPr>
          <p:nvPr userDrawn="1"/>
        </p:nvPicPr>
        <p:blipFill>
          <a:blip r:embed="rId7"/>
          <a:srcRect/>
          <a:stretch/>
        </p:blipFill>
        <p:spPr>
          <a:xfrm>
            <a:off x="10307937" y="6308646"/>
            <a:ext cx="1440000" cy="304457"/>
          </a:xfrm>
          <a:prstGeom prst="rect">
            <a:avLst/>
          </a:prstGeom>
        </p:spPr>
      </p:pic>
      <p:sp>
        <p:nvSpPr>
          <p:cNvPr id="10" name="Date Placeholder 3">
            <a:extLst>
              <a:ext uri="{FF2B5EF4-FFF2-40B4-BE49-F238E27FC236}">
                <a16:creationId xmlns:a16="http://schemas.microsoft.com/office/drawing/2014/main" id="{C1F3421B-156F-4C95-D2C9-18FE8369AB96}"/>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1" name="TextBox 10">
            <a:extLst>
              <a:ext uri="{FF2B5EF4-FFF2-40B4-BE49-F238E27FC236}">
                <a16:creationId xmlns:a16="http://schemas.microsoft.com/office/drawing/2014/main" id="{E163AF03-0560-8462-7DC2-95D6522BD9B0}"/>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sp>
        <p:nvSpPr>
          <p:cNvPr id="6" name="Text Placeholder 5">
            <a:extLst>
              <a:ext uri="{FF2B5EF4-FFF2-40B4-BE49-F238E27FC236}">
                <a16:creationId xmlns:a16="http://schemas.microsoft.com/office/drawing/2014/main" id="{13D77ECC-9502-2B1F-BC5C-440529C9BC1F}"/>
              </a:ext>
            </a:extLst>
          </p:cNvPr>
          <p:cNvSpPr>
            <a:spLocks noGrp="1"/>
          </p:cNvSpPr>
          <p:nvPr>
            <p:ph type="body" sz="quarter" idx="10"/>
          </p:nvPr>
        </p:nvSpPr>
        <p:spPr>
          <a:xfrm>
            <a:off x="819150" y="2647950"/>
            <a:ext cx="4254500" cy="3575050"/>
          </a:xfrm>
        </p:spPr>
        <p:txBody>
          <a:bodyPr/>
          <a:lstStyle>
            <a:lvl1pPr>
              <a:defRPr sz="2200">
                <a:solidFill>
                  <a:schemeClr val="bg1"/>
                </a:solidFill>
              </a:defRPr>
            </a:lvl1pPr>
            <a:lvl2pPr>
              <a:defRPr>
                <a:solidFill>
                  <a:schemeClr val="bg1"/>
                </a:solidFill>
              </a:defRPr>
            </a:lvl2pPr>
            <a:lvl3pPr>
              <a:defRPr sz="1800">
                <a:solidFill>
                  <a:schemeClr val="bg1"/>
                </a:solidFill>
              </a:defRPr>
            </a:lvl3pPr>
          </a:lstStyle>
          <a:p>
            <a:pPr lvl="0"/>
            <a:r>
              <a:rPr lang="en-GB"/>
              <a:t>Click to edit Master text styles</a:t>
            </a:r>
          </a:p>
          <a:p>
            <a:pPr lvl="1"/>
            <a:r>
              <a:rPr lang="en-GB"/>
              <a:t>Second level</a:t>
            </a:r>
          </a:p>
          <a:p>
            <a:pPr lvl="2"/>
            <a:r>
              <a:rPr lang="en-GB"/>
              <a:t>Third level</a:t>
            </a:r>
            <a:endParaRPr lang="fi-FI"/>
          </a:p>
        </p:txBody>
      </p:sp>
    </p:spTree>
    <p:extLst>
      <p:ext uri="{BB962C8B-B14F-4D97-AF65-F5344CB8AC3E}">
        <p14:creationId xmlns:p14="http://schemas.microsoft.com/office/powerpoint/2010/main" val="840348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1_Title Slide_e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2581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CB094E4-A2FA-ACFD-AF8B-0C4FFBD63D71}"/>
              </a:ext>
            </a:extLst>
          </p:cNvPr>
          <p:cNvSpPr>
            <a:spLocks noGrp="1"/>
          </p:cNvSpPr>
          <p:nvPr>
            <p:ph type="ctrTitle" hasCustomPrompt="1"/>
          </p:nvPr>
        </p:nvSpPr>
        <p:spPr bwMode="ltGray">
          <a:xfrm>
            <a:off x="1816267" y="4351971"/>
            <a:ext cx="8559467" cy="750827"/>
          </a:xfrm>
          <a:prstGeom prst="rect">
            <a:avLst/>
          </a:prstGeom>
        </p:spPr>
        <p:txBody>
          <a:bodyPr vert="horz" anchor="t">
            <a:noAutofit/>
          </a:bodyPr>
          <a:lstStyle>
            <a:lvl1pPr algn="ctr" rtl="0">
              <a:lnSpc>
                <a:spcPct val="93000"/>
              </a:lnSpc>
              <a:defRPr sz="4000" b="0" baseline="0">
                <a:solidFill>
                  <a:schemeClr val="bg1"/>
                </a:solidFill>
                <a:latin typeface="+mj-lt"/>
                <a:ea typeface="+mj-ea"/>
                <a:cs typeface="+mj-cs"/>
                <a:sym typeface="Trebuchet MS" panose="020B0603020202020204" pitchFamily="34" charset="0"/>
              </a:defRPr>
            </a:lvl1pPr>
          </a:lstStyle>
          <a:p>
            <a:r>
              <a:rPr lang="fi-FI"/>
              <a:t>Otsikko</a:t>
            </a:r>
          </a:p>
        </p:txBody>
      </p:sp>
      <p:sp>
        <p:nvSpPr>
          <p:cNvPr id="18" name="Freeform 17">
            <a:extLst>
              <a:ext uri="{FF2B5EF4-FFF2-40B4-BE49-F238E27FC236}">
                <a16:creationId xmlns:a16="http://schemas.microsoft.com/office/drawing/2014/main" id="{42C29690-68F5-932F-81F4-42436A26FF75}"/>
              </a:ext>
            </a:extLst>
          </p:cNvPr>
          <p:cNvSpPr>
            <a:spLocks/>
          </p:cNvSpPr>
          <p:nvPr/>
        </p:nvSpPr>
        <p:spPr bwMode="auto">
          <a:xfrm>
            <a:off x="5976289"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nvGrpSpPr>
          <p:cNvPr id="2" name="Group 1">
            <a:extLst>
              <a:ext uri="{FF2B5EF4-FFF2-40B4-BE49-F238E27FC236}">
                <a16:creationId xmlns:a16="http://schemas.microsoft.com/office/drawing/2014/main" id="{C664911C-157A-1694-58E7-D2FEAF8809A7}"/>
              </a:ext>
            </a:extLst>
          </p:cNvPr>
          <p:cNvGrpSpPr/>
          <p:nvPr userDrawn="1"/>
        </p:nvGrpSpPr>
        <p:grpSpPr>
          <a:xfrm>
            <a:off x="5976289" y="5455909"/>
            <a:ext cx="442707" cy="440676"/>
            <a:chOff x="6726920" y="5455909"/>
            <a:chExt cx="442707" cy="440676"/>
          </a:xfrm>
        </p:grpSpPr>
        <p:sp>
          <p:nvSpPr>
            <p:cNvPr id="17" name="Rectangle 16">
              <a:hlinkClick r:id="rId6"/>
              <a:extLst>
                <a:ext uri="{FF2B5EF4-FFF2-40B4-BE49-F238E27FC236}">
                  <a16:creationId xmlns:a16="http://schemas.microsoft.com/office/drawing/2014/main" id="{A7706E0C-6E23-F867-A5FA-07DA58D86944}"/>
                </a:ext>
              </a:extLst>
            </p:cNvPr>
            <p:cNvSpPr>
              <a:spLocks noChangeArrowheads="1"/>
            </p:cNvSpPr>
            <p:nvPr/>
          </p:nvSpPr>
          <p:spPr bwMode="auto">
            <a:xfrm>
              <a:off x="6734028" y="5602124"/>
              <a:ext cx="91384" cy="2944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19" name="Freeform 18">
              <a:hlinkClick r:id="rId6"/>
              <a:extLst>
                <a:ext uri="{FF2B5EF4-FFF2-40B4-BE49-F238E27FC236}">
                  <a16:creationId xmlns:a16="http://schemas.microsoft.com/office/drawing/2014/main" id="{B2F2104B-E006-CCE1-564F-40D68BD11B8C}"/>
                </a:ext>
              </a:extLst>
            </p:cNvPr>
            <p:cNvSpPr>
              <a:spLocks/>
            </p:cNvSpPr>
            <p:nvPr/>
          </p:nvSpPr>
          <p:spPr bwMode="auto">
            <a:xfrm>
              <a:off x="6726920"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20" name="Freeform 19">
              <a:hlinkClick r:id="rId6"/>
              <a:extLst>
                <a:ext uri="{FF2B5EF4-FFF2-40B4-BE49-F238E27FC236}">
                  <a16:creationId xmlns:a16="http://schemas.microsoft.com/office/drawing/2014/main" id="{26875E03-EC53-D128-2C40-6EDDB1077687}"/>
                </a:ext>
              </a:extLst>
            </p:cNvPr>
            <p:cNvSpPr>
              <a:spLocks/>
            </p:cNvSpPr>
            <p:nvPr/>
          </p:nvSpPr>
          <p:spPr bwMode="auto">
            <a:xfrm>
              <a:off x="6884304" y="5595017"/>
              <a:ext cx="285323" cy="301568"/>
            </a:xfrm>
            <a:custGeom>
              <a:avLst/>
              <a:gdLst>
                <a:gd name="T0" fmla="*/ 563 w 563"/>
                <a:gd name="T1" fmla="*/ 275 h 594"/>
                <a:gd name="T2" fmla="*/ 561 w 563"/>
                <a:gd name="T3" fmla="*/ 219 h 594"/>
                <a:gd name="T4" fmla="*/ 555 w 563"/>
                <a:gd name="T5" fmla="*/ 167 h 594"/>
                <a:gd name="T6" fmla="*/ 542 w 563"/>
                <a:gd name="T7" fmla="*/ 120 h 594"/>
                <a:gd name="T8" fmla="*/ 523 w 563"/>
                <a:gd name="T9" fmla="*/ 79 h 594"/>
                <a:gd name="T10" fmla="*/ 510 w 563"/>
                <a:gd name="T11" fmla="*/ 61 h 594"/>
                <a:gd name="T12" fmla="*/ 495 w 563"/>
                <a:gd name="T13" fmla="*/ 46 h 594"/>
                <a:gd name="T14" fmla="*/ 477 w 563"/>
                <a:gd name="T15" fmla="*/ 32 h 594"/>
                <a:gd name="T16" fmla="*/ 457 w 563"/>
                <a:gd name="T17" fmla="*/ 21 h 594"/>
                <a:gd name="T18" fmla="*/ 433 w 563"/>
                <a:gd name="T19" fmla="*/ 12 h 594"/>
                <a:gd name="T20" fmla="*/ 408 w 563"/>
                <a:gd name="T21" fmla="*/ 5 h 594"/>
                <a:gd name="T22" fmla="*/ 379 w 563"/>
                <a:gd name="T23" fmla="*/ 1 h 594"/>
                <a:gd name="T24" fmla="*/ 346 w 563"/>
                <a:gd name="T25" fmla="*/ 0 h 594"/>
                <a:gd name="T26" fmla="*/ 330 w 563"/>
                <a:gd name="T27" fmla="*/ 0 h 594"/>
                <a:gd name="T28" fmla="*/ 300 w 563"/>
                <a:gd name="T29" fmla="*/ 5 h 594"/>
                <a:gd name="T30" fmla="*/ 272 w 563"/>
                <a:gd name="T31" fmla="*/ 12 h 594"/>
                <a:gd name="T32" fmla="*/ 249 w 563"/>
                <a:gd name="T33" fmla="*/ 22 h 594"/>
                <a:gd name="T34" fmla="*/ 226 w 563"/>
                <a:gd name="T35" fmla="*/ 37 h 594"/>
                <a:gd name="T36" fmla="*/ 209 w 563"/>
                <a:gd name="T37" fmla="*/ 52 h 594"/>
                <a:gd name="T38" fmla="*/ 193 w 563"/>
                <a:gd name="T39" fmla="*/ 67 h 594"/>
                <a:gd name="T40" fmla="*/ 176 w 563"/>
                <a:gd name="T41" fmla="*/ 93 h 594"/>
                <a:gd name="T42" fmla="*/ 173 w 563"/>
                <a:gd name="T43" fmla="*/ 14 h 594"/>
                <a:gd name="T44" fmla="*/ 0 w 563"/>
                <a:gd name="T45" fmla="*/ 594 h 594"/>
                <a:gd name="T46" fmla="*/ 180 w 563"/>
                <a:gd name="T47" fmla="*/ 307 h 594"/>
                <a:gd name="T48" fmla="*/ 181 w 563"/>
                <a:gd name="T49" fmla="*/ 279 h 594"/>
                <a:gd name="T50" fmla="*/ 186 w 563"/>
                <a:gd name="T51" fmla="*/ 239 h 594"/>
                <a:gd name="T52" fmla="*/ 194 w 563"/>
                <a:gd name="T53" fmla="*/ 215 h 594"/>
                <a:gd name="T54" fmla="*/ 205 w 563"/>
                <a:gd name="T55" fmla="*/ 194 h 594"/>
                <a:gd name="T56" fmla="*/ 222 w 563"/>
                <a:gd name="T57" fmla="*/ 178 h 594"/>
                <a:gd name="T58" fmla="*/ 244 w 563"/>
                <a:gd name="T59" fmla="*/ 166 h 594"/>
                <a:gd name="T60" fmla="*/ 272 w 563"/>
                <a:gd name="T61" fmla="*/ 159 h 594"/>
                <a:gd name="T62" fmla="*/ 289 w 563"/>
                <a:gd name="T63" fmla="*/ 158 h 594"/>
                <a:gd name="T64" fmla="*/ 319 w 563"/>
                <a:gd name="T65" fmla="*/ 162 h 594"/>
                <a:gd name="T66" fmla="*/ 343 w 563"/>
                <a:gd name="T67" fmla="*/ 173 h 594"/>
                <a:gd name="T68" fmla="*/ 359 w 563"/>
                <a:gd name="T69" fmla="*/ 189 h 594"/>
                <a:gd name="T70" fmla="*/ 370 w 563"/>
                <a:gd name="T71" fmla="*/ 209 h 594"/>
                <a:gd name="T72" fmla="*/ 377 w 563"/>
                <a:gd name="T73" fmla="*/ 234 h 594"/>
                <a:gd name="T74" fmla="*/ 380 w 563"/>
                <a:gd name="T75" fmla="*/ 260 h 594"/>
                <a:gd name="T76" fmla="*/ 383 w 563"/>
                <a:gd name="T77" fmla="*/ 312 h 594"/>
                <a:gd name="T78" fmla="*/ 563 w 563"/>
                <a:gd name="T79"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3" h="594">
                  <a:moveTo>
                    <a:pt x="563" y="275"/>
                  </a:moveTo>
                  <a:lnTo>
                    <a:pt x="563" y="275"/>
                  </a:lnTo>
                  <a:lnTo>
                    <a:pt x="562" y="247"/>
                  </a:lnTo>
                  <a:lnTo>
                    <a:pt x="561" y="219"/>
                  </a:lnTo>
                  <a:lnTo>
                    <a:pt x="558" y="192"/>
                  </a:lnTo>
                  <a:lnTo>
                    <a:pt x="555" y="167"/>
                  </a:lnTo>
                  <a:lnTo>
                    <a:pt x="549" y="142"/>
                  </a:lnTo>
                  <a:lnTo>
                    <a:pt x="542" y="120"/>
                  </a:lnTo>
                  <a:lnTo>
                    <a:pt x="534" y="99"/>
                  </a:lnTo>
                  <a:lnTo>
                    <a:pt x="523" y="79"/>
                  </a:lnTo>
                  <a:lnTo>
                    <a:pt x="517" y="71"/>
                  </a:lnTo>
                  <a:lnTo>
                    <a:pt x="510" y="61"/>
                  </a:lnTo>
                  <a:lnTo>
                    <a:pt x="503" y="53"/>
                  </a:lnTo>
                  <a:lnTo>
                    <a:pt x="495" y="46"/>
                  </a:lnTo>
                  <a:lnTo>
                    <a:pt x="486" y="39"/>
                  </a:lnTo>
                  <a:lnTo>
                    <a:pt x="477" y="32"/>
                  </a:lnTo>
                  <a:lnTo>
                    <a:pt x="468" y="26"/>
                  </a:lnTo>
                  <a:lnTo>
                    <a:pt x="457" y="21"/>
                  </a:lnTo>
                  <a:lnTo>
                    <a:pt x="446" y="17"/>
                  </a:lnTo>
                  <a:lnTo>
                    <a:pt x="433" y="12"/>
                  </a:lnTo>
                  <a:lnTo>
                    <a:pt x="422" y="8"/>
                  </a:lnTo>
                  <a:lnTo>
                    <a:pt x="408" y="5"/>
                  </a:lnTo>
                  <a:lnTo>
                    <a:pt x="393" y="2"/>
                  </a:lnTo>
                  <a:lnTo>
                    <a:pt x="379" y="1"/>
                  </a:lnTo>
                  <a:lnTo>
                    <a:pt x="363" y="0"/>
                  </a:lnTo>
                  <a:lnTo>
                    <a:pt x="346" y="0"/>
                  </a:lnTo>
                  <a:lnTo>
                    <a:pt x="346" y="0"/>
                  </a:lnTo>
                  <a:lnTo>
                    <a:pt x="330" y="0"/>
                  </a:lnTo>
                  <a:lnTo>
                    <a:pt x="315" y="1"/>
                  </a:lnTo>
                  <a:lnTo>
                    <a:pt x="300" y="5"/>
                  </a:lnTo>
                  <a:lnTo>
                    <a:pt x="286" y="8"/>
                  </a:lnTo>
                  <a:lnTo>
                    <a:pt x="272" y="12"/>
                  </a:lnTo>
                  <a:lnTo>
                    <a:pt x="260" y="18"/>
                  </a:lnTo>
                  <a:lnTo>
                    <a:pt x="249" y="22"/>
                  </a:lnTo>
                  <a:lnTo>
                    <a:pt x="237" y="29"/>
                  </a:lnTo>
                  <a:lnTo>
                    <a:pt x="226" y="37"/>
                  </a:lnTo>
                  <a:lnTo>
                    <a:pt x="217" y="44"/>
                  </a:lnTo>
                  <a:lnTo>
                    <a:pt x="209" y="52"/>
                  </a:lnTo>
                  <a:lnTo>
                    <a:pt x="200" y="59"/>
                  </a:lnTo>
                  <a:lnTo>
                    <a:pt x="193" y="67"/>
                  </a:lnTo>
                  <a:lnTo>
                    <a:pt x="186" y="76"/>
                  </a:lnTo>
                  <a:lnTo>
                    <a:pt x="176" y="93"/>
                  </a:lnTo>
                  <a:lnTo>
                    <a:pt x="173" y="93"/>
                  </a:lnTo>
                  <a:lnTo>
                    <a:pt x="173" y="14"/>
                  </a:lnTo>
                  <a:lnTo>
                    <a:pt x="0" y="14"/>
                  </a:lnTo>
                  <a:lnTo>
                    <a:pt x="0" y="594"/>
                  </a:lnTo>
                  <a:lnTo>
                    <a:pt x="180" y="594"/>
                  </a:lnTo>
                  <a:lnTo>
                    <a:pt x="180" y="307"/>
                  </a:lnTo>
                  <a:lnTo>
                    <a:pt x="180" y="307"/>
                  </a:lnTo>
                  <a:lnTo>
                    <a:pt x="181" y="279"/>
                  </a:lnTo>
                  <a:lnTo>
                    <a:pt x="184" y="252"/>
                  </a:lnTo>
                  <a:lnTo>
                    <a:pt x="186" y="239"/>
                  </a:lnTo>
                  <a:lnTo>
                    <a:pt x="190" y="227"/>
                  </a:lnTo>
                  <a:lnTo>
                    <a:pt x="194" y="215"/>
                  </a:lnTo>
                  <a:lnTo>
                    <a:pt x="199" y="205"/>
                  </a:lnTo>
                  <a:lnTo>
                    <a:pt x="205" y="194"/>
                  </a:lnTo>
                  <a:lnTo>
                    <a:pt x="213" y="185"/>
                  </a:lnTo>
                  <a:lnTo>
                    <a:pt x="222" y="178"/>
                  </a:lnTo>
                  <a:lnTo>
                    <a:pt x="232" y="171"/>
                  </a:lnTo>
                  <a:lnTo>
                    <a:pt x="244" y="166"/>
                  </a:lnTo>
                  <a:lnTo>
                    <a:pt x="257" y="161"/>
                  </a:lnTo>
                  <a:lnTo>
                    <a:pt x="272" y="159"/>
                  </a:lnTo>
                  <a:lnTo>
                    <a:pt x="289" y="158"/>
                  </a:lnTo>
                  <a:lnTo>
                    <a:pt x="289" y="158"/>
                  </a:lnTo>
                  <a:lnTo>
                    <a:pt x="305" y="159"/>
                  </a:lnTo>
                  <a:lnTo>
                    <a:pt x="319" y="162"/>
                  </a:lnTo>
                  <a:lnTo>
                    <a:pt x="331" y="167"/>
                  </a:lnTo>
                  <a:lnTo>
                    <a:pt x="343" y="173"/>
                  </a:lnTo>
                  <a:lnTo>
                    <a:pt x="351" y="180"/>
                  </a:lnTo>
                  <a:lnTo>
                    <a:pt x="359" y="189"/>
                  </a:lnTo>
                  <a:lnTo>
                    <a:pt x="365" y="199"/>
                  </a:lnTo>
                  <a:lnTo>
                    <a:pt x="370" y="209"/>
                  </a:lnTo>
                  <a:lnTo>
                    <a:pt x="375" y="221"/>
                  </a:lnTo>
                  <a:lnTo>
                    <a:pt x="377" y="234"/>
                  </a:lnTo>
                  <a:lnTo>
                    <a:pt x="379" y="246"/>
                  </a:lnTo>
                  <a:lnTo>
                    <a:pt x="380" y="260"/>
                  </a:lnTo>
                  <a:lnTo>
                    <a:pt x="382" y="286"/>
                  </a:lnTo>
                  <a:lnTo>
                    <a:pt x="383" y="312"/>
                  </a:lnTo>
                  <a:lnTo>
                    <a:pt x="383" y="594"/>
                  </a:lnTo>
                  <a:lnTo>
                    <a:pt x="563" y="594"/>
                  </a:lnTo>
                  <a:lnTo>
                    <a:pt x="563"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sp>
        <p:nvSpPr>
          <p:cNvPr id="21" name="Freeform 20">
            <a:hlinkClick r:id="rId7"/>
            <a:extLst>
              <a:ext uri="{FF2B5EF4-FFF2-40B4-BE49-F238E27FC236}">
                <a16:creationId xmlns:a16="http://schemas.microsoft.com/office/drawing/2014/main" id="{BC1D8BF7-8BF4-17A9-7E7A-DB518848EFD2}"/>
              </a:ext>
            </a:extLst>
          </p:cNvPr>
          <p:cNvSpPr>
            <a:spLocks/>
          </p:cNvSpPr>
          <p:nvPr userDrawn="1"/>
        </p:nvSpPr>
        <p:spPr bwMode="auto">
          <a:xfrm>
            <a:off x="5124016" y="5537141"/>
            <a:ext cx="442706" cy="359444"/>
          </a:xfrm>
          <a:custGeom>
            <a:avLst/>
            <a:gdLst>
              <a:gd name="T0" fmla="*/ 792 w 871"/>
              <a:gd name="T1" fmla="*/ 39 h 707"/>
              <a:gd name="T2" fmla="*/ 721 w 871"/>
              <a:gd name="T3" fmla="*/ 43 h 707"/>
              <a:gd name="T4" fmla="*/ 658 w 871"/>
              <a:gd name="T5" fmla="*/ 8 h 707"/>
              <a:gd name="T6" fmla="*/ 603 w 871"/>
              <a:gd name="T7" fmla="*/ 0 h 707"/>
              <a:gd name="T8" fmla="*/ 533 w 871"/>
              <a:gd name="T9" fmla="*/ 14 h 707"/>
              <a:gd name="T10" fmla="*/ 477 w 871"/>
              <a:gd name="T11" fmla="*/ 52 h 707"/>
              <a:gd name="T12" fmla="*/ 438 w 871"/>
              <a:gd name="T13" fmla="*/ 108 h 707"/>
              <a:gd name="T14" fmla="*/ 425 w 871"/>
              <a:gd name="T15" fmla="*/ 178 h 707"/>
              <a:gd name="T16" fmla="*/ 429 w 871"/>
              <a:gd name="T17" fmla="*/ 219 h 707"/>
              <a:gd name="T18" fmla="*/ 321 w 871"/>
              <a:gd name="T19" fmla="*/ 201 h 707"/>
              <a:gd name="T20" fmla="*/ 223 w 871"/>
              <a:gd name="T21" fmla="*/ 163 h 707"/>
              <a:gd name="T22" fmla="*/ 135 w 871"/>
              <a:gd name="T23" fmla="*/ 106 h 707"/>
              <a:gd name="T24" fmla="*/ 61 w 871"/>
              <a:gd name="T25" fmla="*/ 32 h 707"/>
              <a:gd name="T26" fmla="*/ 47 w 871"/>
              <a:gd name="T27" fmla="*/ 63 h 707"/>
              <a:gd name="T28" fmla="*/ 38 w 871"/>
              <a:gd name="T29" fmla="*/ 109 h 707"/>
              <a:gd name="T30" fmla="*/ 39 w 871"/>
              <a:gd name="T31" fmla="*/ 145 h 707"/>
              <a:gd name="T32" fmla="*/ 59 w 871"/>
              <a:gd name="T33" fmla="*/ 207 h 707"/>
              <a:gd name="T34" fmla="*/ 117 w 871"/>
              <a:gd name="T35" fmla="*/ 270 h 707"/>
              <a:gd name="T36" fmla="*/ 54 w 871"/>
              <a:gd name="T37" fmla="*/ 257 h 707"/>
              <a:gd name="T38" fmla="*/ 37 w 871"/>
              <a:gd name="T39" fmla="*/ 267 h 707"/>
              <a:gd name="T40" fmla="*/ 52 w 871"/>
              <a:gd name="T41" fmla="*/ 326 h 707"/>
              <a:gd name="T42" fmla="*/ 86 w 871"/>
              <a:gd name="T43" fmla="*/ 375 h 707"/>
              <a:gd name="T44" fmla="*/ 135 w 871"/>
              <a:gd name="T45" fmla="*/ 410 h 707"/>
              <a:gd name="T46" fmla="*/ 179 w 871"/>
              <a:gd name="T47" fmla="*/ 426 h 707"/>
              <a:gd name="T48" fmla="*/ 132 w 871"/>
              <a:gd name="T49" fmla="*/ 432 h 707"/>
              <a:gd name="T50" fmla="*/ 98 w 871"/>
              <a:gd name="T51" fmla="*/ 428 h 707"/>
              <a:gd name="T52" fmla="*/ 122 w 871"/>
              <a:gd name="T53" fmla="*/ 477 h 707"/>
              <a:gd name="T54" fmla="*/ 160 w 871"/>
              <a:gd name="T55" fmla="*/ 516 h 707"/>
              <a:gd name="T56" fmla="*/ 208 w 871"/>
              <a:gd name="T57" fmla="*/ 542 h 707"/>
              <a:gd name="T58" fmla="*/ 265 w 871"/>
              <a:gd name="T59" fmla="*/ 553 h 707"/>
              <a:gd name="T60" fmla="*/ 190 w 871"/>
              <a:gd name="T61" fmla="*/ 597 h 707"/>
              <a:gd name="T62" fmla="*/ 74 w 871"/>
              <a:gd name="T63" fmla="*/ 627 h 707"/>
              <a:gd name="T64" fmla="*/ 0 w 871"/>
              <a:gd name="T65" fmla="*/ 626 h 707"/>
              <a:gd name="T66" fmla="*/ 95 w 871"/>
              <a:gd name="T67" fmla="*/ 674 h 707"/>
              <a:gd name="T68" fmla="*/ 237 w 871"/>
              <a:gd name="T69" fmla="*/ 704 h 707"/>
              <a:gd name="T70" fmla="*/ 334 w 871"/>
              <a:gd name="T71" fmla="*/ 703 h 707"/>
              <a:gd name="T72" fmla="*/ 443 w 871"/>
              <a:gd name="T73" fmla="*/ 680 h 707"/>
              <a:gd name="T74" fmla="*/ 538 w 871"/>
              <a:gd name="T75" fmla="*/ 636 h 707"/>
              <a:gd name="T76" fmla="*/ 617 w 871"/>
              <a:gd name="T77" fmla="*/ 576 h 707"/>
              <a:gd name="T78" fmla="*/ 682 w 871"/>
              <a:gd name="T79" fmla="*/ 503 h 707"/>
              <a:gd name="T80" fmla="*/ 730 w 871"/>
              <a:gd name="T81" fmla="*/ 421 h 707"/>
              <a:gd name="T82" fmla="*/ 763 w 871"/>
              <a:gd name="T83" fmla="*/ 333 h 707"/>
              <a:gd name="T84" fmla="*/ 781 w 871"/>
              <a:gd name="T85" fmla="*/ 243 h 707"/>
              <a:gd name="T86" fmla="*/ 782 w 871"/>
              <a:gd name="T87" fmla="*/ 175 h 707"/>
              <a:gd name="T88" fmla="*/ 820 w 871"/>
              <a:gd name="T89" fmla="*/ 145 h 707"/>
              <a:gd name="T90" fmla="*/ 862 w 871"/>
              <a:gd name="T91" fmla="*/ 96 h 707"/>
              <a:gd name="T92" fmla="*/ 821 w 871"/>
              <a:gd name="T93" fmla="*/ 101 h 707"/>
              <a:gd name="T94" fmla="*/ 782 w 871"/>
              <a:gd name="T95" fmla="*/ 102 h 707"/>
              <a:gd name="T96" fmla="*/ 825 w 871"/>
              <a:gd name="T97" fmla="*/ 5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1" h="707">
                <a:moveTo>
                  <a:pt x="847" y="13"/>
                </a:moveTo>
                <a:lnTo>
                  <a:pt x="847" y="13"/>
                </a:lnTo>
                <a:lnTo>
                  <a:pt x="821" y="27"/>
                </a:lnTo>
                <a:lnTo>
                  <a:pt x="792" y="39"/>
                </a:lnTo>
                <a:lnTo>
                  <a:pt x="763" y="48"/>
                </a:lnTo>
                <a:lnTo>
                  <a:pt x="734" y="56"/>
                </a:lnTo>
                <a:lnTo>
                  <a:pt x="734" y="56"/>
                </a:lnTo>
                <a:lnTo>
                  <a:pt x="721" y="43"/>
                </a:lnTo>
                <a:lnTo>
                  <a:pt x="706" y="33"/>
                </a:lnTo>
                <a:lnTo>
                  <a:pt x="691" y="23"/>
                </a:lnTo>
                <a:lnTo>
                  <a:pt x="676" y="15"/>
                </a:lnTo>
                <a:lnTo>
                  <a:pt x="658" y="8"/>
                </a:lnTo>
                <a:lnTo>
                  <a:pt x="641" y="3"/>
                </a:lnTo>
                <a:lnTo>
                  <a:pt x="622" y="1"/>
                </a:lnTo>
                <a:lnTo>
                  <a:pt x="603" y="0"/>
                </a:lnTo>
                <a:lnTo>
                  <a:pt x="603" y="0"/>
                </a:lnTo>
                <a:lnTo>
                  <a:pt x="585" y="1"/>
                </a:lnTo>
                <a:lnTo>
                  <a:pt x="568" y="3"/>
                </a:lnTo>
                <a:lnTo>
                  <a:pt x="550" y="8"/>
                </a:lnTo>
                <a:lnTo>
                  <a:pt x="533" y="14"/>
                </a:lnTo>
                <a:lnTo>
                  <a:pt x="518" y="21"/>
                </a:lnTo>
                <a:lnTo>
                  <a:pt x="503" y="30"/>
                </a:lnTo>
                <a:lnTo>
                  <a:pt x="490" y="40"/>
                </a:lnTo>
                <a:lnTo>
                  <a:pt x="477" y="52"/>
                </a:lnTo>
                <a:lnTo>
                  <a:pt x="465" y="65"/>
                </a:lnTo>
                <a:lnTo>
                  <a:pt x="455" y="79"/>
                </a:lnTo>
                <a:lnTo>
                  <a:pt x="446" y="93"/>
                </a:lnTo>
                <a:lnTo>
                  <a:pt x="438" y="108"/>
                </a:lnTo>
                <a:lnTo>
                  <a:pt x="432" y="125"/>
                </a:lnTo>
                <a:lnTo>
                  <a:pt x="429" y="142"/>
                </a:lnTo>
                <a:lnTo>
                  <a:pt x="425" y="160"/>
                </a:lnTo>
                <a:lnTo>
                  <a:pt x="425" y="178"/>
                </a:lnTo>
                <a:lnTo>
                  <a:pt x="425" y="178"/>
                </a:lnTo>
                <a:lnTo>
                  <a:pt x="426" y="199"/>
                </a:lnTo>
                <a:lnTo>
                  <a:pt x="429" y="219"/>
                </a:lnTo>
                <a:lnTo>
                  <a:pt x="429" y="219"/>
                </a:lnTo>
                <a:lnTo>
                  <a:pt x="402" y="216"/>
                </a:lnTo>
                <a:lnTo>
                  <a:pt x="374" y="213"/>
                </a:lnTo>
                <a:lnTo>
                  <a:pt x="347" y="208"/>
                </a:lnTo>
                <a:lnTo>
                  <a:pt x="321" y="201"/>
                </a:lnTo>
                <a:lnTo>
                  <a:pt x="296" y="194"/>
                </a:lnTo>
                <a:lnTo>
                  <a:pt x="271" y="185"/>
                </a:lnTo>
                <a:lnTo>
                  <a:pt x="246" y="174"/>
                </a:lnTo>
                <a:lnTo>
                  <a:pt x="223" y="163"/>
                </a:lnTo>
                <a:lnTo>
                  <a:pt x="199" y="150"/>
                </a:lnTo>
                <a:lnTo>
                  <a:pt x="177" y="136"/>
                </a:lnTo>
                <a:lnTo>
                  <a:pt x="155" y="122"/>
                </a:lnTo>
                <a:lnTo>
                  <a:pt x="135" y="106"/>
                </a:lnTo>
                <a:lnTo>
                  <a:pt x="115" y="89"/>
                </a:lnTo>
                <a:lnTo>
                  <a:pt x="97" y="70"/>
                </a:lnTo>
                <a:lnTo>
                  <a:pt x="78" y="52"/>
                </a:lnTo>
                <a:lnTo>
                  <a:pt x="61" y="32"/>
                </a:lnTo>
                <a:lnTo>
                  <a:pt x="61" y="32"/>
                </a:lnTo>
                <a:lnTo>
                  <a:pt x="55" y="42"/>
                </a:lnTo>
                <a:lnTo>
                  <a:pt x="51" y="53"/>
                </a:lnTo>
                <a:lnTo>
                  <a:pt x="47" y="63"/>
                </a:lnTo>
                <a:lnTo>
                  <a:pt x="44" y="75"/>
                </a:lnTo>
                <a:lnTo>
                  <a:pt x="40" y="86"/>
                </a:lnTo>
                <a:lnTo>
                  <a:pt x="39" y="98"/>
                </a:lnTo>
                <a:lnTo>
                  <a:pt x="38" y="109"/>
                </a:lnTo>
                <a:lnTo>
                  <a:pt x="37" y="122"/>
                </a:lnTo>
                <a:lnTo>
                  <a:pt x="37" y="122"/>
                </a:lnTo>
                <a:lnTo>
                  <a:pt x="38" y="133"/>
                </a:lnTo>
                <a:lnTo>
                  <a:pt x="39" y="145"/>
                </a:lnTo>
                <a:lnTo>
                  <a:pt x="40" y="156"/>
                </a:lnTo>
                <a:lnTo>
                  <a:pt x="42" y="167"/>
                </a:lnTo>
                <a:lnTo>
                  <a:pt x="49" y="188"/>
                </a:lnTo>
                <a:lnTo>
                  <a:pt x="59" y="207"/>
                </a:lnTo>
                <a:lnTo>
                  <a:pt x="71" y="226"/>
                </a:lnTo>
                <a:lnTo>
                  <a:pt x="84" y="242"/>
                </a:lnTo>
                <a:lnTo>
                  <a:pt x="99" y="257"/>
                </a:lnTo>
                <a:lnTo>
                  <a:pt x="117" y="270"/>
                </a:lnTo>
                <a:lnTo>
                  <a:pt x="117" y="270"/>
                </a:lnTo>
                <a:lnTo>
                  <a:pt x="94" y="268"/>
                </a:lnTo>
                <a:lnTo>
                  <a:pt x="74" y="263"/>
                </a:lnTo>
                <a:lnTo>
                  <a:pt x="54" y="257"/>
                </a:lnTo>
                <a:lnTo>
                  <a:pt x="35" y="248"/>
                </a:lnTo>
                <a:lnTo>
                  <a:pt x="35" y="250"/>
                </a:lnTo>
                <a:lnTo>
                  <a:pt x="35" y="250"/>
                </a:lnTo>
                <a:lnTo>
                  <a:pt x="37" y="267"/>
                </a:lnTo>
                <a:lnTo>
                  <a:pt x="38" y="282"/>
                </a:lnTo>
                <a:lnTo>
                  <a:pt x="41" y="297"/>
                </a:lnTo>
                <a:lnTo>
                  <a:pt x="46" y="312"/>
                </a:lnTo>
                <a:lnTo>
                  <a:pt x="52" y="326"/>
                </a:lnTo>
                <a:lnTo>
                  <a:pt x="59" y="340"/>
                </a:lnTo>
                <a:lnTo>
                  <a:pt x="67" y="352"/>
                </a:lnTo>
                <a:lnTo>
                  <a:pt x="77" y="365"/>
                </a:lnTo>
                <a:lnTo>
                  <a:pt x="86" y="375"/>
                </a:lnTo>
                <a:lnTo>
                  <a:pt x="98" y="386"/>
                </a:lnTo>
                <a:lnTo>
                  <a:pt x="110" y="395"/>
                </a:lnTo>
                <a:lnTo>
                  <a:pt x="121" y="403"/>
                </a:lnTo>
                <a:lnTo>
                  <a:pt x="135" y="410"/>
                </a:lnTo>
                <a:lnTo>
                  <a:pt x="150" y="416"/>
                </a:lnTo>
                <a:lnTo>
                  <a:pt x="164" y="421"/>
                </a:lnTo>
                <a:lnTo>
                  <a:pt x="179" y="426"/>
                </a:lnTo>
                <a:lnTo>
                  <a:pt x="179" y="426"/>
                </a:lnTo>
                <a:lnTo>
                  <a:pt x="167" y="428"/>
                </a:lnTo>
                <a:lnTo>
                  <a:pt x="155" y="430"/>
                </a:lnTo>
                <a:lnTo>
                  <a:pt x="144" y="432"/>
                </a:lnTo>
                <a:lnTo>
                  <a:pt x="132" y="432"/>
                </a:lnTo>
                <a:lnTo>
                  <a:pt x="132" y="432"/>
                </a:lnTo>
                <a:lnTo>
                  <a:pt x="114" y="430"/>
                </a:lnTo>
                <a:lnTo>
                  <a:pt x="98" y="428"/>
                </a:lnTo>
                <a:lnTo>
                  <a:pt x="98" y="428"/>
                </a:lnTo>
                <a:lnTo>
                  <a:pt x="102" y="441"/>
                </a:lnTo>
                <a:lnTo>
                  <a:pt x="108" y="454"/>
                </a:lnTo>
                <a:lnTo>
                  <a:pt x="115" y="466"/>
                </a:lnTo>
                <a:lnTo>
                  <a:pt x="122" y="477"/>
                </a:lnTo>
                <a:lnTo>
                  <a:pt x="131" y="488"/>
                </a:lnTo>
                <a:lnTo>
                  <a:pt x="140" y="499"/>
                </a:lnTo>
                <a:lnTo>
                  <a:pt x="150" y="508"/>
                </a:lnTo>
                <a:lnTo>
                  <a:pt x="160" y="516"/>
                </a:lnTo>
                <a:lnTo>
                  <a:pt x="172" y="524"/>
                </a:lnTo>
                <a:lnTo>
                  <a:pt x="184" y="532"/>
                </a:lnTo>
                <a:lnTo>
                  <a:pt x="197" y="537"/>
                </a:lnTo>
                <a:lnTo>
                  <a:pt x="208" y="542"/>
                </a:lnTo>
                <a:lnTo>
                  <a:pt x="223" y="547"/>
                </a:lnTo>
                <a:lnTo>
                  <a:pt x="237" y="549"/>
                </a:lnTo>
                <a:lnTo>
                  <a:pt x="251" y="552"/>
                </a:lnTo>
                <a:lnTo>
                  <a:pt x="265" y="553"/>
                </a:lnTo>
                <a:lnTo>
                  <a:pt x="265" y="553"/>
                </a:lnTo>
                <a:lnTo>
                  <a:pt x="241" y="569"/>
                </a:lnTo>
                <a:lnTo>
                  <a:pt x="217" y="584"/>
                </a:lnTo>
                <a:lnTo>
                  <a:pt x="190" y="597"/>
                </a:lnTo>
                <a:lnTo>
                  <a:pt x="162" y="608"/>
                </a:lnTo>
                <a:lnTo>
                  <a:pt x="134" y="617"/>
                </a:lnTo>
                <a:lnTo>
                  <a:pt x="105" y="623"/>
                </a:lnTo>
                <a:lnTo>
                  <a:pt x="74" y="627"/>
                </a:lnTo>
                <a:lnTo>
                  <a:pt x="44" y="628"/>
                </a:lnTo>
                <a:lnTo>
                  <a:pt x="44" y="628"/>
                </a:lnTo>
                <a:lnTo>
                  <a:pt x="21" y="628"/>
                </a:lnTo>
                <a:lnTo>
                  <a:pt x="0" y="626"/>
                </a:lnTo>
                <a:lnTo>
                  <a:pt x="0" y="626"/>
                </a:lnTo>
                <a:lnTo>
                  <a:pt x="31" y="644"/>
                </a:lnTo>
                <a:lnTo>
                  <a:pt x="62" y="660"/>
                </a:lnTo>
                <a:lnTo>
                  <a:pt x="95" y="674"/>
                </a:lnTo>
                <a:lnTo>
                  <a:pt x="130" y="686"/>
                </a:lnTo>
                <a:lnTo>
                  <a:pt x="164" y="694"/>
                </a:lnTo>
                <a:lnTo>
                  <a:pt x="200" y="701"/>
                </a:lnTo>
                <a:lnTo>
                  <a:pt x="237" y="704"/>
                </a:lnTo>
                <a:lnTo>
                  <a:pt x="274" y="707"/>
                </a:lnTo>
                <a:lnTo>
                  <a:pt x="274" y="707"/>
                </a:lnTo>
                <a:lnTo>
                  <a:pt x="305" y="706"/>
                </a:lnTo>
                <a:lnTo>
                  <a:pt x="334" y="703"/>
                </a:lnTo>
                <a:lnTo>
                  <a:pt x="363" y="700"/>
                </a:lnTo>
                <a:lnTo>
                  <a:pt x="390" y="694"/>
                </a:lnTo>
                <a:lnTo>
                  <a:pt x="417" y="688"/>
                </a:lnTo>
                <a:lnTo>
                  <a:pt x="443" y="680"/>
                </a:lnTo>
                <a:lnTo>
                  <a:pt x="469" y="670"/>
                </a:lnTo>
                <a:lnTo>
                  <a:pt x="492" y="660"/>
                </a:lnTo>
                <a:lnTo>
                  <a:pt x="516" y="648"/>
                </a:lnTo>
                <a:lnTo>
                  <a:pt x="538" y="636"/>
                </a:lnTo>
                <a:lnTo>
                  <a:pt x="559" y="622"/>
                </a:lnTo>
                <a:lnTo>
                  <a:pt x="579" y="608"/>
                </a:lnTo>
                <a:lnTo>
                  <a:pt x="599" y="593"/>
                </a:lnTo>
                <a:lnTo>
                  <a:pt x="617" y="576"/>
                </a:lnTo>
                <a:lnTo>
                  <a:pt x="635" y="559"/>
                </a:lnTo>
                <a:lnTo>
                  <a:pt x="651" y="541"/>
                </a:lnTo>
                <a:lnTo>
                  <a:pt x="668" y="522"/>
                </a:lnTo>
                <a:lnTo>
                  <a:pt x="682" y="503"/>
                </a:lnTo>
                <a:lnTo>
                  <a:pt x="696" y="483"/>
                </a:lnTo>
                <a:lnTo>
                  <a:pt x="708" y="463"/>
                </a:lnTo>
                <a:lnTo>
                  <a:pt x="719" y="442"/>
                </a:lnTo>
                <a:lnTo>
                  <a:pt x="730" y="421"/>
                </a:lnTo>
                <a:lnTo>
                  <a:pt x="741" y="400"/>
                </a:lnTo>
                <a:lnTo>
                  <a:pt x="749" y="377"/>
                </a:lnTo>
                <a:lnTo>
                  <a:pt x="757" y="355"/>
                </a:lnTo>
                <a:lnTo>
                  <a:pt x="763" y="333"/>
                </a:lnTo>
                <a:lnTo>
                  <a:pt x="769" y="310"/>
                </a:lnTo>
                <a:lnTo>
                  <a:pt x="774" y="288"/>
                </a:lnTo>
                <a:lnTo>
                  <a:pt x="777" y="266"/>
                </a:lnTo>
                <a:lnTo>
                  <a:pt x="781" y="243"/>
                </a:lnTo>
                <a:lnTo>
                  <a:pt x="782" y="221"/>
                </a:lnTo>
                <a:lnTo>
                  <a:pt x="782" y="199"/>
                </a:lnTo>
                <a:lnTo>
                  <a:pt x="782" y="199"/>
                </a:lnTo>
                <a:lnTo>
                  <a:pt x="782" y="175"/>
                </a:lnTo>
                <a:lnTo>
                  <a:pt x="782" y="175"/>
                </a:lnTo>
                <a:lnTo>
                  <a:pt x="795" y="166"/>
                </a:lnTo>
                <a:lnTo>
                  <a:pt x="807" y="155"/>
                </a:lnTo>
                <a:lnTo>
                  <a:pt x="820" y="145"/>
                </a:lnTo>
                <a:lnTo>
                  <a:pt x="830" y="133"/>
                </a:lnTo>
                <a:lnTo>
                  <a:pt x="842" y="121"/>
                </a:lnTo>
                <a:lnTo>
                  <a:pt x="851" y="109"/>
                </a:lnTo>
                <a:lnTo>
                  <a:pt x="862" y="96"/>
                </a:lnTo>
                <a:lnTo>
                  <a:pt x="871" y="83"/>
                </a:lnTo>
                <a:lnTo>
                  <a:pt x="871" y="83"/>
                </a:lnTo>
                <a:lnTo>
                  <a:pt x="847" y="93"/>
                </a:lnTo>
                <a:lnTo>
                  <a:pt x="821" y="101"/>
                </a:lnTo>
                <a:lnTo>
                  <a:pt x="795" y="107"/>
                </a:lnTo>
                <a:lnTo>
                  <a:pt x="769" y="112"/>
                </a:lnTo>
                <a:lnTo>
                  <a:pt x="769" y="112"/>
                </a:lnTo>
                <a:lnTo>
                  <a:pt x="782" y="102"/>
                </a:lnTo>
                <a:lnTo>
                  <a:pt x="795" y="93"/>
                </a:lnTo>
                <a:lnTo>
                  <a:pt x="805" y="81"/>
                </a:lnTo>
                <a:lnTo>
                  <a:pt x="816" y="69"/>
                </a:lnTo>
                <a:lnTo>
                  <a:pt x="825" y="56"/>
                </a:lnTo>
                <a:lnTo>
                  <a:pt x="834" y="42"/>
                </a:lnTo>
                <a:lnTo>
                  <a:pt x="841" y="28"/>
                </a:lnTo>
                <a:lnTo>
                  <a:pt x="847"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22" name="Freeform 21">
            <a:hlinkClick r:id="rId8"/>
            <a:extLst>
              <a:ext uri="{FF2B5EF4-FFF2-40B4-BE49-F238E27FC236}">
                <a16:creationId xmlns:a16="http://schemas.microsoft.com/office/drawing/2014/main" id="{451C9E59-6B15-DE9D-C011-A12FE638D97A}"/>
              </a:ext>
            </a:extLst>
          </p:cNvPr>
          <p:cNvSpPr>
            <a:spLocks/>
          </p:cNvSpPr>
          <p:nvPr userDrawn="1"/>
        </p:nvSpPr>
        <p:spPr bwMode="auto">
          <a:xfrm>
            <a:off x="4370009" y="5455909"/>
            <a:ext cx="213230" cy="440675"/>
          </a:xfrm>
          <a:custGeom>
            <a:avLst/>
            <a:gdLst>
              <a:gd name="T0" fmla="*/ 0 w 419"/>
              <a:gd name="T1" fmla="*/ 249 h 868"/>
              <a:gd name="T2" fmla="*/ 91 w 419"/>
              <a:gd name="T3" fmla="*/ 249 h 868"/>
              <a:gd name="T4" fmla="*/ 91 w 419"/>
              <a:gd name="T5" fmla="*/ 203 h 868"/>
              <a:gd name="T6" fmla="*/ 91 w 419"/>
              <a:gd name="T7" fmla="*/ 203 h 868"/>
              <a:gd name="T8" fmla="*/ 92 w 419"/>
              <a:gd name="T9" fmla="*/ 167 h 868"/>
              <a:gd name="T10" fmla="*/ 95 w 419"/>
              <a:gd name="T11" fmla="*/ 135 h 868"/>
              <a:gd name="T12" fmla="*/ 98 w 419"/>
              <a:gd name="T13" fmla="*/ 121 h 868"/>
              <a:gd name="T14" fmla="*/ 100 w 419"/>
              <a:gd name="T15" fmla="*/ 108 h 868"/>
              <a:gd name="T16" fmla="*/ 103 w 419"/>
              <a:gd name="T17" fmla="*/ 96 h 868"/>
              <a:gd name="T18" fmla="*/ 108 w 419"/>
              <a:gd name="T19" fmla="*/ 87 h 868"/>
              <a:gd name="T20" fmla="*/ 108 w 419"/>
              <a:gd name="T21" fmla="*/ 87 h 868"/>
              <a:gd name="T22" fmla="*/ 113 w 419"/>
              <a:gd name="T23" fmla="*/ 78 h 868"/>
              <a:gd name="T24" fmla="*/ 118 w 419"/>
              <a:gd name="T25" fmla="*/ 68 h 868"/>
              <a:gd name="T26" fmla="*/ 125 w 419"/>
              <a:gd name="T27" fmla="*/ 60 h 868"/>
              <a:gd name="T28" fmla="*/ 132 w 419"/>
              <a:gd name="T29" fmla="*/ 52 h 868"/>
              <a:gd name="T30" fmla="*/ 140 w 419"/>
              <a:gd name="T31" fmla="*/ 44 h 868"/>
              <a:gd name="T32" fmla="*/ 148 w 419"/>
              <a:gd name="T33" fmla="*/ 36 h 868"/>
              <a:gd name="T34" fmla="*/ 158 w 419"/>
              <a:gd name="T35" fmla="*/ 31 h 868"/>
              <a:gd name="T36" fmla="*/ 169 w 419"/>
              <a:gd name="T37" fmla="*/ 24 h 868"/>
              <a:gd name="T38" fmla="*/ 169 w 419"/>
              <a:gd name="T39" fmla="*/ 24 h 868"/>
              <a:gd name="T40" fmla="*/ 180 w 419"/>
              <a:gd name="T41" fmla="*/ 19 h 868"/>
              <a:gd name="T42" fmla="*/ 193 w 419"/>
              <a:gd name="T43" fmla="*/ 13 h 868"/>
              <a:gd name="T44" fmla="*/ 206 w 419"/>
              <a:gd name="T45" fmla="*/ 9 h 868"/>
              <a:gd name="T46" fmla="*/ 219 w 419"/>
              <a:gd name="T47" fmla="*/ 6 h 868"/>
              <a:gd name="T48" fmla="*/ 234 w 419"/>
              <a:gd name="T49" fmla="*/ 4 h 868"/>
              <a:gd name="T50" fmla="*/ 249 w 419"/>
              <a:gd name="T51" fmla="*/ 1 h 868"/>
              <a:gd name="T52" fmla="*/ 265 w 419"/>
              <a:gd name="T53" fmla="*/ 0 h 868"/>
              <a:gd name="T54" fmla="*/ 281 w 419"/>
              <a:gd name="T55" fmla="*/ 0 h 868"/>
              <a:gd name="T56" fmla="*/ 281 w 419"/>
              <a:gd name="T57" fmla="*/ 0 h 868"/>
              <a:gd name="T58" fmla="*/ 317 w 419"/>
              <a:gd name="T59" fmla="*/ 1 h 868"/>
              <a:gd name="T60" fmla="*/ 351 w 419"/>
              <a:gd name="T61" fmla="*/ 5 h 868"/>
              <a:gd name="T62" fmla="*/ 385 w 419"/>
              <a:gd name="T63" fmla="*/ 12 h 868"/>
              <a:gd name="T64" fmla="*/ 419 w 419"/>
              <a:gd name="T65" fmla="*/ 21 h 868"/>
              <a:gd name="T66" fmla="*/ 397 w 419"/>
              <a:gd name="T67" fmla="*/ 135 h 868"/>
              <a:gd name="T68" fmla="*/ 397 w 419"/>
              <a:gd name="T69" fmla="*/ 135 h 868"/>
              <a:gd name="T70" fmla="*/ 377 w 419"/>
              <a:gd name="T71" fmla="*/ 131 h 868"/>
              <a:gd name="T72" fmla="*/ 358 w 419"/>
              <a:gd name="T73" fmla="*/ 128 h 868"/>
              <a:gd name="T74" fmla="*/ 340 w 419"/>
              <a:gd name="T75" fmla="*/ 126 h 868"/>
              <a:gd name="T76" fmla="*/ 321 w 419"/>
              <a:gd name="T77" fmla="*/ 126 h 868"/>
              <a:gd name="T78" fmla="*/ 321 w 419"/>
              <a:gd name="T79" fmla="*/ 126 h 868"/>
              <a:gd name="T80" fmla="*/ 305 w 419"/>
              <a:gd name="T81" fmla="*/ 127 h 868"/>
              <a:gd name="T82" fmla="*/ 291 w 419"/>
              <a:gd name="T83" fmla="*/ 129 h 868"/>
              <a:gd name="T84" fmla="*/ 285 w 419"/>
              <a:gd name="T85" fmla="*/ 132 h 868"/>
              <a:gd name="T86" fmla="*/ 279 w 419"/>
              <a:gd name="T87" fmla="*/ 135 h 868"/>
              <a:gd name="T88" fmla="*/ 274 w 419"/>
              <a:gd name="T89" fmla="*/ 139 h 868"/>
              <a:gd name="T90" fmla="*/ 271 w 419"/>
              <a:gd name="T91" fmla="*/ 142 h 868"/>
              <a:gd name="T92" fmla="*/ 271 w 419"/>
              <a:gd name="T93" fmla="*/ 142 h 868"/>
              <a:gd name="T94" fmla="*/ 267 w 419"/>
              <a:gd name="T95" fmla="*/ 147 h 868"/>
              <a:gd name="T96" fmla="*/ 264 w 419"/>
              <a:gd name="T97" fmla="*/ 153 h 868"/>
              <a:gd name="T98" fmla="*/ 261 w 419"/>
              <a:gd name="T99" fmla="*/ 159 h 868"/>
              <a:gd name="T100" fmla="*/ 259 w 419"/>
              <a:gd name="T101" fmla="*/ 166 h 868"/>
              <a:gd name="T102" fmla="*/ 255 w 419"/>
              <a:gd name="T103" fmla="*/ 185 h 868"/>
              <a:gd name="T104" fmla="*/ 255 w 419"/>
              <a:gd name="T105" fmla="*/ 206 h 868"/>
              <a:gd name="T106" fmla="*/ 255 w 419"/>
              <a:gd name="T107" fmla="*/ 249 h 868"/>
              <a:gd name="T108" fmla="*/ 378 w 419"/>
              <a:gd name="T109" fmla="*/ 249 h 868"/>
              <a:gd name="T110" fmla="*/ 378 w 419"/>
              <a:gd name="T111" fmla="*/ 379 h 868"/>
              <a:gd name="T112" fmla="*/ 255 w 419"/>
              <a:gd name="T113" fmla="*/ 379 h 868"/>
              <a:gd name="T114" fmla="*/ 255 w 419"/>
              <a:gd name="T115" fmla="*/ 868 h 868"/>
              <a:gd name="T116" fmla="*/ 91 w 419"/>
              <a:gd name="T117" fmla="*/ 868 h 868"/>
              <a:gd name="T118" fmla="*/ 91 w 419"/>
              <a:gd name="T119" fmla="*/ 379 h 868"/>
              <a:gd name="T120" fmla="*/ 0 w 419"/>
              <a:gd name="T121" fmla="*/ 379 h 868"/>
              <a:gd name="T122" fmla="*/ 0 w 419"/>
              <a:gd name="T123" fmla="*/ 249 h 868"/>
              <a:gd name="T124" fmla="*/ 0 w 419"/>
              <a:gd name="T125" fmla="*/ 24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868">
                <a:moveTo>
                  <a:pt x="0" y="249"/>
                </a:moveTo>
                <a:lnTo>
                  <a:pt x="91" y="249"/>
                </a:lnTo>
                <a:lnTo>
                  <a:pt x="91" y="203"/>
                </a:lnTo>
                <a:lnTo>
                  <a:pt x="91" y="203"/>
                </a:lnTo>
                <a:lnTo>
                  <a:pt x="92" y="167"/>
                </a:lnTo>
                <a:lnTo>
                  <a:pt x="95" y="135"/>
                </a:lnTo>
                <a:lnTo>
                  <a:pt x="98" y="121"/>
                </a:lnTo>
                <a:lnTo>
                  <a:pt x="100" y="108"/>
                </a:lnTo>
                <a:lnTo>
                  <a:pt x="103" y="96"/>
                </a:lnTo>
                <a:lnTo>
                  <a:pt x="108" y="87"/>
                </a:lnTo>
                <a:lnTo>
                  <a:pt x="108" y="87"/>
                </a:lnTo>
                <a:lnTo>
                  <a:pt x="113" y="78"/>
                </a:lnTo>
                <a:lnTo>
                  <a:pt x="118" y="68"/>
                </a:lnTo>
                <a:lnTo>
                  <a:pt x="125" y="60"/>
                </a:lnTo>
                <a:lnTo>
                  <a:pt x="132" y="52"/>
                </a:lnTo>
                <a:lnTo>
                  <a:pt x="140" y="44"/>
                </a:lnTo>
                <a:lnTo>
                  <a:pt x="148" y="36"/>
                </a:lnTo>
                <a:lnTo>
                  <a:pt x="158" y="31"/>
                </a:lnTo>
                <a:lnTo>
                  <a:pt x="169" y="24"/>
                </a:lnTo>
                <a:lnTo>
                  <a:pt x="169" y="24"/>
                </a:lnTo>
                <a:lnTo>
                  <a:pt x="180" y="19"/>
                </a:lnTo>
                <a:lnTo>
                  <a:pt x="193" y="13"/>
                </a:lnTo>
                <a:lnTo>
                  <a:pt x="206" y="9"/>
                </a:lnTo>
                <a:lnTo>
                  <a:pt x="219" y="6"/>
                </a:lnTo>
                <a:lnTo>
                  <a:pt x="234" y="4"/>
                </a:lnTo>
                <a:lnTo>
                  <a:pt x="249" y="1"/>
                </a:lnTo>
                <a:lnTo>
                  <a:pt x="265" y="0"/>
                </a:lnTo>
                <a:lnTo>
                  <a:pt x="281" y="0"/>
                </a:lnTo>
                <a:lnTo>
                  <a:pt x="281" y="0"/>
                </a:lnTo>
                <a:lnTo>
                  <a:pt x="317" y="1"/>
                </a:lnTo>
                <a:lnTo>
                  <a:pt x="351" y="5"/>
                </a:lnTo>
                <a:lnTo>
                  <a:pt x="385" y="12"/>
                </a:lnTo>
                <a:lnTo>
                  <a:pt x="419" y="21"/>
                </a:lnTo>
                <a:lnTo>
                  <a:pt x="397" y="135"/>
                </a:lnTo>
                <a:lnTo>
                  <a:pt x="397" y="135"/>
                </a:lnTo>
                <a:lnTo>
                  <a:pt x="377" y="131"/>
                </a:lnTo>
                <a:lnTo>
                  <a:pt x="358" y="128"/>
                </a:lnTo>
                <a:lnTo>
                  <a:pt x="340" y="126"/>
                </a:lnTo>
                <a:lnTo>
                  <a:pt x="321" y="126"/>
                </a:lnTo>
                <a:lnTo>
                  <a:pt x="321" y="126"/>
                </a:lnTo>
                <a:lnTo>
                  <a:pt x="305" y="127"/>
                </a:lnTo>
                <a:lnTo>
                  <a:pt x="291" y="129"/>
                </a:lnTo>
                <a:lnTo>
                  <a:pt x="285" y="132"/>
                </a:lnTo>
                <a:lnTo>
                  <a:pt x="279" y="135"/>
                </a:lnTo>
                <a:lnTo>
                  <a:pt x="274" y="139"/>
                </a:lnTo>
                <a:lnTo>
                  <a:pt x="271" y="142"/>
                </a:lnTo>
                <a:lnTo>
                  <a:pt x="271" y="142"/>
                </a:lnTo>
                <a:lnTo>
                  <a:pt x="267" y="147"/>
                </a:lnTo>
                <a:lnTo>
                  <a:pt x="264" y="153"/>
                </a:lnTo>
                <a:lnTo>
                  <a:pt x="261" y="159"/>
                </a:lnTo>
                <a:lnTo>
                  <a:pt x="259" y="166"/>
                </a:lnTo>
                <a:lnTo>
                  <a:pt x="255" y="185"/>
                </a:lnTo>
                <a:lnTo>
                  <a:pt x="255" y="206"/>
                </a:lnTo>
                <a:lnTo>
                  <a:pt x="255" y="249"/>
                </a:lnTo>
                <a:lnTo>
                  <a:pt x="378" y="249"/>
                </a:lnTo>
                <a:lnTo>
                  <a:pt x="378" y="379"/>
                </a:lnTo>
                <a:lnTo>
                  <a:pt x="255" y="379"/>
                </a:lnTo>
                <a:lnTo>
                  <a:pt x="255" y="868"/>
                </a:lnTo>
                <a:lnTo>
                  <a:pt x="91" y="868"/>
                </a:lnTo>
                <a:lnTo>
                  <a:pt x="91" y="379"/>
                </a:lnTo>
                <a:lnTo>
                  <a:pt x="0" y="379"/>
                </a:lnTo>
                <a:lnTo>
                  <a:pt x="0" y="249"/>
                </a:lnTo>
                <a:lnTo>
                  <a:pt x="0" y="24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pic>
        <p:nvPicPr>
          <p:cNvPr id="5" name="Picture 4">
            <a:hlinkClick r:id="rId9"/>
            <a:extLst>
              <a:ext uri="{FF2B5EF4-FFF2-40B4-BE49-F238E27FC236}">
                <a16:creationId xmlns:a16="http://schemas.microsoft.com/office/drawing/2014/main" id="{0F05A33C-9676-F683-5806-B68CE8008DB9}"/>
              </a:ext>
            </a:extLst>
          </p:cNvPr>
          <p:cNvPicPr>
            <a:picLocks noChangeAspect="1"/>
          </p:cNvPicPr>
          <p:nvPr userDrawn="1"/>
        </p:nvPicPr>
        <p:blipFill rotWithShape="1">
          <a:blip r:embed="rId10"/>
          <a:srcRect l="23304" t="23982" r="22737" b="25042"/>
          <a:stretch/>
        </p:blipFill>
        <p:spPr>
          <a:xfrm>
            <a:off x="6922985" y="5437112"/>
            <a:ext cx="569633" cy="538135"/>
          </a:xfrm>
          <a:prstGeom prst="rect">
            <a:avLst/>
          </a:prstGeom>
        </p:spPr>
      </p:pic>
      <p:pic>
        <p:nvPicPr>
          <p:cNvPr id="8" name="Picture 7">
            <a:extLst>
              <a:ext uri="{FF2B5EF4-FFF2-40B4-BE49-F238E27FC236}">
                <a16:creationId xmlns:a16="http://schemas.microsoft.com/office/drawing/2014/main" id="{368FE2D0-6F17-71BC-BA24-B74BCC80DB8D}"/>
              </a:ext>
            </a:extLst>
          </p:cNvPr>
          <p:cNvPicPr>
            <a:picLocks noChangeAspect="1"/>
          </p:cNvPicPr>
          <p:nvPr userDrawn="1"/>
        </p:nvPicPr>
        <p:blipFill>
          <a:blip r:embed="rId11"/>
          <a:srcRect/>
          <a:stretch/>
        </p:blipFill>
        <p:spPr>
          <a:xfrm>
            <a:off x="10307937" y="6308646"/>
            <a:ext cx="1440000" cy="304457"/>
          </a:xfrm>
          <a:prstGeom prst="rect">
            <a:avLst/>
          </a:prstGeom>
        </p:spPr>
      </p:pic>
      <p:sp>
        <p:nvSpPr>
          <p:cNvPr id="13" name="Date Placeholder 3">
            <a:extLst>
              <a:ext uri="{FF2B5EF4-FFF2-40B4-BE49-F238E27FC236}">
                <a16:creationId xmlns:a16="http://schemas.microsoft.com/office/drawing/2014/main" id="{08BE8DC5-E363-A557-BA5C-A3E07C680BA1}"/>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4" name="TextBox 13">
            <a:extLst>
              <a:ext uri="{FF2B5EF4-FFF2-40B4-BE49-F238E27FC236}">
                <a16:creationId xmlns:a16="http://schemas.microsoft.com/office/drawing/2014/main" id="{66CBC369-1E8E-7775-1C7E-5CC561D16506}"/>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15" name="Picture 14" descr="Blue text on a black background&#10;&#10;Description automatically generated">
            <a:extLst>
              <a:ext uri="{FF2B5EF4-FFF2-40B4-BE49-F238E27FC236}">
                <a16:creationId xmlns:a16="http://schemas.microsoft.com/office/drawing/2014/main" id="{738B4834-9E2A-2F3A-E4DF-2DF298DAD097}"/>
              </a:ext>
            </a:extLst>
          </p:cNvPr>
          <p:cNvPicPr>
            <a:picLocks noChangeAspect="1"/>
          </p:cNvPicPr>
          <p:nvPr userDrawn="1"/>
        </p:nvPicPr>
        <p:blipFill>
          <a:blip r:embed="rId12"/>
          <a:stretch>
            <a:fillRect/>
          </a:stretch>
        </p:blipFill>
        <p:spPr>
          <a:xfrm>
            <a:off x="479426" y="6072252"/>
            <a:ext cx="2587455" cy="540851"/>
          </a:xfrm>
          <a:prstGeom prst="rect">
            <a:avLst/>
          </a:prstGeom>
        </p:spPr>
      </p:pic>
      <p:pic>
        <p:nvPicPr>
          <p:cNvPr id="6" name="Picture 5">
            <a:extLst>
              <a:ext uri="{FF2B5EF4-FFF2-40B4-BE49-F238E27FC236}">
                <a16:creationId xmlns:a16="http://schemas.microsoft.com/office/drawing/2014/main" id="{55277FE5-F247-54BE-2093-0E0B9223455F}"/>
              </a:ext>
            </a:extLst>
          </p:cNvPr>
          <p:cNvPicPr>
            <a:picLocks noChangeAspect="1"/>
          </p:cNvPicPr>
          <p:nvPr userDrawn="1"/>
        </p:nvPicPr>
        <p:blipFill>
          <a:blip r:embed="rId13"/>
          <a:srcRect/>
          <a:stretch/>
        </p:blipFill>
        <p:spPr>
          <a:xfrm>
            <a:off x="0" y="0"/>
            <a:ext cx="12192000" cy="3492500"/>
          </a:xfrm>
          <a:prstGeom prst="rect">
            <a:avLst/>
          </a:prstGeom>
        </p:spPr>
      </p:pic>
    </p:spTree>
    <p:extLst>
      <p:ext uri="{BB962C8B-B14F-4D97-AF65-F5344CB8AC3E}">
        <p14:creationId xmlns:p14="http://schemas.microsoft.com/office/powerpoint/2010/main" val="208221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isältödia 2">
    <p:bg>
      <p:bgPr>
        <a:solidFill>
          <a:srgbClr val="D9D9D6">
            <a:alpha val="90000"/>
          </a:srgbClr>
        </a:solidFill>
        <a:effectLst/>
      </p:bgPr>
    </p:bg>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C9079990-BCE1-42C9-84D2-73D76052F04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275855">
            <a:off x="9635249" y="-843780"/>
            <a:ext cx="2857500" cy="2857500"/>
          </a:xfrm>
          <a:prstGeom prst="rect">
            <a:avLst/>
          </a:prstGeom>
        </p:spPr>
      </p:pic>
      <p:sp>
        <p:nvSpPr>
          <p:cNvPr id="4" name="Title 1">
            <a:extLst>
              <a:ext uri="{FF2B5EF4-FFF2-40B4-BE49-F238E27FC236}">
                <a16:creationId xmlns:a16="http://schemas.microsoft.com/office/drawing/2014/main" id="{C13FD8DB-5763-C38F-A7A6-29C4989EB7A2}"/>
              </a:ext>
            </a:extLst>
          </p:cNvPr>
          <p:cNvSpPr>
            <a:spLocks noGrp="1"/>
          </p:cNvSpPr>
          <p:nvPr>
            <p:ph type="title"/>
          </p:nvPr>
        </p:nvSpPr>
        <p:spPr>
          <a:xfrm>
            <a:off x="838200" y="681037"/>
            <a:ext cx="9379591" cy="1009651"/>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sp>
        <p:nvSpPr>
          <p:cNvPr id="7" name="Päivämäärän paikkamerkki 6">
            <a:extLst>
              <a:ext uri="{FF2B5EF4-FFF2-40B4-BE49-F238E27FC236}">
                <a16:creationId xmlns:a16="http://schemas.microsoft.com/office/drawing/2014/main" id="{6ACB3C45-FD48-3DB8-9117-B733E0ADDC8A}"/>
              </a:ext>
            </a:extLst>
          </p:cNvPr>
          <p:cNvSpPr>
            <a:spLocks noGrp="1"/>
          </p:cNvSpPr>
          <p:nvPr>
            <p:ph type="dt" sz="half" idx="10"/>
          </p:nvPr>
        </p:nvSpPr>
        <p:spPr/>
        <p:txBody>
          <a:bodyPr/>
          <a:lstStyle/>
          <a:p>
            <a:endParaRPr lang="fi-FI" dirty="0"/>
          </a:p>
        </p:txBody>
      </p:sp>
      <p:sp>
        <p:nvSpPr>
          <p:cNvPr id="8" name="Alatunnisteen paikkamerkki 7">
            <a:extLst>
              <a:ext uri="{FF2B5EF4-FFF2-40B4-BE49-F238E27FC236}">
                <a16:creationId xmlns:a16="http://schemas.microsoft.com/office/drawing/2014/main" id="{D726DCFE-D613-9160-8107-214F12DC810E}"/>
              </a:ext>
            </a:extLst>
          </p:cNvPr>
          <p:cNvSpPr>
            <a:spLocks noGrp="1"/>
          </p:cNvSpPr>
          <p:nvPr>
            <p:ph type="ftr" sz="quarter" idx="11"/>
          </p:nvPr>
        </p:nvSpPr>
        <p:spPr/>
        <p:txBody>
          <a:bodyPr/>
          <a:lstStyle/>
          <a:p>
            <a:r>
              <a:rPr lang="fi-FI"/>
              <a:t>7</a:t>
            </a:r>
          </a:p>
        </p:txBody>
      </p:sp>
      <p:pic>
        <p:nvPicPr>
          <p:cNvPr id="3" name="Kuva 2">
            <a:extLst>
              <a:ext uri="{FF2B5EF4-FFF2-40B4-BE49-F238E27FC236}">
                <a16:creationId xmlns:a16="http://schemas.microsoft.com/office/drawing/2014/main" id="{2A384C17-A7CE-FAA1-6DAB-BE7FEA01E7C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275855">
            <a:off x="9635249" y="-843780"/>
            <a:ext cx="2857500" cy="2857500"/>
          </a:xfrm>
          <a:prstGeom prst="rect">
            <a:avLst/>
          </a:prstGeom>
        </p:spPr>
      </p:pic>
      <p:sp>
        <p:nvSpPr>
          <p:cNvPr id="2" name="Sisällön paikkamerkki 10">
            <a:extLst>
              <a:ext uri="{FF2B5EF4-FFF2-40B4-BE49-F238E27FC236}">
                <a16:creationId xmlns:a16="http://schemas.microsoft.com/office/drawing/2014/main" id="{EAB30B0E-A484-C62E-8358-FD5844710314}"/>
              </a:ext>
            </a:extLst>
          </p:cNvPr>
          <p:cNvSpPr>
            <a:spLocks noGrp="1"/>
          </p:cNvSpPr>
          <p:nvPr>
            <p:ph sz="quarter" idx="12"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6" name="Graphic 18">
            <a:extLst>
              <a:ext uri="{FF2B5EF4-FFF2-40B4-BE49-F238E27FC236}">
                <a16:creationId xmlns:a16="http://schemas.microsoft.com/office/drawing/2014/main" id="{747AE292-9E64-5170-0F5C-9957D21A5D9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3605601409"/>
      </p:ext>
    </p:extLst>
  </p:cSld>
  <p:clrMapOvr>
    <a:masterClrMapping/>
  </p:clrMapOvr>
  <p:hf sldNum="0"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2_Title Slide_e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2581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CB094E4-A2FA-ACFD-AF8B-0C4FFBD63D71}"/>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4000" b="0" baseline="0">
                <a:solidFill>
                  <a:schemeClr val="accent2"/>
                </a:solidFill>
                <a:latin typeface="+mj-lt"/>
                <a:ea typeface="+mj-ea"/>
                <a:cs typeface="+mj-cs"/>
                <a:sym typeface="Trebuchet MS" panose="020B0603020202020204" pitchFamily="34" charset="0"/>
              </a:defRPr>
            </a:lvl1pPr>
          </a:lstStyle>
          <a:p>
            <a:r>
              <a:rPr lang="fi-FI"/>
              <a:t>Otsikko</a:t>
            </a:r>
          </a:p>
        </p:txBody>
      </p:sp>
      <p:sp>
        <p:nvSpPr>
          <p:cNvPr id="18" name="Freeform 17">
            <a:extLst>
              <a:ext uri="{FF2B5EF4-FFF2-40B4-BE49-F238E27FC236}">
                <a16:creationId xmlns:a16="http://schemas.microsoft.com/office/drawing/2014/main" id="{42C29690-68F5-932F-81F4-42436A26FF75}"/>
              </a:ext>
            </a:extLst>
          </p:cNvPr>
          <p:cNvSpPr>
            <a:spLocks/>
          </p:cNvSpPr>
          <p:nvPr/>
        </p:nvSpPr>
        <p:spPr bwMode="auto">
          <a:xfrm>
            <a:off x="5976289"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nvGrpSpPr>
          <p:cNvPr id="2" name="Group 1">
            <a:extLst>
              <a:ext uri="{FF2B5EF4-FFF2-40B4-BE49-F238E27FC236}">
                <a16:creationId xmlns:a16="http://schemas.microsoft.com/office/drawing/2014/main" id="{C664911C-157A-1694-58E7-D2FEAF8809A7}"/>
              </a:ext>
            </a:extLst>
          </p:cNvPr>
          <p:cNvGrpSpPr/>
          <p:nvPr userDrawn="1"/>
        </p:nvGrpSpPr>
        <p:grpSpPr>
          <a:xfrm>
            <a:off x="5976289" y="5455909"/>
            <a:ext cx="442707" cy="440676"/>
            <a:chOff x="6726920" y="5455909"/>
            <a:chExt cx="442707" cy="440676"/>
          </a:xfrm>
        </p:grpSpPr>
        <p:sp>
          <p:nvSpPr>
            <p:cNvPr id="17" name="Rectangle 16">
              <a:hlinkClick r:id="rId6"/>
              <a:extLst>
                <a:ext uri="{FF2B5EF4-FFF2-40B4-BE49-F238E27FC236}">
                  <a16:creationId xmlns:a16="http://schemas.microsoft.com/office/drawing/2014/main" id="{A7706E0C-6E23-F867-A5FA-07DA58D86944}"/>
                </a:ext>
              </a:extLst>
            </p:cNvPr>
            <p:cNvSpPr>
              <a:spLocks noChangeArrowheads="1"/>
            </p:cNvSpPr>
            <p:nvPr/>
          </p:nvSpPr>
          <p:spPr bwMode="auto">
            <a:xfrm>
              <a:off x="6734028" y="5602124"/>
              <a:ext cx="91384" cy="2944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19" name="Freeform 18">
              <a:hlinkClick r:id="rId6"/>
              <a:extLst>
                <a:ext uri="{FF2B5EF4-FFF2-40B4-BE49-F238E27FC236}">
                  <a16:creationId xmlns:a16="http://schemas.microsoft.com/office/drawing/2014/main" id="{B2F2104B-E006-CCE1-564F-40D68BD11B8C}"/>
                </a:ext>
              </a:extLst>
            </p:cNvPr>
            <p:cNvSpPr>
              <a:spLocks/>
            </p:cNvSpPr>
            <p:nvPr/>
          </p:nvSpPr>
          <p:spPr bwMode="auto">
            <a:xfrm>
              <a:off x="6726920"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20" name="Freeform 19">
              <a:hlinkClick r:id="rId6"/>
              <a:extLst>
                <a:ext uri="{FF2B5EF4-FFF2-40B4-BE49-F238E27FC236}">
                  <a16:creationId xmlns:a16="http://schemas.microsoft.com/office/drawing/2014/main" id="{26875E03-EC53-D128-2C40-6EDDB1077687}"/>
                </a:ext>
              </a:extLst>
            </p:cNvPr>
            <p:cNvSpPr>
              <a:spLocks/>
            </p:cNvSpPr>
            <p:nvPr/>
          </p:nvSpPr>
          <p:spPr bwMode="auto">
            <a:xfrm>
              <a:off x="6884304" y="5595017"/>
              <a:ext cx="285323" cy="301568"/>
            </a:xfrm>
            <a:custGeom>
              <a:avLst/>
              <a:gdLst>
                <a:gd name="T0" fmla="*/ 563 w 563"/>
                <a:gd name="T1" fmla="*/ 275 h 594"/>
                <a:gd name="T2" fmla="*/ 561 w 563"/>
                <a:gd name="T3" fmla="*/ 219 h 594"/>
                <a:gd name="T4" fmla="*/ 555 w 563"/>
                <a:gd name="T5" fmla="*/ 167 h 594"/>
                <a:gd name="T6" fmla="*/ 542 w 563"/>
                <a:gd name="T7" fmla="*/ 120 h 594"/>
                <a:gd name="T8" fmla="*/ 523 w 563"/>
                <a:gd name="T9" fmla="*/ 79 h 594"/>
                <a:gd name="T10" fmla="*/ 510 w 563"/>
                <a:gd name="T11" fmla="*/ 61 h 594"/>
                <a:gd name="T12" fmla="*/ 495 w 563"/>
                <a:gd name="T13" fmla="*/ 46 h 594"/>
                <a:gd name="T14" fmla="*/ 477 w 563"/>
                <a:gd name="T15" fmla="*/ 32 h 594"/>
                <a:gd name="T16" fmla="*/ 457 w 563"/>
                <a:gd name="T17" fmla="*/ 21 h 594"/>
                <a:gd name="T18" fmla="*/ 433 w 563"/>
                <a:gd name="T19" fmla="*/ 12 h 594"/>
                <a:gd name="T20" fmla="*/ 408 w 563"/>
                <a:gd name="T21" fmla="*/ 5 h 594"/>
                <a:gd name="T22" fmla="*/ 379 w 563"/>
                <a:gd name="T23" fmla="*/ 1 h 594"/>
                <a:gd name="T24" fmla="*/ 346 w 563"/>
                <a:gd name="T25" fmla="*/ 0 h 594"/>
                <a:gd name="T26" fmla="*/ 330 w 563"/>
                <a:gd name="T27" fmla="*/ 0 h 594"/>
                <a:gd name="T28" fmla="*/ 300 w 563"/>
                <a:gd name="T29" fmla="*/ 5 h 594"/>
                <a:gd name="T30" fmla="*/ 272 w 563"/>
                <a:gd name="T31" fmla="*/ 12 h 594"/>
                <a:gd name="T32" fmla="*/ 249 w 563"/>
                <a:gd name="T33" fmla="*/ 22 h 594"/>
                <a:gd name="T34" fmla="*/ 226 w 563"/>
                <a:gd name="T35" fmla="*/ 37 h 594"/>
                <a:gd name="T36" fmla="*/ 209 w 563"/>
                <a:gd name="T37" fmla="*/ 52 h 594"/>
                <a:gd name="T38" fmla="*/ 193 w 563"/>
                <a:gd name="T39" fmla="*/ 67 h 594"/>
                <a:gd name="T40" fmla="*/ 176 w 563"/>
                <a:gd name="T41" fmla="*/ 93 h 594"/>
                <a:gd name="T42" fmla="*/ 173 w 563"/>
                <a:gd name="T43" fmla="*/ 14 h 594"/>
                <a:gd name="T44" fmla="*/ 0 w 563"/>
                <a:gd name="T45" fmla="*/ 594 h 594"/>
                <a:gd name="T46" fmla="*/ 180 w 563"/>
                <a:gd name="T47" fmla="*/ 307 h 594"/>
                <a:gd name="T48" fmla="*/ 181 w 563"/>
                <a:gd name="T49" fmla="*/ 279 h 594"/>
                <a:gd name="T50" fmla="*/ 186 w 563"/>
                <a:gd name="T51" fmla="*/ 239 h 594"/>
                <a:gd name="T52" fmla="*/ 194 w 563"/>
                <a:gd name="T53" fmla="*/ 215 h 594"/>
                <a:gd name="T54" fmla="*/ 205 w 563"/>
                <a:gd name="T55" fmla="*/ 194 h 594"/>
                <a:gd name="T56" fmla="*/ 222 w 563"/>
                <a:gd name="T57" fmla="*/ 178 h 594"/>
                <a:gd name="T58" fmla="*/ 244 w 563"/>
                <a:gd name="T59" fmla="*/ 166 h 594"/>
                <a:gd name="T60" fmla="*/ 272 w 563"/>
                <a:gd name="T61" fmla="*/ 159 h 594"/>
                <a:gd name="T62" fmla="*/ 289 w 563"/>
                <a:gd name="T63" fmla="*/ 158 h 594"/>
                <a:gd name="T64" fmla="*/ 319 w 563"/>
                <a:gd name="T65" fmla="*/ 162 h 594"/>
                <a:gd name="T66" fmla="*/ 343 w 563"/>
                <a:gd name="T67" fmla="*/ 173 h 594"/>
                <a:gd name="T68" fmla="*/ 359 w 563"/>
                <a:gd name="T69" fmla="*/ 189 h 594"/>
                <a:gd name="T70" fmla="*/ 370 w 563"/>
                <a:gd name="T71" fmla="*/ 209 h 594"/>
                <a:gd name="T72" fmla="*/ 377 w 563"/>
                <a:gd name="T73" fmla="*/ 234 h 594"/>
                <a:gd name="T74" fmla="*/ 380 w 563"/>
                <a:gd name="T75" fmla="*/ 260 h 594"/>
                <a:gd name="T76" fmla="*/ 383 w 563"/>
                <a:gd name="T77" fmla="*/ 312 h 594"/>
                <a:gd name="T78" fmla="*/ 563 w 563"/>
                <a:gd name="T79"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3" h="594">
                  <a:moveTo>
                    <a:pt x="563" y="275"/>
                  </a:moveTo>
                  <a:lnTo>
                    <a:pt x="563" y="275"/>
                  </a:lnTo>
                  <a:lnTo>
                    <a:pt x="562" y="247"/>
                  </a:lnTo>
                  <a:lnTo>
                    <a:pt x="561" y="219"/>
                  </a:lnTo>
                  <a:lnTo>
                    <a:pt x="558" y="192"/>
                  </a:lnTo>
                  <a:lnTo>
                    <a:pt x="555" y="167"/>
                  </a:lnTo>
                  <a:lnTo>
                    <a:pt x="549" y="142"/>
                  </a:lnTo>
                  <a:lnTo>
                    <a:pt x="542" y="120"/>
                  </a:lnTo>
                  <a:lnTo>
                    <a:pt x="534" y="99"/>
                  </a:lnTo>
                  <a:lnTo>
                    <a:pt x="523" y="79"/>
                  </a:lnTo>
                  <a:lnTo>
                    <a:pt x="517" y="71"/>
                  </a:lnTo>
                  <a:lnTo>
                    <a:pt x="510" y="61"/>
                  </a:lnTo>
                  <a:lnTo>
                    <a:pt x="503" y="53"/>
                  </a:lnTo>
                  <a:lnTo>
                    <a:pt x="495" y="46"/>
                  </a:lnTo>
                  <a:lnTo>
                    <a:pt x="486" y="39"/>
                  </a:lnTo>
                  <a:lnTo>
                    <a:pt x="477" y="32"/>
                  </a:lnTo>
                  <a:lnTo>
                    <a:pt x="468" y="26"/>
                  </a:lnTo>
                  <a:lnTo>
                    <a:pt x="457" y="21"/>
                  </a:lnTo>
                  <a:lnTo>
                    <a:pt x="446" y="17"/>
                  </a:lnTo>
                  <a:lnTo>
                    <a:pt x="433" y="12"/>
                  </a:lnTo>
                  <a:lnTo>
                    <a:pt x="422" y="8"/>
                  </a:lnTo>
                  <a:lnTo>
                    <a:pt x="408" y="5"/>
                  </a:lnTo>
                  <a:lnTo>
                    <a:pt x="393" y="2"/>
                  </a:lnTo>
                  <a:lnTo>
                    <a:pt x="379" y="1"/>
                  </a:lnTo>
                  <a:lnTo>
                    <a:pt x="363" y="0"/>
                  </a:lnTo>
                  <a:lnTo>
                    <a:pt x="346" y="0"/>
                  </a:lnTo>
                  <a:lnTo>
                    <a:pt x="346" y="0"/>
                  </a:lnTo>
                  <a:lnTo>
                    <a:pt x="330" y="0"/>
                  </a:lnTo>
                  <a:lnTo>
                    <a:pt x="315" y="1"/>
                  </a:lnTo>
                  <a:lnTo>
                    <a:pt x="300" y="5"/>
                  </a:lnTo>
                  <a:lnTo>
                    <a:pt x="286" y="8"/>
                  </a:lnTo>
                  <a:lnTo>
                    <a:pt x="272" y="12"/>
                  </a:lnTo>
                  <a:lnTo>
                    <a:pt x="260" y="18"/>
                  </a:lnTo>
                  <a:lnTo>
                    <a:pt x="249" y="22"/>
                  </a:lnTo>
                  <a:lnTo>
                    <a:pt x="237" y="29"/>
                  </a:lnTo>
                  <a:lnTo>
                    <a:pt x="226" y="37"/>
                  </a:lnTo>
                  <a:lnTo>
                    <a:pt x="217" y="44"/>
                  </a:lnTo>
                  <a:lnTo>
                    <a:pt x="209" y="52"/>
                  </a:lnTo>
                  <a:lnTo>
                    <a:pt x="200" y="59"/>
                  </a:lnTo>
                  <a:lnTo>
                    <a:pt x="193" y="67"/>
                  </a:lnTo>
                  <a:lnTo>
                    <a:pt x="186" y="76"/>
                  </a:lnTo>
                  <a:lnTo>
                    <a:pt x="176" y="93"/>
                  </a:lnTo>
                  <a:lnTo>
                    <a:pt x="173" y="93"/>
                  </a:lnTo>
                  <a:lnTo>
                    <a:pt x="173" y="14"/>
                  </a:lnTo>
                  <a:lnTo>
                    <a:pt x="0" y="14"/>
                  </a:lnTo>
                  <a:lnTo>
                    <a:pt x="0" y="594"/>
                  </a:lnTo>
                  <a:lnTo>
                    <a:pt x="180" y="594"/>
                  </a:lnTo>
                  <a:lnTo>
                    <a:pt x="180" y="307"/>
                  </a:lnTo>
                  <a:lnTo>
                    <a:pt x="180" y="307"/>
                  </a:lnTo>
                  <a:lnTo>
                    <a:pt x="181" y="279"/>
                  </a:lnTo>
                  <a:lnTo>
                    <a:pt x="184" y="252"/>
                  </a:lnTo>
                  <a:lnTo>
                    <a:pt x="186" y="239"/>
                  </a:lnTo>
                  <a:lnTo>
                    <a:pt x="190" y="227"/>
                  </a:lnTo>
                  <a:lnTo>
                    <a:pt x="194" y="215"/>
                  </a:lnTo>
                  <a:lnTo>
                    <a:pt x="199" y="205"/>
                  </a:lnTo>
                  <a:lnTo>
                    <a:pt x="205" y="194"/>
                  </a:lnTo>
                  <a:lnTo>
                    <a:pt x="213" y="185"/>
                  </a:lnTo>
                  <a:lnTo>
                    <a:pt x="222" y="178"/>
                  </a:lnTo>
                  <a:lnTo>
                    <a:pt x="232" y="171"/>
                  </a:lnTo>
                  <a:lnTo>
                    <a:pt x="244" y="166"/>
                  </a:lnTo>
                  <a:lnTo>
                    <a:pt x="257" y="161"/>
                  </a:lnTo>
                  <a:lnTo>
                    <a:pt x="272" y="159"/>
                  </a:lnTo>
                  <a:lnTo>
                    <a:pt x="289" y="158"/>
                  </a:lnTo>
                  <a:lnTo>
                    <a:pt x="289" y="158"/>
                  </a:lnTo>
                  <a:lnTo>
                    <a:pt x="305" y="159"/>
                  </a:lnTo>
                  <a:lnTo>
                    <a:pt x="319" y="162"/>
                  </a:lnTo>
                  <a:lnTo>
                    <a:pt x="331" y="167"/>
                  </a:lnTo>
                  <a:lnTo>
                    <a:pt x="343" y="173"/>
                  </a:lnTo>
                  <a:lnTo>
                    <a:pt x="351" y="180"/>
                  </a:lnTo>
                  <a:lnTo>
                    <a:pt x="359" y="189"/>
                  </a:lnTo>
                  <a:lnTo>
                    <a:pt x="365" y="199"/>
                  </a:lnTo>
                  <a:lnTo>
                    <a:pt x="370" y="209"/>
                  </a:lnTo>
                  <a:lnTo>
                    <a:pt x="375" y="221"/>
                  </a:lnTo>
                  <a:lnTo>
                    <a:pt x="377" y="234"/>
                  </a:lnTo>
                  <a:lnTo>
                    <a:pt x="379" y="246"/>
                  </a:lnTo>
                  <a:lnTo>
                    <a:pt x="380" y="260"/>
                  </a:lnTo>
                  <a:lnTo>
                    <a:pt x="382" y="286"/>
                  </a:lnTo>
                  <a:lnTo>
                    <a:pt x="383" y="312"/>
                  </a:lnTo>
                  <a:lnTo>
                    <a:pt x="383" y="594"/>
                  </a:lnTo>
                  <a:lnTo>
                    <a:pt x="563" y="594"/>
                  </a:lnTo>
                  <a:lnTo>
                    <a:pt x="563"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sp>
        <p:nvSpPr>
          <p:cNvPr id="21" name="Freeform 20">
            <a:hlinkClick r:id="rId7"/>
            <a:extLst>
              <a:ext uri="{FF2B5EF4-FFF2-40B4-BE49-F238E27FC236}">
                <a16:creationId xmlns:a16="http://schemas.microsoft.com/office/drawing/2014/main" id="{BC1D8BF7-8BF4-17A9-7E7A-DB518848EFD2}"/>
              </a:ext>
            </a:extLst>
          </p:cNvPr>
          <p:cNvSpPr>
            <a:spLocks/>
          </p:cNvSpPr>
          <p:nvPr userDrawn="1"/>
        </p:nvSpPr>
        <p:spPr bwMode="auto">
          <a:xfrm>
            <a:off x="5124016" y="5537141"/>
            <a:ext cx="442706" cy="359444"/>
          </a:xfrm>
          <a:custGeom>
            <a:avLst/>
            <a:gdLst>
              <a:gd name="T0" fmla="*/ 792 w 871"/>
              <a:gd name="T1" fmla="*/ 39 h 707"/>
              <a:gd name="T2" fmla="*/ 721 w 871"/>
              <a:gd name="T3" fmla="*/ 43 h 707"/>
              <a:gd name="T4" fmla="*/ 658 w 871"/>
              <a:gd name="T5" fmla="*/ 8 h 707"/>
              <a:gd name="T6" fmla="*/ 603 w 871"/>
              <a:gd name="T7" fmla="*/ 0 h 707"/>
              <a:gd name="T8" fmla="*/ 533 w 871"/>
              <a:gd name="T9" fmla="*/ 14 h 707"/>
              <a:gd name="T10" fmla="*/ 477 w 871"/>
              <a:gd name="T11" fmla="*/ 52 h 707"/>
              <a:gd name="T12" fmla="*/ 438 w 871"/>
              <a:gd name="T13" fmla="*/ 108 h 707"/>
              <a:gd name="T14" fmla="*/ 425 w 871"/>
              <a:gd name="T15" fmla="*/ 178 h 707"/>
              <a:gd name="T16" fmla="*/ 429 w 871"/>
              <a:gd name="T17" fmla="*/ 219 h 707"/>
              <a:gd name="T18" fmla="*/ 321 w 871"/>
              <a:gd name="T19" fmla="*/ 201 h 707"/>
              <a:gd name="T20" fmla="*/ 223 w 871"/>
              <a:gd name="T21" fmla="*/ 163 h 707"/>
              <a:gd name="T22" fmla="*/ 135 w 871"/>
              <a:gd name="T23" fmla="*/ 106 h 707"/>
              <a:gd name="T24" fmla="*/ 61 w 871"/>
              <a:gd name="T25" fmla="*/ 32 h 707"/>
              <a:gd name="T26" fmla="*/ 47 w 871"/>
              <a:gd name="T27" fmla="*/ 63 h 707"/>
              <a:gd name="T28" fmla="*/ 38 w 871"/>
              <a:gd name="T29" fmla="*/ 109 h 707"/>
              <a:gd name="T30" fmla="*/ 39 w 871"/>
              <a:gd name="T31" fmla="*/ 145 h 707"/>
              <a:gd name="T32" fmla="*/ 59 w 871"/>
              <a:gd name="T33" fmla="*/ 207 h 707"/>
              <a:gd name="T34" fmla="*/ 117 w 871"/>
              <a:gd name="T35" fmla="*/ 270 h 707"/>
              <a:gd name="T36" fmla="*/ 54 w 871"/>
              <a:gd name="T37" fmla="*/ 257 h 707"/>
              <a:gd name="T38" fmla="*/ 37 w 871"/>
              <a:gd name="T39" fmla="*/ 267 h 707"/>
              <a:gd name="T40" fmla="*/ 52 w 871"/>
              <a:gd name="T41" fmla="*/ 326 h 707"/>
              <a:gd name="T42" fmla="*/ 86 w 871"/>
              <a:gd name="T43" fmla="*/ 375 h 707"/>
              <a:gd name="T44" fmla="*/ 135 w 871"/>
              <a:gd name="T45" fmla="*/ 410 h 707"/>
              <a:gd name="T46" fmla="*/ 179 w 871"/>
              <a:gd name="T47" fmla="*/ 426 h 707"/>
              <a:gd name="T48" fmla="*/ 132 w 871"/>
              <a:gd name="T49" fmla="*/ 432 h 707"/>
              <a:gd name="T50" fmla="*/ 98 w 871"/>
              <a:gd name="T51" fmla="*/ 428 h 707"/>
              <a:gd name="T52" fmla="*/ 122 w 871"/>
              <a:gd name="T53" fmla="*/ 477 h 707"/>
              <a:gd name="T54" fmla="*/ 160 w 871"/>
              <a:gd name="T55" fmla="*/ 516 h 707"/>
              <a:gd name="T56" fmla="*/ 208 w 871"/>
              <a:gd name="T57" fmla="*/ 542 h 707"/>
              <a:gd name="T58" fmla="*/ 265 w 871"/>
              <a:gd name="T59" fmla="*/ 553 h 707"/>
              <a:gd name="T60" fmla="*/ 190 w 871"/>
              <a:gd name="T61" fmla="*/ 597 h 707"/>
              <a:gd name="T62" fmla="*/ 74 w 871"/>
              <a:gd name="T63" fmla="*/ 627 h 707"/>
              <a:gd name="T64" fmla="*/ 0 w 871"/>
              <a:gd name="T65" fmla="*/ 626 h 707"/>
              <a:gd name="T66" fmla="*/ 95 w 871"/>
              <a:gd name="T67" fmla="*/ 674 h 707"/>
              <a:gd name="T68" fmla="*/ 237 w 871"/>
              <a:gd name="T69" fmla="*/ 704 h 707"/>
              <a:gd name="T70" fmla="*/ 334 w 871"/>
              <a:gd name="T71" fmla="*/ 703 h 707"/>
              <a:gd name="T72" fmla="*/ 443 w 871"/>
              <a:gd name="T73" fmla="*/ 680 h 707"/>
              <a:gd name="T74" fmla="*/ 538 w 871"/>
              <a:gd name="T75" fmla="*/ 636 h 707"/>
              <a:gd name="T76" fmla="*/ 617 w 871"/>
              <a:gd name="T77" fmla="*/ 576 h 707"/>
              <a:gd name="T78" fmla="*/ 682 w 871"/>
              <a:gd name="T79" fmla="*/ 503 h 707"/>
              <a:gd name="T80" fmla="*/ 730 w 871"/>
              <a:gd name="T81" fmla="*/ 421 h 707"/>
              <a:gd name="T82" fmla="*/ 763 w 871"/>
              <a:gd name="T83" fmla="*/ 333 h 707"/>
              <a:gd name="T84" fmla="*/ 781 w 871"/>
              <a:gd name="T85" fmla="*/ 243 h 707"/>
              <a:gd name="T86" fmla="*/ 782 w 871"/>
              <a:gd name="T87" fmla="*/ 175 h 707"/>
              <a:gd name="T88" fmla="*/ 820 w 871"/>
              <a:gd name="T89" fmla="*/ 145 h 707"/>
              <a:gd name="T90" fmla="*/ 862 w 871"/>
              <a:gd name="T91" fmla="*/ 96 h 707"/>
              <a:gd name="T92" fmla="*/ 821 w 871"/>
              <a:gd name="T93" fmla="*/ 101 h 707"/>
              <a:gd name="T94" fmla="*/ 782 w 871"/>
              <a:gd name="T95" fmla="*/ 102 h 707"/>
              <a:gd name="T96" fmla="*/ 825 w 871"/>
              <a:gd name="T97" fmla="*/ 5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1" h="707">
                <a:moveTo>
                  <a:pt x="847" y="13"/>
                </a:moveTo>
                <a:lnTo>
                  <a:pt x="847" y="13"/>
                </a:lnTo>
                <a:lnTo>
                  <a:pt x="821" y="27"/>
                </a:lnTo>
                <a:lnTo>
                  <a:pt x="792" y="39"/>
                </a:lnTo>
                <a:lnTo>
                  <a:pt x="763" y="48"/>
                </a:lnTo>
                <a:lnTo>
                  <a:pt x="734" y="56"/>
                </a:lnTo>
                <a:lnTo>
                  <a:pt x="734" y="56"/>
                </a:lnTo>
                <a:lnTo>
                  <a:pt x="721" y="43"/>
                </a:lnTo>
                <a:lnTo>
                  <a:pt x="706" y="33"/>
                </a:lnTo>
                <a:lnTo>
                  <a:pt x="691" y="23"/>
                </a:lnTo>
                <a:lnTo>
                  <a:pt x="676" y="15"/>
                </a:lnTo>
                <a:lnTo>
                  <a:pt x="658" y="8"/>
                </a:lnTo>
                <a:lnTo>
                  <a:pt x="641" y="3"/>
                </a:lnTo>
                <a:lnTo>
                  <a:pt x="622" y="1"/>
                </a:lnTo>
                <a:lnTo>
                  <a:pt x="603" y="0"/>
                </a:lnTo>
                <a:lnTo>
                  <a:pt x="603" y="0"/>
                </a:lnTo>
                <a:lnTo>
                  <a:pt x="585" y="1"/>
                </a:lnTo>
                <a:lnTo>
                  <a:pt x="568" y="3"/>
                </a:lnTo>
                <a:lnTo>
                  <a:pt x="550" y="8"/>
                </a:lnTo>
                <a:lnTo>
                  <a:pt x="533" y="14"/>
                </a:lnTo>
                <a:lnTo>
                  <a:pt x="518" y="21"/>
                </a:lnTo>
                <a:lnTo>
                  <a:pt x="503" y="30"/>
                </a:lnTo>
                <a:lnTo>
                  <a:pt x="490" y="40"/>
                </a:lnTo>
                <a:lnTo>
                  <a:pt x="477" y="52"/>
                </a:lnTo>
                <a:lnTo>
                  <a:pt x="465" y="65"/>
                </a:lnTo>
                <a:lnTo>
                  <a:pt x="455" y="79"/>
                </a:lnTo>
                <a:lnTo>
                  <a:pt x="446" y="93"/>
                </a:lnTo>
                <a:lnTo>
                  <a:pt x="438" y="108"/>
                </a:lnTo>
                <a:lnTo>
                  <a:pt x="432" y="125"/>
                </a:lnTo>
                <a:lnTo>
                  <a:pt x="429" y="142"/>
                </a:lnTo>
                <a:lnTo>
                  <a:pt x="425" y="160"/>
                </a:lnTo>
                <a:lnTo>
                  <a:pt x="425" y="178"/>
                </a:lnTo>
                <a:lnTo>
                  <a:pt x="425" y="178"/>
                </a:lnTo>
                <a:lnTo>
                  <a:pt x="426" y="199"/>
                </a:lnTo>
                <a:lnTo>
                  <a:pt x="429" y="219"/>
                </a:lnTo>
                <a:lnTo>
                  <a:pt x="429" y="219"/>
                </a:lnTo>
                <a:lnTo>
                  <a:pt x="402" y="216"/>
                </a:lnTo>
                <a:lnTo>
                  <a:pt x="374" y="213"/>
                </a:lnTo>
                <a:lnTo>
                  <a:pt x="347" y="208"/>
                </a:lnTo>
                <a:lnTo>
                  <a:pt x="321" y="201"/>
                </a:lnTo>
                <a:lnTo>
                  <a:pt x="296" y="194"/>
                </a:lnTo>
                <a:lnTo>
                  <a:pt x="271" y="185"/>
                </a:lnTo>
                <a:lnTo>
                  <a:pt x="246" y="174"/>
                </a:lnTo>
                <a:lnTo>
                  <a:pt x="223" y="163"/>
                </a:lnTo>
                <a:lnTo>
                  <a:pt x="199" y="150"/>
                </a:lnTo>
                <a:lnTo>
                  <a:pt x="177" y="136"/>
                </a:lnTo>
                <a:lnTo>
                  <a:pt x="155" y="122"/>
                </a:lnTo>
                <a:lnTo>
                  <a:pt x="135" y="106"/>
                </a:lnTo>
                <a:lnTo>
                  <a:pt x="115" y="89"/>
                </a:lnTo>
                <a:lnTo>
                  <a:pt x="97" y="70"/>
                </a:lnTo>
                <a:lnTo>
                  <a:pt x="78" y="52"/>
                </a:lnTo>
                <a:lnTo>
                  <a:pt x="61" y="32"/>
                </a:lnTo>
                <a:lnTo>
                  <a:pt x="61" y="32"/>
                </a:lnTo>
                <a:lnTo>
                  <a:pt x="55" y="42"/>
                </a:lnTo>
                <a:lnTo>
                  <a:pt x="51" y="53"/>
                </a:lnTo>
                <a:lnTo>
                  <a:pt x="47" y="63"/>
                </a:lnTo>
                <a:lnTo>
                  <a:pt x="44" y="75"/>
                </a:lnTo>
                <a:lnTo>
                  <a:pt x="40" y="86"/>
                </a:lnTo>
                <a:lnTo>
                  <a:pt x="39" y="98"/>
                </a:lnTo>
                <a:lnTo>
                  <a:pt x="38" y="109"/>
                </a:lnTo>
                <a:lnTo>
                  <a:pt x="37" y="122"/>
                </a:lnTo>
                <a:lnTo>
                  <a:pt x="37" y="122"/>
                </a:lnTo>
                <a:lnTo>
                  <a:pt x="38" y="133"/>
                </a:lnTo>
                <a:lnTo>
                  <a:pt x="39" y="145"/>
                </a:lnTo>
                <a:lnTo>
                  <a:pt x="40" y="156"/>
                </a:lnTo>
                <a:lnTo>
                  <a:pt x="42" y="167"/>
                </a:lnTo>
                <a:lnTo>
                  <a:pt x="49" y="188"/>
                </a:lnTo>
                <a:lnTo>
                  <a:pt x="59" y="207"/>
                </a:lnTo>
                <a:lnTo>
                  <a:pt x="71" y="226"/>
                </a:lnTo>
                <a:lnTo>
                  <a:pt x="84" y="242"/>
                </a:lnTo>
                <a:lnTo>
                  <a:pt x="99" y="257"/>
                </a:lnTo>
                <a:lnTo>
                  <a:pt x="117" y="270"/>
                </a:lnTo>
                <a:lnTo>
                  <a:pt x="117" y="270"/>
                </a:lnTo>
                <a:lnTo>
                  <a:pt x="94" y="268"/>
                </a:lnTo>
                <a:lnTo>
                  <a:pt x="74" y="263"/>
                </a:lnTo>
                <a:lnTo>
                  <a:pt x="54" y="257"/>
                </a:lnTo>
                <a:lnTo>
                  <a:pt x="35" y="248"/>
                </a:lnTo>
                <a:lnTo>
                  <a:pt x="35" y="250"/>
                </a:lnTo>
                <a:lnTo>
                  <a:pt x="35" y="250"/>
                </a:lnTo>
                <a:lnTo>
                  <a:pt x="37" y="267"/>
                </a:lnTo>
                <a:lnTo>
                  <a:pt x="38" y="282"/>
                </a:lnTo>
                <a:lnTo>
                  <a:pt x="41" y="297"/>
                </a:lnTo>
                <a:lnTo>
                  <a:pt x="46" y="312"/>
                </a:lnTo>
                <a:lnTo>
                  <a:pt x="52" y="326"/>
                </a:lnTo>
                <a:lnTo>
                  <a:pt x="59" y="340"/>
                </a:lnTo>
                <a:lnTo>
                  <a:pt x="67" y="352"/>
                </a:lnTo>
                <a:lnTo>
                  <a:pt x="77" y="365"/>
                </a:lnTo>
                <a:lnTo>
                  <a:pt x="86" y="375"/>
                </a:lnTo>
                <a:lnTo>
                  <a:pt x="98" y="386"/>
                </a:lnTo>
                <a:lnTo>
                  <a:pt x="110" y="395"/>
                </a:lnTo>
                <a:lnTo>
                  <a:pt x="121" y="403"/>
                </a:lnTo>
                <a:lnTo>
                  <a:pt x="135" y="410"/>
                </a:lnTo>
                <a:lnTo>
                  <a:pt x="150" y="416"/>
                </a:lnTo>
                <a:lnTo>
                  <a:pt x="164" y="421"/>
                </a:lnTo>
                <a:lnTo>
                  <a:pt x="179" y="426"/>
                </a:lnTo>
                <a:lnTo>
                  <a:pt x="179" y="426"/>
                </a:lnTo>
                <a:lnTo>
                  <a:pt x="167" y="428"/>
                </a:lnTo>
                <a:lnTo>
                  <a:pt x="155" y="430"/>
                </a:lnTo>
                <a:lnTo>
                  <a:pt x="144" y="432"/>
                </a:lnTo>
                <a:lnTo>
                  <a:pt x="132" y="432"/>
                </a:lnTo>
                <a:lnTo>
                  <a:pt x="132" y="432"/>
                </a:lnTo>
                <a:lnTo>
                  <a:pt x="114" y="430"/>
                </a:lnTo>
                <a:lnTo>
                  <a:pt x="98" y="428"/>
                </a:lnTo>
                <a:lnTo>
                  <a:pt x="98" y="428"/>
                </a:lnTo>
                <a:lnTo>
                  <a:pt x="102" y="441"/>
                </a:lnTo>
                <a:lnTo>
                  <a:pt x="108" y="454"/>
                </a:lnTo>
                <a:lnTo>
                  <a:pt x="115" y="466"/>
                </a:lnTo>
                <a:lnTo>
                  <a:pt x="122" y="477"/>
                </a:lnTo>
                <a:lnTo>
                  <a:pt x="131" y="488"/>
                </a:lnTo>
                <a:lnTo>
                  <a:pt x="140" y="499"/>
                </a:lnTo>
                <a:lnTo>
                  <a:pt x="150" y="508"/>
                </a:lnTo>
                <a:lnTo>
                  <a:pt x="160" y="516"/>
                </a:lnTo>
                <a:lnTo>
                  <a:pt x="172" y="524"/>
                </a:lnTo>
                <a:lnTo>
                  <a:pt x="184" y="532"/>
                </a:lnTo>
                <a:lnTo>
                  <a:pt x="197" y="537"/>
                </a:lnTo>
                <a:lnTo>
                  <a:pt x="208" y="542"/>
                </a:lnTo>
                <a:lnTo>
                  <a:pt x="223" y="547"/>
                </a:lnTo>
                <a:lnTo>
                  <a:pt x="237" y="549"/>
                </a:lnTo>
                <a:lnTo>
                  <a:pt x="251" y="552"/>
                </a:lnTo>
                <a:lnTo>
                  <a:pt x="265" y="553"/>
                </a:lnTo>
                <a:lnTo>
                  <a:pt x="265" y="553"/>
                </a:lnTo>
                <a:lnTo>
                  <a:pt x="241" y="569"/>
                </a:lnTo>
                <a:lnTo>
                  <a:pt x="217" y="584"/>
                </a:lnTo>
                <a:lnTo>
                  <a:pt x="190" y="597"/>
                </a:lnTo>
                <a:lnTo>
                  <a:pt x="162" y="608"/>
                </a:lnTo>
                <a:lnTo>
                  <a:pt x="134" y="617"/>
                </a:lnTo>
                <a:lnTo>
                  <a:pt x="105" y="623"/>
                </a:lnTo>
                <a:lnTo>
                  <a:pt x="74" y="627"/>
                </a:lnTo>
                <a:lnTo>
                  <a:pt x="44" y="628"/>
                </a:lnTo>
                <a:lnTo>
                  <a:pt x="44" y="628"/>
                </a:lnTo>
                <a:lnTo>
                  <a:pt x="21" y="628"/>
                </a:lnTo>
                <a:lnTo>
                  <a:pt x="0" y="626"/>
                </a:lnTo>
                <a:lnTo>
                  <a:pt x="0" y="626"/>
                </a:lnTo>
                <a:lnTo>
                  <a:pt x="31" y="644"/>
                </a:lnTo>
                <a:lnTo>
                  <a:pt x="62" y="660"/>
                </a:lnTo>
                <a:lnTo>
                  <a:pt x="95" y="674"/>
                </a:lnTo>
                <a:lnTo>
                  <a:pt x="130" y="686"/>
                </a:lnTo>
                <a:lnTo>
                  <a:pt x="164" y="694"/>
                </a:lnTo>
                <a:lnTo>
                  <a:pt x="200" y="701"/>
                </a:lnTo>
                <a:lnTo>
                  <a:pt x="237" y="704"/>
                </a:lnTo>
                <a:lnTo>
                  <a:pt x="274" y="707"/>
                </a:lnTo>
                <a:lnTo>
                  <a:pt x="274" y="707"/>
                </a:lnTo>
                <a:lnTo>
                  <a:pt x="305" y="706"/>
                </a:lnTo>
                <a:lnTo>
                  <a:pt x="334" y="703"/>
                </a:lnTo>
                <a:lnTo>
                  <a:pt x="363" y="700"/>
                </a:lnTo>
                <a:lnTo>
                  <a:pt x="390" y="694"/>
                </a:lnTo>
                <a:lnTo>
                  <a:pt x="417" y="688"/>
                </a:lnTo>
                <a:lnTo>
                  <a:pt x="443" y="680"/>
                </a:lnTo>
                <a:lnTo>
                  <a:pt x="469" y="670"/>
                </a:lnTo>
                <a:lnTo>
                  <a:pt x="492" y="660"/>
                </a:lnTo>
                <a:lnTo>
                  <a:pt x="516" y="648"/>
                </a:lnTo>
                <a:lnTo>
                  <a:pt x="538" y="636"/>
                </a:lnTo>
                <a:lnTo>
                  <a:pt x="559" y="622"/>
                </a:lnTo>
                <a:lnTo>
                  <a:pt x="579" y="608"/>
                </a:lnTo>
                <a:lnTo>
                  <a:pt x="599" y="593"/>
                </a:lnTo>
                <a:lnTo>
                  <a:pt x="617" y="576"/>
                </a:lnTo>
                <a:lnTo>
                  <a:pt x="635" y="559"/>
                </a:lnTo>
                <a:lnTo>
                  <a:pt x="651" y="541"/>
                </a:lnTo>
                <a:lnTo>
                  <a:pt x="668" y="522"/>
                </a:lnTo>
                <a:lnTo>
                  <a:pt x="682" y="503"/>
                </a:lnTo>
                <a:lnTo>
                  <a:pt x="696" y="483"/>
                </a:lnTo>
                <a:lnTo>
                  <a:pt x="708" y="463"/>
                </a:lnTo>
                <a:lnTo>
                  <a:pt x="719" y="442"/>
                </a:lnTo>
                <a:lnTo>
                  <a:pt x="730" y="421"/>
                </a:lnTo>
                <a:lnTo>
                  <a:pt x="741" y="400"/>
                </a:lnTo>
                <a:lnTo>
                  <a:pt x="749" y="377"/>
                </a:lnTo>
                <a:lnTo>
                  <a:pt x="757" y="355"/>
                </a:lnTo>
                <a:lnTo>
                  <a:pt x="763" y="333"/>
                </a:lnTo>
                <a:lnTo>
                  <a:pt x="769" y="310"/>
                </a:lnTo>
                <a:lnTo>
                  <a:pt x="774" y="288"/>
                </a:lnTo>
                <a:lnTo>
                  <a:pt x="777" y="266"/>
                </a:lnTo>
                <a:lnTo>
                  <a:pt x="781" y="243"/>
                </a:lnTo>
                <a:lnTo>
                  <a:pt x="782" y="221"/>
                </a:lnTo>
                <a:lnTo>
                  <a:pt x="782" y="199"/>
                </a:lnTo>
                <a:lnTo>
                  <a:pt x="782" y="199"/>
                </a:lnTo>
                <a:lnTo>
                  <a:pt x="782" y="175"/>
                </a:lnTo>
                <a:lnTo>
                  <a:pt x="782" y="175"/>
                </a:lnTo>
                <a:lnTo>
                  <a:pt x="795" y="166"/>
                </a:lnTo>
                <a:lnTo>
                  <a:pt x="807" y="155"/>
                </a:lnTo>
                <a:lnTo>
                  <a:pt x="820" y="145"/>
                </a:lnTo>
                <a:lnTo>
                  <a:pt x="830" y="133"/>
                </a:lnTo>
                <a:lnTo>
                  <a:pt x="842" y="121"/>
                </a:lnTo>
                <a:lnTo>
                  <a:pt x="851" y="109"/>
                </a:lnTo>
                <a:lnTo>
                  <a:pt x="862" y="96"/>
                </a:lnTo>
                <a:lnTo>
                  <a:pt x="871" y="83"/>
                </a:lnTo>
                <a:lnTo>
                  <a:pt x="871" y="83"/>
                </a:lnTo>
                <a:lnTo>
                  <a:pt x="847" y="93"/>
                </a:lnTo>
                <a:lnTo>
                  <a:pt x="821" y="101"/>
                </a:lnTo>
                <a:lnTo>
                  <a:pt x="795" y="107"/>
                </a:lnTo>
                <a:lnTo>
                  <a:pt x="769" y="112"/>
                </a:lnTo>
                <a:lnTo>
                  <a:pt x="769" y="112"/>
                </a:lnTo>
                <a:lnTo>
                  <a:pt x="782" y="102"/>
                </a:lnTo>
                <a:lnTo>
                  <a:pt x="795" y="93"/>
                </a:lnTo>
                <a:lnTo>
                  <a:pt x="805" y="81"/>
                </a:lnTo>
                <a:lnTo>
                  <a:pt x="816" y="69"/>
                </a:lnTo>
                <a:lnTo>
                  <a:pt x="825" y="56"/>
                </a:lnTo>
                <a:lnTo>
                  <a:pt x="834" y="42"/>
                </a:lnTo>
                <a:lnTo>
                  <a:pt x="841" y="28"/>
                </a:lnTo>
                <a:lnTo>
                  <a:pt x="847"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22" name="Freeform 21">
            <a:hlinkClick r:id="rId8"/>
            <a:extLst>
              <a:ext uri="{FF2B5EF4-FFF2-40B4-BE49-F238E27FC236}">
                <a16:creationId xmlns:a16="http://schemas.microsoft.com/office/drawing/2014/main" id="{451C9E59-6B15-DE9D-C011-A12FE638D97A}"/>
              </a:ext>
            </a:extLst>
          </p:cNvPr>
          <p:cNvSpPr>
            <a:spLocks/>
          </p:cNvSpPr>
          <p:nvPr userDrawn="1"/>
        </p:nvSpPr>
        <p:spPr bwMode="auto">
          <a:xfrm>
            <a:off x="4370009" y="5455909"/>
            <a:ext cx="213230" cy="440675"/>
          </a:xfrm>
          <a:custGeom>
            <a:avLst/>
            <a:gdLst>
              <a:gd name="T0" fmla="*/ 0 w 419"/>
              <a:gd name="T1" fmla="*/ 249 h 868"/>
              <a:gd name="T2" fmla="*/ 91 w 419"/>
              <a:gd name="T3" fmla="*/ 249 h 868"/>
              <a:gd name="T4" fmla="*/ 91 w 419"/>
              <a:gd name="T5" fmla="*/ 203 h 868"/>
              <a:gd name="T6" fmla="*/ 91 w 419"/>
              <a:gd name="T7" fmla="*/ 203 h 868"/>
              <a:gd name="T8" fmla="*/ 92 w 419"/>
              <a:gd name="T9" fmla="*/ 167 h 868"/>
              <a:gd name="T10" fmla="*/ 95 w 419"/>
              <a:gd name="T11" fmla="*/ 135 h 868"/>
              <a:gd name="T12" fmla="*/ 98 w 419"/>
              <a:gd name="T13" fmla="*/ 121 h 868"/>
              <a:gd name="T14" fmla="*/ 100 w 419"/>
              <a:gd name="T15" fmla="*/ 108 h 868"/>
              <a:gd name="T16" fmla="*/ 103 w 419"/>
              <a:gd name="T17" fmla="*/ 96 h 868"/>
              <a:gd name="T18" fmla="*/ 108 w 419"/>
              <a:gd name="T19" fmla="*/ 87 h 868"/>
              <a:gd name="T20" fmla="*/ 108 w 419"/>
              <a:gd name="T21" fmla="*/ 87 h 868"/>
              <a:gd name="T22" fmla="*/ 113 w 419"/>
              <a:gd name="T23" fmla="*/ 78 h 868"/>
              <a:gd name="T24" fmla="*/ 118 w 419"/>
              <a:gd name="T25" fmla="*/ 68 h 868"/>
              <a:gd name="T26" fmla="*/ 125 w 419"/>
              <a:gd name="T27" fmla="*/ 60 h 868"/>
              <a:gd name="T28" fmla="*/ 132 w 419"/>
              <a:gd name="T29" fmla="*/ 52 h 868"/>
              <a:gd name="T30" fmla="*/ 140 w 419"/>
              <a:gd name="T31" fmla="*/ 44 h 868"/>
              <a:gd name="T32" fmla="*/ 148 w 419"/>
              <a:gd name="T33" fmla="*/ 36 h 868"/>
              <a:gd name="T34" fmla="*/ 158 w 419"/>
              <a:gd name="T35" fmla="*/ 31 h 868"/>
              <a:gd name="T36" fmla="*/ 169 w 419"/>
              <a:gd name="T37" fmla="*/ 24 h 868"/>
              <a:gd name="T38" fmla="*/ 169 w 419"/>
              <a:gd name="T39" fmla="*/ 24 h 868"/>
              <a:gd name="T40" fmla="*/ 180 w 419"/>
              <a:gd name="T41" fmla="*/ 19 h 868"/>
              <a:gd name="T42" fmla="*/ 193 w 419"/>
              <a:gd name="T43" fmla="*/ 13 h 868"/>
              <a:gd name="T44" fmla="*/ 206 w 419"/>
              <a:gd name="T45" fmla="*/ 9 h 868"/>
              <a:gd name="T46" fmla="*/ 219 w 419"/>
              <a:gd name="T47" fmla="*/ 6 h 868"/>
              <a:gd name="T48" fmla="*/ 234 w 419"/>
              <a:gd name="T49" fmla="*/ 4 h 868"/>
              <a:gd name="T50" fmla="*/ 249 w 419"/>
              <a:gd name="T51" fmla="*/ 1 h 868"/>
              <a:gd name="T52" fmla="*/ 265 w 419"/>
              <a:gd name="T53" fmla="*/ 0 h 868"/>
              <a:gd name="T54" fmla="*/ 281 w 419"/>
              <a:gd name="T55" fmla="*/ 0 h 868"/>
              <a:gd name="T56" fmla="*/ 281 w 419"/>
              <a:gd name="T57" fmla="*/ 0 h 868"/>
              <a:gd name="T58" fmla="*/ 317 w 419"/>
              <a:gd name="T59" fmla="*/ 1 h 868"/>
              <a:gd name="T60" fmla="*/ 351 w 419"/>
              <a:gd name="T61" fmla="*/ 5 h 868"/>
              <a:gd name="T62" fmla="*/ 385 w 419"/>
              <a:gd name="T63" fmla="*/ 12 h 868"/>
              <a:gd name="T64" fmla="*/ 419 w 419"/>
              <a:gd name="T65" fmla="*/ 21 h 868"/>
              <a:gd name="T66" fmla="*/ 397 w 419"/>
              <a:gd name="T67" fmla="*/ 135 h 868"/>
              <a:gd name="T68" fmla="*/ 397 w 419"/>
              <a:gd name="T69" fmla="*/ 135 h 868"/>
              <a:gd name="T70" fmla="*/ 377 w 419"/>
              <a:gd name="T71" fmla="*/ 131 h 868"/>
              <a:gd name="T72" fmla="*/ 358 w 419"/>
              <a:gd name="T73" fmla="*/ 128 h 868"/>
              <a:gd name="T74" fmla="*/ 340 w 419"/>
              <a:gd name="T75" fmla="*/ 126 h 868"/>
              <a:gd name="T76" fmla="*/ 321 w 419"/>
              <a:gd name="T77" fmla="*/ 126 h 868"/>
              <a:gd name="T78" fmla="*/ 321 w 419"/>
              <a:gd name="T79" fmla="*/ 126 h 868"/>
              <a:gd name="T80" fmla="*/ 305 w 419"/>
              <a:gd name="T81" fmla="*/ 127 h 868"/>
              <a:gd name="T82" fmla="*/ 291 w 419"/>
              <a:gd name="T83" fmla="*/ 129 h 868"/>
              <a:gd name="T84" fmla="*/ 285 w 419"/>
              <a:gd name="T85" fmla="*/ 132 h 868"/>
              <a:gd name="T86" fmla="*/ 279 w 419"/>
              <a:gd name="T87" fmla="*/ 135 h 868"/>
              <a:gd name="T88" fmla="*/ 274 w 419"/>
              <a:gd name="T89" fmla="*/ 139 h 868"/>
              <a:gd name="T90" fmla="*/ 271 w 419"/>
              <a:gd name="T91" fmla="*/ 142 h 868"/>
              <a:gd name="T92" fmla="*/ 271 w 419"/>
              <a:gd name="T93" fmla="*/ 142 h 868"/>
              <a:gd name="T94" fmla="*/ 267 w 419"/>
              <a:gd name="T95" fmla="*/ 147 h 868"/>
              <a:gd name="T96" fmla="*/ 264 w 419"/>
              <a:gd name="T97" fmla="*/ 153 h 868"/>
              <a:gd name="T98" fmla="*/ 261 w 419"/>
              <a:gd name="T99" fmla="*/ 159 h 868"/>
              <a:gd name="T100" fmla="*/ 259 w 419"/>
              <a:gd name="T101" fmla="*/ 166 h 868"/>
              <a:gd name="T102" fmla="*/ 255 w 419"/>
              <a:gd name="T103" fmla="*/ 185 h 868"/>
              <a:gd name="T104" fmla="*/ 255 w 419"/>
              <a:gd name="T105" fmla="*/ 206 h 868"/>
              <a:gd name="T106" fmla="*/ 255 w 419"/>
              <a:gd name="T107" fmla="*/ 249 h 868"/>
              <a:gd name="T108" fmla="*/ 378 w 419"/>
              <a:gd name="T109" fmla="*/ 249 h 868"/>
              <a:gd name="T110" fmla="*/ 378 w 419"/>
              <a:gd name="T111" fmla="*/ 379 h 868"/>
              <a:gd name="T112" fmla="*/ 255 w 419"/>
              <a:gd name="T113" fmla="*/ 379 h 868"/>
              <a:gd name="T114" fmla="*/ 255 w 419"/>
              <a:gd name="T115" fmla="*/ 868 h 868"/>
              <a:gd name="T116" fmla="*/ 91 w 419"/>
              <a:gd name="T117" fmla="*/ 868 h 868"/>
              <a:gd name="T118" fmla="*/ 91 w 419"/>
              <a:gd name="T119" fmla="*/ 379 h 868"/>
              <a:gd name="T120" fmla="*/ 0 w 419"/>
              <a:gd name="T121" fmla="*/ 379 h 868"/>
              <a:gd name="T122" fmla="*/ 0 w 419"/>
              <a:gd name="T123" fmla="*/ 249 h 868"/>
              <a:gd name="T124" fmla="*/ 0 w 419"/>
              <a:gd name="T125" fmla="*/ 24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868">
                <a:moveTo>
                  <a:pt x="0" y="249"/>
                </a:moveTo>
                <a:lnTo>
                  <a:pt x="91" y="249"/>
                </a:lnTo>
                <a:lnTo>
                  <a:pt x="91" y="203"/>
                </a:lnTo>
                <a:lnTo>
                  <a:pt x="91" y="203"/>
                </a:lnTo>
                <a:lnTo>
                  <a:pt x="92" y="167"/>
                </a:lnTo>
                <a:lnTo>
                  <a:pt x="95" y="135"/>
                </a:lnTo>
                <a:lnTo>
                  <a:pt x="98" y="121"/>
                </a:lnTo>
                <a:lnTo>
                  <a:pt x="100" y="108"/>
                </a:lnTo>
                <a:lnTo>
                  <a:pt x="103" y="96"/>
                </a:lnTo>
                <a:lnTo>
                  <a:pt x="108" y="87"/>
                </a:lnTo>
                <a:lnTo>
                  <a:pt x="108" y="87"/>
                </a:lnTo>
                <a:lnTo>
                  <a:pt x="113" y="78"/>
                </a:lnTo>
                <a:lnTo>
                  <a:pt x="118" y="68"/>
                </a:lnTo>
                <a:lnTo>
                  <a:pt x="125" y="60"/>
                </a:lnTo>
                <a:lnTo>
                  <a:pt x="132" y="52"/>
                </a:lnTo>
                <a:lnTo>
                  <a:pt x="140" y="44"/>
                </a:lnTo>
                <a:lnTo>
                  <a:pt x="148" y="36"/>
                </a:lnTo>
                <a:lnTo>
                  <a:pt x="158" y="31"/>
                </a:lnTo>
                <a:lnTo>
                  <a:pt x="169" y="24"/>
                </a:lnTo>
                <a:lnTo>
                  <a:pt x="169" y="24"/>
                </a:lnTo>
                <a:lnTo>
                  <a:pt x="180" y="19"/>
                </a:lnTo>
                <a:lnTo>
                  <a:pt x="193" y="13"/>
                </a:lnTo>
                <a:lnTo>
                  <a:pt x="206" y="9"/>
                </a:lnTo>
                <a:lnTo>
                  <a:pt x="219" y="6"/>
                </a:lnTo>
                <a:lnTo>
                  <a:pt x="234" y="4"/>
                </a:lnTo>
                <a:lnTo>
                  <a:pt x="249" y="1"/>
                </a:lnTo>
                <a:lnTo>
                  <a:pt x="265" y="0"/>
                </a:lnTo>
                <a:lnTo>
                  <a:pt x="281" y="0"/>
                </a:lnTo>
                <a:lnTo>
                  <a:pt x="281" y="0"/>
                </a:lnTo>
                <a:lnTo>
                  <a:pt x="317" y="1"/>
                </a:lnTo>
                <a:lnTo>
                  <a:pt x="351" y="5"/>
                </a:lnTo>
                <a:lnTo>
                  <a:pt x="385" y="12"/>
                </a:lnTo>
                <a:lnTo>
                  <a:pt x="419" y="21"/>
                </a:lnTo>
                <a:lnTo>
                  <a:pt x="397" y="135"/>
                </a:lnTo>
                <a:lnTo>
                  <a:pt x="397" y="135"/>
                </a:lnTo>
                <a:lnTo>
                  <a:pt x="377" y="131"/>
                </a:lnTo>
                <a:lnTo>
                  <a:pt x="358" y="128"/>
                </a:lnTo>
                <a:lnTo>
                  <a:pt x="340" y="126"/>
                </a:lnTo>
                <a:lnTo>
                  <a:pt x="321" y="126"/>
                </a:lnTo>
                <a:lnTo>
                  <a:pt x="321" y="126"/>
                </a:lnTo>
                <a:lnTo>
                  <a:pt x="305" y="127"/>
                </a:lnTo>
                <a:lnTo>
                  <a:pt x="291" y="129"/>
                </a:lnTo>
                <a:lnTo>
                  <a:pt x="285" y="132"/>
                </a:lnTo>
                <a:lnTo>
                  <a:pt x="279" y="135"/>
                </a:lnTo>
                <a:lnTo>
                  <a:pt x="274" y="139"/>
                </a:lnTo>
                <a:lnTo>
                  <a:pt x="271" y="142"/>
                </a:lnTo>
                <a:lnTo>
                  <a:pt x="271" y="142"/>
                </a:lnTo>
                <a:lnTo>
                  <a:pt x="267" y="147"/>
                </a:lnTo>
                <a:lnTo>
                  <a:pt x="264" y="153"/>
                </a:lnTo>
                <a:lnTo>
                  <a:pt x="261" y="159"/>
                </a:lnTo>
                <a:lnTo>
                  <a:pt x="259" y="166"/>
                </a:lnTo>
                <a:lnTo>
                  <a:pt x="255" y="185"/>
                </a:lnTo>
                <a:lnTo>
                  <a:pt x="255" y="206"/>
                </a:lnTo>
                <a:lnTo>
                  <a:pt x="255" y="249"/>
                </a:lnTo>
                <a:lnTo>
                  <a:pt x="378" y="249"/>
                </a:lnTo>
                <a:lnTo>
                  <a:pt x="378" y="379"/>
                </a:lnTo>
                <a:lnTo>
                  <a:pt x="255" y="379"/>
                </a:lnTo>
                <a:lnTo>
                  <a:pt x="255" y="868"/>
                </a:lnTo>
                <a:lnTo>
                  <a:pt x="91" y="868"/>
                </a:lnTo>
                <a:lnTo>
                  <a:pt x="91" y="379"/>
                </a:lnTo>
                <a:lnTo>
                  <a:pt x="0" y="379"/>
                </a:lnTo>
                <a:lnTo>
                  <a:pt x="0" y="249"/>
                </a:lnTo>
                <a:lnTo>
                  <a:pt x="0" y="24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pic>
        <p:nvPicPr>
          <p:cNvPr id="5" name="Picture 4">
            <a:hlinkClick r:id="rId9"/>
            <a:extLst>
              <a:ext uri="{FF2B5EF4-FFF2-40B4-BE49-F238E27FC236}">
                <a16:creationId xmlns:a16="http://schemas.microsoft.com/office/drawing/2014/main" id="{0F05A33C-9676-F683-5806-B68CE8008DB9}"/>
              </a:ext>
            </a:extLst>
          </p:cNvPr>
          <p:cNvPicPr>
            <a:picLocks noChangeAspect="1"/>
          </p:cNvPicPr>
          <p:nvPr userDrawn="1"/>
        </p:nvPicPr>
        <p:blipFill rotWithShape="1">
          <a:blip r:embed="rId10"/>
          <a:srcRect l="23304" t="23982" r="22737" b="25042"/>
          <a:stretch/>
        </p:blipFill>
        <p:spPr>
          <a:xfrm>
            <a:off x="6922985" y="5437112"/>
            <a:ext cx="569633" cy="538135"/>
          </a:xfrm>
          <a:prstGeom prst="rect">
            <a:avLst/>
          </a:prstGeom>
        </p:spPr>
      </p:pic>
      <p:pic>
        <p:nvPicPr>
          <p:cNvPr id="6" name="Picture 5">
            <a:extLst>
              <a:ext uri="{FF2B5EF4-FFF2-40B4-BE49-F238E27FC236}">
                <a16:creationId xmlns:a16="http://schemas.microsoft.com/office/drawing/2014/main" id="{4447E488-D7EA-7F96-FDFB-221C8062E0E6}"/>
              </a:ext>
            </a:extLst>
          </p:cNvPr>
          <p:cNvPicPr>
            <a:picLocks noChangeAspect="1"/>
          </p:cNvPicPr>
          <p:nvPr userDrawn="1"/>
        </p:nvPicPr>
        <p:blipFill>
          <a:blip r:embed="rId11"/>
          <a:srcRect/>
          <a:stretch/>
        </p:blipFill>
        <p:spPr>
          <a:xfrm>
            <a:off x="10307937" y="6308646"/>
            <a:ext cx="1440000" cy="304457"/>
          </a:xfrm>
          <a:prstGeom prst="rect">
            <a:avLst/>
          </a:prstGeom>
        </p:spPr>
      </p:pic>
      <p:sp>
        <p:nvSpPr>
          <p:cNvPr id="10" name="Date Placeholder 3">
            <a:extLst>
              <a:ext uri="{FF2B5EF4-FFF2-40B4-BE49-F238E27FC236}">
                <a16:creationId xmlns:a16="http://schemas.microsoft.com/office/drawing/2014/main" id="{73F05202-2C5D-3905-0264-FDB24EC430AC}"/>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1" name="TextBox 10">
            <a:extLst>
              <a:ext uri="{FF2B5EF4-FFF2-40B4-BE49-F238E27FC236}">
                <a16:creationId xmlns:a16="http://schemas.microsoft.com/office/drawing/2014/main" id="{87569CB4-9D8F-4F6A-15EA-32ABB97882E9}"/>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8" name="Picture 7" descr="Blue text on a black background&#10;&#10;Description automatically generated">
            <a:extLst>
              <a:ext uri="{FF2B5EF4-FFF2-40B4-BE49-F238E27FC236}">
                <a16:creationId xmlns:a16="http://schemas.microsoft.com/office/drawing/2014/main" id="{7D27340D-7F97-342F-25D5-D84B2C0CABA0}"/>
              </a:ext>
            </a:extLst>
          </p:cNvPr>
          <p:cNvPicPr>
            <a:picLocks noChangeAspect="1"/>
          </p:cNvPicPr>
          <p:nvPr userDrawn="1"/>
        </p:nvPicPr>
        <p:blipFill>
          <a:blip r:embed="rId12"/>
          <a:stretch>
            <a:fillRect/>
          </a:stretch>
        </p:blipFill>
        <p:spPr>
          <a:xfrm>
            <a:off x="479426" y="6072252"/>
            <a:ext cx="2587455" cy="540851"/>
          </a:xfrm>
          <a:prstGeom prst="rect">
            <a:avLst/>
          </a:prstGeom>
        </p:spPr>
      </p:pic>
      <p:pic>
        <p:nvPicPr>
          <p:cNvPr id="13" name="Picture 12">
            <a:extLst>
              <a:ext uri="{FF2B5EF4-FFF2-40B4-BE49-F238E27FC236}">
                <a16:creationId xmlns:a16="http://schemas.microsoft.com/office/drawing/2014/main" id="{7588E1CB-3CA8-1639-B89F-4D08482EE5A2}"/>
              </a:ext>
            </a:extLst>
          </p:cNvPr>
          <p:cNvPicPr>
            <a:picLocks noChangeAspect="1"/>
          </p:cNvPicPr>
          <p:nvPr userDrawn="1"/>
        </p:nvPicPr>
        <p:blipFill>
          <a:blip r:embed="rId13"/>
          <a:srcRect/>
          <a:stretch/>
        </p:blipFill>
        <p:spPr>
          <a:xfrm>
            <a:off x="0" y="0"/>
            <a:ext cx="12192000" cy="3492500"/>
          </a:xfrm>
          <a:prstGeom prst="rect">
            <a:avLst/>
          </a:prstGeom>
        </p:spPr>
      </p:pic>
    </p:spTree>
    <p:extLst>
      <p:ext uri="{BB962C8B-B14F-4D97-AF65-F5344CB8AC3E}">
        <p14:creationId xmlns:p14="http://schemas.microsoft.com/office/powerpoint/2010/main" val="2470917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1_EN_Title Slide_e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2581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CB094E4-A2FA-ACFD-AF8B-0C4FFBD63D71}"/>
              </a:ext>
            </a:extLst>
          </p:cNvPr>
          <p:cNvSpPr>
            <a:spLocks noGrp="1"/>
          </p:cNvSpPr>
          <p:nvPr>
            <p:ph type="ctrTitle" hasCustomPrompt="1"/>
          </p:nvPr>
        </p:nvSpPr>
        <p:spPr bwMode="ltGray">
          <a:xfrm>
            <a:off x="1816267" y="4351971"/>
            <a:ext cx="8559467" cy="750827"/>
          </a:xfrm>
          <a:prstGeom prst="rect">
            <a:avLst/>
          </a:prstGeom>
        </p:spPr>
        <p:txBody>
          <a:bodyPr vert="horz" anchor="t">
            <a:noAutofit/>
          </a:bodyPr>
          <a:lstStyle>
            <a:lvl1pPr algn="ctr" rtl="0">
              <a:lnSpc>
                <a:spcPct val="93000"/>
              </a:lnSpc>
              <a:defRPr sz="4000" b="0" baseline="0">
                <a:solidFill>
                  <a:schemeClr val="bg1"/>
                </a:solidFill>
                <a:latin typeface="+mj-lt"/>
                <a:ea typeface="+mj-ea"/>
                <a:cs typeface="+mj-cs"/>
                <a:sym typeface="Trebuchet MS" panose="020B0603020202020204" pitchFamily="34" charset="0"/>
              </a:defRPr>
            </a:lvl1pPr>
          </a:lstStyle>
          <a:p>
            <a:r>
              <a:rPr lang="fi-FI" err="1"/>
              <a:t>title</a:t>
            </a:r>
            <a:endParaRPr lang="fi-FI"/>
          </a:p>
        </p:txBody>
      </p:sp>
      <p:sp>
        <p:nvSpPr>
          <p:cNvPr id="18" name="Freeform 17">
            <a:extLst>
              <a:ext uri="{FF2B5EF4-FFF2-40B4-BE49-F238E27FC236}">
                <a16:creationId xmlns:a16="http://schemas.microsoft.com/office/drawing/2014/main" id="{42C29690-68F5-932F-81F4-42436A26FF75}"/>
              </a:ext>
            </a:extLst>
          </p:cNvPr>
          <p:cNvSpPr>
            <a:spLocks/>
          </p:cNvSpPr>
          <p:nvPr/>
        </p:nvSpPr>
        <p:spPr bwMode="auto">
          <a:xfrm>
            <a:off x="5976289"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nvGrpSpPr>
          <p:cNvPr id="2" name="Group 1">
            <a:extLst>
              <a:ext uri="{FF2B5EF4-FFF2-40B4-BE49-F238E27FC236}">
                <a16:creationId xmlns:a16="http://schemas.microsoft.com/office/drawing/2014/main" id="{C664911C-157A-1694-58E7-D2FEAF8809A7}"/>
              </a:ext>
            </a:extLst>
          </p:cNvPr>
          <p:cNvGrpSpPr/>
          <p:nvPr userDrawn="1"/>
        </p:nvGrpSpPr>
        <p:grpSpPr>
          <a:xfrm>
            <a:off x="5976289" y="5455909"/>
            <a:ext cx="442707" cy="440676"/>
            <a:chOff x="6726920" y="5455909"/>
            <a:chExt cx="442707" cy="440676"/>
          </a:xfrm>
        </p:grpSpPr>
        <p:sp>
          <p:nvSpPr>
            <p:cNvPr id="17" name="Rectangle 16">
              <a:hlinkClick r:id="rId6"/>
              <a:extLst>
                <a:ext uri="{FF2B5EF4-FFF2-40B4-BE49-F238E27FC236}">
                  <a16:creationId xmlns:a16="http://schemas.microsoft.com/office/drawing/2014/main" id="{A7706E0C-6E23-F867-A5FA-07DA58D86944}"/>
                </a:ext>
              </a:extLst>
            </p:cNvPr>
            <p:cNvSpPr>
              <a:spLocks noChangeArrowheads="1"/>
            </p:cNvSpPr>
            <p:nvPr/>
          </p:nvSpPr>
          <p:spPr bwMode="auto">
            <a:xfrm>
              <a:off x="6734028" y="5602124"/>
              <a:ext cx="91384" cy="2944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19" name="Freeform 18">
              <a:hlinkClick r:id="rId6"/>
              <a:extLst>
                <a:ext uri="{FF2B5EF4-FFF2-40B4-BE49-F238E27FC236}">
                  <a16:creationId xmlns:a16="http://schemas.microsoft.com/office/drawing/2014/main" id="{B2F2104B-E006-CCE1-564F-40D68BD11B8C}"/>
                </a:ext>
              </a:extLst>
            </p:cNvPr>
            <p:cNvSpPr>
              <a:spLocks/>
            </p:cNvSpPr>
            <p:nvPr/>
          </p:nvSpPr>
          <p:spPr bwMode="auto">
            <a:xfrm>
              <a:off x="6726920"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20" name="Freeform 19">
              <a:hlinkClick r:id="rId6"/>
              <a:extLst>
                <a:ext uri="{FF2B5EF4-FFF2-40B4-BE49-F238E27FC236}">
                  <a16:creationId xmlns:a16="http://schemas.microsoft.com/office/drawing/2014/main" id="{26875E03-EC53-D128-2C40-6EDDB1077687}"/>
                </a:ext>
              </a:extLst>
            </p:cNvPr>
            <p:cNvSpPr>
              <a:spLocks/>
            </p:cNvSpPr>
            <p:nvPr/>
          </p:nvSpPr>
          <p:spPr bwMode="auto">
            <a:xfrm>
              <a:off x="6884304" y="5595017"/>
              <a:ext cx="285323" cy="301568"/>
            </a:xfrm>
            <a:custGeom>
              <a:avLst/>
              <a:gdLst>
                <a:gd name="T0" fmla="*/ 563 w 563"/>
                <a:gd name="T1" fmla="*/ 275 h 594"/>
                <a:gd name="T2" fmla="*/ 561 w 563"/>
                <a:gd name="T3" fmla="*/ 219 h 594"/>
                <a:gd name="T4" fmla="*/ 555 w 563"/>
                <a:gd name="T5" fmla="*/ 167 h 594"/>
                <a:gd name="T6" fmla="*/ 542 w 563"/>
                <a:gd name="T7" fmla="*/ 120 h 594"/>
                <a:gd name="T8" fmla="*/ 523 w 563"/>
                <a:gd name="T9" fmla="*/ 79 h 594"/>
                <a:gd name="T10" fmla="*/ 510 w 563"/>
                <a:gd name="T11" fmla="*/ 61 h 594"/>
                <a:gd name="T12" fmla="*/ 495 w 563"/>
                <a:gd name="T13" fmla="*/ 46 h 594"/>
                <a:gd name="T14" fmla="*/ 477 w 563"/>
                <a:gd name="T15" fmla="*/ 32 h 594"/>
                <a:gd name="T16" fmla="*/ 457 w 563"/>
                <a:gd name="T17" fmla="*/ 21 h 594"/>
                <a:gd name="T18" fmla="*/ 433 w 563"/>
                <a:gd name="T19" fmla="*/ 12 h 594"/>
                <a:gd name="T20" fmla="*/ 408 w 563"/>
                <a:gd name="T21" fmla="*/ 5 h 594"/>
                <a:gd name="T22" fmla="*/ 379 w 563"/>
                <a:gd name="T23" fmla="*/ 1 h 594"/>
                <a:gd name="T24" fmla="*/ 346 w 563"/>
                <a:gd name="T25" fmla="*/ 0 h 594"/>
                <a:gd name="T26" fmla="*/ 330 w 563"/>
                <a:gd name="T27" fmla="*/ 0 h 594"/>
                <a:gd name="T28" fmla="*/ 300 w 563"/>
                <a:gd name="T29" fmla="*/ 5 h 594"/>
                <a:gd name="T30" fmla="*/ 272 w 563"/>
                <a:gd name="T31" fmla="*/ 12 h 594"/>
                <a:gd name="T32" fmla="*/ 249 w 563"/>
                <a:gd name="T33" fmla="*/ 22 h 594"/>
                <a:gd name="T34" fmla="*/ 226 w 563"/>
                <a:gd name="T35" fmla="*/ 37 h 594"/>
                <a:gd name="T36" fmla="*/ 209 w 563"/>
                <a:gd name="T37" fmla="*/ 52 h 594"/>
                <a:gd name="T38" fmla="*/ 193 w 563"/>
                <a:gd name="T39" fmla="*/ 67 h 594"/>
                <a:gd name="T40" fmla="*/ 176 w 563"/>
                <a:gd name="T41" fmla="*/ 93 h 594"/>
                <a:gd name="T42" fmla="*/ 173 w 563"/>
                <a:gd name="T43" fmla="*/ 14 h 594"/>
                <a:gd name="T44" fmla="*/ 0 w 563"/>
                <a:gd name="T45" fmla="*/ 594 h 594"/>
                <a:gd name="T46" fmla="*/ 180 w 563"/>
                <a:gd name="T47" fmla="*/ 307 h 594"/>
                <a:gd name="T48" fmla="*/ 181 w 563"/>
                <a:gd name="T49" fmla="*/ 279 h 594"/>
                <a:gd name="T50" fmla="*/ 186 w 563"/>
                <a:gd name="T51" fmla="*/ 239 h 594"/>
                <a:gd name="T52" fmla="*/ 194 w 563"/>
                <a:gd name="T53" fmla="*/ 215 h 594"/>
                <a:gd name="T54" fmla="*/ 205 w 563"/>
                <a:gd name="T55" fmla="*/ 194 h 594"/>
                <a:gd name="T56" fmla="*/ 222 w 563"/>
                <a:gd name="T57" fmla="*/ 178 h 594"/>
                <a:gd name="T58" fmla="*/ 244 w 563"/>
                <a:gd name="T59" fmla="*/ 166 h 594"/>
                <a:gd name="T60" fmla="*/ 272 w 563"/>
                <a:gd name="T61" fmla="*/ 159 h 594"/>
                <a:gd name="T62" fmla="*/ 289 w 563"/>
                <a:gd name="T63" fmla="*/ 158 h 594"/>
                <a:gd name="T64" fmla="*/ 319 w 563"/>
                <a:gd name="T65" fmla="*/ 162 h 594"/>
                <a:gd name="T66" fmla="*/ 343 w 563"/>
                <a:gd name="T67" fmla="*/ 173 h 594"/>
                <a:gd name="T68" fmla="*/ 359 w 563"/>
                <a:gd name="T69" fmla="*/ 189 h 594"/>
                <a:gd name="T70" fmla="*/ 370 w 563"/>
                <a:gd name="T71" fmla="*/ 209 h 594"/>
                <a:gd name="T72" fmla="*/ 377 w 563"/>
                <a:gd name="T73" fmla="*/ 234 h 594"/>
                <a:gd name="T74" fmla="*/ 380 w 563"/>
                <a:gd name="T75" fmla="*/ 260 h 594"/>
                <a:gd name="T76" fmla="*/ 383 w 563"/>
                <a:gd name="T77" fmla="*/ 312 h 594"/>
                <a:gd name="T78" fmla="*/ 563 w 563"/>
                <a:gd name="T79"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3" h="594">
                  <a:moveTo>
                    <a:pt x="563" y="275"/>
                  </a:moveTo>
                  <a:lnTo>
                    <a:pt x="563" y="275"/>
                  </a:lnTo>
                  <a:lnTo>
                    <a:pt x="562" y="247"/>
                  </a:lnTo>
                  <a:lnTo>
                    <a:pt x="561" y="219"/>
                  </a:lnTo>
                  <a:lnTo>
                    <a:pt x="558" y="192"/>
                  </a:lnTo>
                  <a:lnTo>
                    <a:pt x="555" y="167"/>
                  </a:lnTo>
                  <a:lnTo>
                    <a:pt x="549" y="142"/>
                  </a:lnTo>
                  <a:lnTo>
                    <a:pt x="542" y="120"/>
                  </a:lnTo>
                  <a:lnTo>
                    <a:pt x="534" y="99"/>
                  </a:lnTo>
                  <a:lnTo>
                    <a:pt x="523" y="79"/>
                  </a:lnTo>
                  <a:lnTo>
                    <a:pt x="517" y="71"/>
                  </a:lnTo>
                  <a:lnTo>
                    <a:pt x="510" y="61"/>
                  </a:lnTo>
                  <a:lnTo>
                    <a:pt x="503" y="53"/>
                  </a:lnTo>
                  <a:lnTo>
                    <a:pt x="495" y="46"/>
                  </a:lnTo>
                  <a:lnTo>
                    <a:pt x="486" y="39"/>
                  </a:lnTo>
                  <a:lnTo>
                    <a:pt x="477" y="32"/>
                  </a:lnTo>
                  <a:lnTo>
                    <a:pt x="468" y="26"/>
                  </a:lnTo>
                  <a:lnTo>
                    <a:pt x="457" y="21"/>
                  </a:lnTo>
                  <a:lnTo>
                    <a:pt x="446" y="17"/>
                  </a:lnTo>
                  <a:lnTo>
                    <a:pt x="433" y="12"/>
                  </a:lnTo>
                  <a:lnTo>
                    <a:pt x="422" y="8"/>
                  </a:lnTo>
                  <a:lnTo>
                    <a:pt x="408" y="5"/>
                  </a:lnTo>
                  <a:lnTo>
                    <a:pt x="393" y="2"/>
                  </a:lnTo>
                  <a:lnTo>
                    <a:pt x="379" y="1"/>
                  </a:lnTo>
                  <a:lnTo>
                    <a:pt x="363" y="0"/>
                  </a:lnTo>
                  <a:lnTo>
                    <a:pt x="346" y="0"/>
                  </a:lnTo>
                  <a:lnTo>
                    <a:pt x="346" y="0"/>
                  </a:lnTo>
                  <a:lnTo>
                    <a:pt x="330" y="0"/>
                  </a:lnTo>
                  <a:lnTo>
                    <a:pt x="315" y="1"/>
                  </a:lnTo>
                  <a:lnTo>
                    <a:pt x="300" y="5"/>
                  </a:lnTo>
                  <a:lnTo>
                    <a:pt x="286" y="8"/>
                  </a:lnTo>
                  <a:lnTo>
                    <a:pt x="272" y="12"/>
                  </a:lnTo>
                  <a:lnTo>
                    <a:pt x="260" y="18"/>
                  </a:lnTo>
                  <a:lnTo>
                    <a:pt x="249" y="22"/>
                  </a:lnTo>
                  <a:lnTo>
                    <a:pt x="237" y="29"/>
                  </a:lnTo>
                  <a:lnTo>
                    <a:pt x="226" y="37"/>
                  </a:lnTo>
                  <a:lnTo>
                    <a:pt x="217" y="44"/>
                  </a:lnTo>
                  <a:lnTo>
                    <a:pt x="209" y="52"/>
                  </a:lnTo>
                  <a:lnTo>
                    <a:pt x="200" y="59"/>
                  </a:lnTo>
                  <a:lnTo>
                    <a:pt x="193" y="67"/>
                  </a:lnTo>
                  <a:lnTo>
                    <a:pt x="186" y="76"/>
                  </a:lnTo>
                  <a:lnTo>
                    <a:pt x="176" y="93"/>
                  </a:lnTo>
                  <a:lnTo>
                    <a:pt x="173" y="93"/>
                  </a:lnTo>
                  <a:lnTo>
                    <a:pt x="173" y="14"/>
                  </a:lnTo>
                  <a:lnTo>
                    <a:pt x="0" y="14"/>
                  </a:lnTo>
                  <a:lnTo>
                    <a:pt x="0" y="594"/>
                  </a:lnTo>
                  <a:lnTo>
                    <a:pt x="180" y="594"/>
                  </a:lnTo>
                  <a:lnTo>
                    <a:pt x="180" y="307"/>
                  </a:lnTo>
                  <a:lnTo>
                    <a:pt x="180" y="307"/>
                  </a:lnTo>
                  <a:lnTo>
                    <a:pt x="181" y="279"/>
                  </a:lnTo>
                  <a:lnTo>
                    <a:pt x="184" y="252"/>
                  </a:lnTo>
                  <a:lnTo>
                    <a:pt x="186" y="239"/>
                  </a:lnTo>
                  <a:lnTo>
                    <a:pt x="190" y="227"/>
                  </a:lnTo>
                  <a:lnTo>
                    <a:pt x="194" y="215"/>
                  </a:lnTo>
                  <a:lnTo>
                    <a:pt x="199" y="205"/>
                  </a:lnTo>
                  <a:lnTo>
                    <a:pt x="205" y="194"/>
                  </a:lnTo>
                  <a:lnTo>
                    <a:pt x="213" y="185"/>
                  </a:lnTo>
                  <a:lnTo>
                    <a:pt x="222" y="178"/>
                  </a:lnTo>
                  <a:lnTo>
                    <a:pt x="232" y="171"/>
                  </a:lnTo>
                  <a:lnTo>
                    <a:pt x="244" y="166"/>
                  </a:lnTo>
                  <a:lnTo>
                    <a:pt x="257" y="161"/>
                  </a:lnTo>
                  <a:lnTo>
                    <a:pt x="272" y="159"/>
                  </a:lnTo>
                  <a:lnTo>
                    <a:pt x="289" y="158"/>
                  </a:lnTo>
                  <a:lnTo>
                    <a:pt x="289" y="158"/>
                  </a:lnTo>
                  <a:lnTo>
                    <a:pt x="305" y="159"/>
                  </a:lnTo>
                  <a:lnTo>
                    <a:pt x="319" y="162"/>
                  </a:lnTo>
                  <a:lnTo>
                    <a:pt x="331" y="167"/>
                  </a:lnTo>
                  <a:lnTo>
                    <a:pt x="343" y="173"/>
                  </a:lnTo>
                  <a:lnTo>
                    <a:pt x="351" y="180"/>
                  </a:lnTo>
                  <a:lnTo>
                    <a:pt x="359" y="189"/>
                  </a:lnTo>
                  <a:lnTo>
                    <a:pt x="365" y="199"/>
                  </a:lnTo>
                  <a:lnTo>
                    <a:pt x="370" y="209"/>
                  </a:lnTo>
                  <a:lnTo>
                    <a:pt x="375" y="221"/>
                  </a:lnTo>
                  <a:lnTo>
                    <a:pt x="377" y="234"/>
                  </a:lnTo>
                  <a:lnTo>
                    <a:pt x="379" y="246"/>
                  </a:lnTo>
                  <a:lnTo>
                    <a:pt x="380" y="260"/>
                  </a:lnTo>
                  <a:lnTo>
                    <a:pt x="382" y="286"/>
                  </a:lnTo>
                  <a:lnTo>
                    <a:pt x="383" y="312"/>
                  </a:lnTo>
                  <a:lnTo>
                    <a:pt x="383" y="594"/>
                  </a:lnTo>
                  <a:lnTo>
                    <a:pt x="563" y="594"/>
                  </a:lnTo>
                  <a:lnTo>
                    <a:pt x="563"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sp>
        <p:nvSpPr>
          <p:cNvPr id="21" name="Freeform 20">
            <a:hlinkClick r:id="rId7"/>
            <a:extLst>
              <a:ext uri="{FF2B5EF4-FFF2-40B4-BE49-F238E27FC236}">
                <a16:creationId xmlns:a16="http://schemas.microsoft.com/office/drawing/2014/main" id="{BC1D8BF7-8BF4-17A9-7E7A-DB518848EFD2}"/>
              </a:ext>
            </a:extLst>
          </p:cNvPr>
          <p:cNvSpPr>
            <a:spLocks/>
          </p:cNvSpPr>
          <p:nvPr userDrawn="1"/>
        </p:nvSpPr>
        <p:spPr bwMode="auto">
          <a:xfrm>
            <a:off x="5124016" y="5537141"/>
            <a:ext cx="442706" cy="359444"/>
          </a:xfrm>
          <a:custGeom>
            <a:avLst/>
            <a:gdLst>
              <a:gd name="T0" fmla="*/ 792 w 871"/>
              <a:gd name="T1" fmla="*/ 39 h 707"/>
              <a:gd name="T2" fmla="*/ 721 w 871"/>
              <a:gd name="T3" fmla="*/ 43 h 707"/>
              <a:gd name="T4" fmla="*/ 658 w 871"/>
              <a:gd name="T5" fmla="*/ 8 h 707"/>
              <a:gd name="T6" fmla="*/ 603 w 871"/>
              <a:gd name="T7" fmla="*/ 0 h 707"/>
              <a:gd name="T8" fmla="*/ 533 w 871"/>
              <a:gd name="T9" fmla="*/ 14 h 707"/>
              <a:gd name="T10" fmla="*/ 477 w 871"/>
              <a:gd name="T11" fmla="*/ 52 h 707"/>
              <a:gd name="T12" fmla="*/ 438 w 871"/>
              <a:gd name="T13" fmla="*/ 108 h 707"/>
              <a:gd name="T14" fmla="*/ 425 w 871"/>
              <a:gd name="T15" fmla="*/ 178 h 707"/>
              <a:gd name="T16" fmla="*/ 429 w 871"/>
              <a:gd name="T17" fmla="*/ 219 h 707"/>
              <a:gd name="T18" fmla="*/ 321 w 871"/>
              <a:gd name="T19" fmla="*/ 201 h 707"/>
              <a:gd name="T20" fmla="*/ 223 w 871"/>
              <a:gd name="T21" fmla="*/ 163 h 707"/>
              <a:gd name="T22" fmla="*/ 135 w 871"/>
              <a:gd name="T23" fmla="*/ 106 h 707"/>
              <a:gd name="T24" fmla="*/ 61 w 871"/>
              <a:gd name="T25" fmla="*/ 32 h 707"/>
              <a:gd name="T26" fmla="*/ 47 w 871"/>
              <a:gd name="T27" fmla="*/ 63 h 707"/>
              <a:gd name="T28" fmla="*/ 38 w 871"/>
              <a:gd name="T29" fmla="*/ 109 h 707"/>
              <a:gd name="T30" fmla="*/ 39 w 871"/>
              <a:gd name="T31" fmla="*/ 145 h 707"/>
              <a:gd name="T32" fmla="*/ 59 w 871"/>
              <a:gd name="T33" fmla="*/ 207 h 707"/>
              <a:gd name="T34" fmla="*/ 117 w 871"/>
              <a:gd name="T35" fmla="*/ 270 h 707"/>
              <a:gd name="T36" fmla="*/ 54 w 871"/>
              <a:gd name="T37" fmla="*/ 257 h 707"/>
              <a:gd name="T38" fmla="*/ 37 w 871"/>
              <a:gd name="T39" fmla="*/ 267 h 707"/>
              <a:gd name="T40" fmla="*/ 52 w 871"/>
              <a:gd name="T41" fmla="*/ 326 h 707"/>
              <a:gd name="T42" fmla="*/ 86 w 871"/>
              <a:gd name="T43" fmla="*/ 375 h 707"/>
              <a:gd name="T44" fmla="*/ 135 w 871"/>
              <a:gd name="T45" fmla="*/ 410 h 707"/>
              <a:gd name="T46" fmla="*/ 179 w 871"/>
              <a:gd name="T47" fmla="*/ 426 h 707"/>
              <a:gd name="T48" fmla="*/ 132 w 871"/>
              <a:gd name="T49" fmla="*/ 432 h 707"/>
              <a:gd name="T50" fmla="*/ 98 w 871"/>
              <a:gd name="T51" fmla="*/ 428 h 707"/>
              <a:gd name="T52" fmla="*/ 122 w 871"/>
              <a:gd name="T53" fmla="*/ 477 h 707"/>
              <a:gd name="T54" fmla="*/ 160 w 871"/>
              <a:gd name="T55" fmla="*/ 516 h 707"/>
              <a:gd name="T56" fmla="*/ 208 w 871"/>
              <a:gd name="T57" fmla="*/ 542 h 707"/>
              <a:gd name="T58" fmla="*/ 265 w 871"/>
              <a:gd name="T59" fmla="*/ 553 h 707"/>
              <a:gd name="T60" fmla="*/ 190 w 871"/>
              <a:gd name="T61" fmla="*/ 597 h 707"/>
              <a:gd name="T62" fmla="*/ 74 w 871"/>
              <a:gd name="T63" fmla="*/ 627 h 707"/>
              <a:gd name="T64" fmla="*/ 0 w 871"/>
              <a:gd name="T65" fmla="*/ 626 h 707"/>
              <a:gd name="T66" fmla="*/ 95 w 871"/>
              <a:gd name="T67" fmla="*/ 674 h 707"/>
              <a:gd name="T68" fmla="*/ 237 w 871"/>
              <a:gd name="T69" fmla="*/ 704 h 707"/>
              <a:gd name="T70" fmla="*/ 334 w 871"/>
              <a:gd name="T71" fmla="*/ 703 h 707"/>
              <a:gd name="T72" fmla="*/ 443 w 871"/>
              <a:gd name="T73" fmla="*/ 680 h 707"/>
              <a:gd name="T74" fmla="*/ 538 w 871"/>
              <a:gd name="T75" fmla="*/ 636 h 707"/>
              <a:gd name="T76" fmla="*/ 617 w 871"/>
              <a:gd name="T77" fmla="*/ 576 h 707"/>
              <a:gd name="T78" fmla="*/ 682 w 871"/>
              <a:gd name="T79" fmla="*/ 503 h 707"/>
              <a:gd name="T80" fmla="*/ 730 w 871"/>
              <a:gd name="T81" fmla="*/ 421 h 707"/>
              <a:gd name="T82" fmla="*/ 763 w 871"/>
              <a:gd name="T83" fmla="*/ 333 h 707"/>
              <a:gd name="T84" fmla="*/ 781 w 871"/>
              <a:gd name="T85" fmla="*/ 243 h 707"/>
              <a:gd name="T86" fmla="*/ 782 w 871"/>
              <a:gd name="T87" fmla="*/ 175 h 707"/>
              <a:gd name="T88" fmla="*/ 820 w 871"/>
              <a:gd name="T89" fmla="*/ 145 h 707"/>
              <a:gd name="T90" fmla="*/ 862 w 871"/>
              <a:gd name="T91" fmla="*/ 96 h 707"/>
              <a:gd name="T92" fmla="*/ 821 w 871"/>
              <a:gd name="T93" fmla="*/ 101 h 707"/>
              <a:gd name="T94" fmla="*/ 782 w 871"/>
              <a:gd name="T95" fmla="*/ 102 h 707"/>
              <a:gd name="T96" fmla="*/ 825 w 871"/>
              <a:gd name="T97" fmla="*/ 5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1" h="707">
                <a:moveTo>
                  <a:pt x="847" y="13"/>
                </a:moveTo>
                <a:lnTo>
                  <a:pt x="847" y="13"/>
                </a:lnTo>
                <a:lnTo>
                  <a:pt x="821" y="27"/>
                </a:lnTo>
                <a:lnTo>
                  <a:pt x="792" y="39"/>
                </a:lnTo>
                <a:lnTo>
                  <a:pt x="763" y="48"/>
                </a:lnTo>
                <a:lnTo>
                  <a:pt x="734" y="56"/>
                </a:lnTo>
                <a:lnTo>
                  <a:pt x="734" y="56"/>
                </a:lnTo>
                <a:lnTo>
                  <a:pt x="721" y="43"/>
                </a:lnTo>
                <a:lnTo>
                  <a:pt x="706" y="33"/>
                </a:lnTo>
                <a:lnTo>
                  <a:pt x="691" y="23"/>
                </a:lnTo>
                <a:lnTo>
                  <a:pt x="676" y="15"/>
                </a:lnTo>
                <a:lnTo>
                  <a:pt x="658" y="8"/>
                </a:lnTo>
                <a:lnTo>
                  <a:pt x="641" y="3"/>
                </a:lnTo>
                <a:lnTo>
                  <a:pt x="622" y="1"/>
                </a:lnTo>
                <a:lnTo>
                  <a:pt x="603" y="0"/>
                </a:lnTo>
                <a:lnTo>
                  <a:pt x="603" y="0"/>
                </a:lnTo>
                <a:lnTo>
                  <a:pt x="585" y="1"/>
                </a:lnTo>
                <a:lnTo>
                  <a:pt x="568" y="3"/>
                </a:lnTo>
                <a:lnTo>
                  <a:pt x="550" y="8"/>
                </a:lnTo>
                <a:lnTo>
                  <a:pt x="533" y="14"/>
                </a:lnTo>
                <a:lnTo>
                  <a:pt x="518" y="21"/>
                </a:lnTo>
                <a:lnTo>
                  <a:pt x="503" y="30"/>
                </a:lnTo>
                <a:lnTo>
                  <a:pt x="490" y="40"/>
                </a:lnTo>
                <a:lnTo>
                  <a:pt x="477" y="52"/>
                </a:lnTo>
                <a:lnTo>
                  <a:pt x="465" y="65"/>
                </a:lnTo>
                <a:lnTo>
                  <a:pt x="455" y="79"/>
                </a:lnTo>
                <a:lnTo>
                  <a:pt x="446" y="93"/>
                </a:lnTo>
                <a:lnTo>
                  <a:pt x="438" y="108"/>
                </a:lnTo>
                <a:lnTo>
                  <a:pt x="432" y="125"/>
                </a:lnTo>
                <a:lnTo>
                  <a:pt x="429" y="142"/>
                </a:lnTo>
                <a:lnTo>
                  <a:pt x="425" y="160"/>
                </a:lnTo>
                <a:lnTo>
                  <a:pt x="425" y="178"/>
                </a:lnTo>
                <a:lnTo>
                  <a:pt x="425" y="178"/>
                </a:lnTo>
                <a:lnTo>
                  <a:pt x="426" y="199"/>
                </a:lnTo>
                <a:lnTo>
                  <a:pt x="429" y="219"/>
                </a:lnTo>
                <a:lnTo>
                  <a:pt x="429" y="219"/>
                </a:lnTo>
                <a:lnTo>
                  <a:pt x="402" y="216"/>
                </a:lnTo>
                <a:lnTo>
                  <a:pt x="374" y="213"/>
                </a:lnTo>
                <a:lnTo>
                  <a:pt x="347" y="208"/>
                </a:lnTo>
                <a:lnTo>
                  <a:pt x="321" y="201"/>
                </a:lnTo>
                <a:lnTo>
                  <a:pt x="296" y="194"/>
                </a:lnTo>
                <a:lnTo>
                  <a:pt x="271" y="185"/>
                </a:lnTo>
                <a:lnTo>
                  <a:pt x="246" y="174"/>
                </a:lnTo>
                <a:lnTo>
                  <a:pt x="223" y="163"/>
                </a:lnTo>
                <a:lnTo>
                  <a:pt x="199" y="150"/>
                </a:lnTo>
                <a:lnTo>
                  <a:pt x="177" y="136"/>
                </a:lnTo>
                <a:lnTo>
                  <a:pt x="155" y="122"/>
                </a:lnTo>
                <a:lnTo>
                  <a:pt x="135" y="106"/>
                </a:lnTo>
                <a:lnTo>
                  <a:pt x="115" y="89"/>
                </a:lnTo>
                <a:lnTo>
                  <a:pt x="97" y="70"/>
                </a:lnTo>
                <a:lnTo>
                  <a:pt x="78" y="52"/>
                </a:lnTo>
                <a:lnTo>
                  <a:pt x="61" y="32"/>
                </a:lnTo>
                <a:lnTo>
                  <a:pt x="61" y="32"/>
                </a:lnTo>
                <a:lnTo>
                  <a:pt x="55" y="42"/>
                </a:lnTo>
                <a:lnTo>
                  <a:pt x="51" y="53"/>
                </a:lnTo>
                <a:lnTo>
                  <a:pt x="47" y="63"/>
                </a:lnTo>
                <a:lnTo>
                  <a:pt x="44" y="75"/>
                </a:lnTo>
                <a:lnTo>
                  <a:pt x="40" y="86"/>
                </a:lnTo>
                <a:lnTo>
                  <a:pt x="39" y="98"/>
                </a:lnTo>
                <a:lnTo>
                  <a:pt x="38" y="109"/>
                </a:lnTo>
                <a:lnTo>
                  <a:pt x="37" y="122"/>
                </a:lnTo>
                <a:lnTo>
                  <a:pt x="37" y="122"/>
                </a:lnTo>
                <a:lnTo>
                  <a:pt x="38" y="133"/>
                </a:lnTo>
                <a:lnTo>
                  <a:pt x="39" y="145"/>
                </a:lnTo>
                <a:lnTo>
                  <a:pt x="40" y="156"/>
                </a:lnTo>
                <a:lnTo>
                  <a:pt x="42" y="167"/>
                </a:lnTo>
                <a:lnTo>
                  <a:pt x="49" y="188"/>
                </a:lnTo>
                <a:lnTo>
                  <a:pt x="59" y="207"/>
                </a:lnTo>
                <a:lnTo>
                  <a:pt x="71" y="226"/>
                </a:lnTo>
                <a:lnTo>
                  <a:pt x="84" y="242"/>
                </a:lnTo>
                <a:lnTo>
                  <a:pt x="99" y="257"/>
                </a:lnTo>
                <a:lnTo>
                  <a:pt x="117" y="270"/>
                </a:lnTo>
                <a:lnTo>
                  <a:pt x="117" y="270"/>
                </a:lnTo>
                <a:lnTo>
                  <a:pt x="94" y="268"/>
                </a:lnTo>
                <a:lnTo>
                  <a:pt x="74" y="263"/>
                </a:lnTo>
                <a:lnTo>
                  <a:pt x="54" y="257"/>
                </a:lnTo>
                <a:lnTo>
                  <a:pt x="35" y="248"/>
                </a:lnTo>
                <a:lnTo>
                  <a:pt x="35" y="250"/>
                </a:lnTo>
                <a:lnTo>
                  <a:pt x="35" y="250"/>
                </a:lnTo>
                <a:lnTo>
                  <a:pt x="37" y="267"/>
                </a:lnTo>
                <a:lnTo>
                  <a:pt x="38" y="282"/>
                </a:lnTo>
                <a:lnTo>
                  <a:pt x="41" y="297"/>
                </a:lnTo>
                <a:lnTo>
                  <a:pt x="46" y="312"/>
                </a:lnTo>
                <a:lnTo>
                  <a:pt x="52" y="326"/>
                </a:lnTo>
                <a:lnTo>
                  <a:pt x="59" y="340"/>
                </a:lnTo>
                <a:lnTo>
                  <a:pt x="67" y="352"/>
                </a:lnTo>
                <a:lnTo>
                  <a:pt x="77" y="365"/>
                </a:lnTo>
                <a:lnTo>
                  <a:pt x="86" y="375"/>
                </a:lnTo>
                <a:lnTo>
                  <a:pt x="98" y="386"/>
                </a:lnTo>
                <a:lnTo>
                  <a:pt x="110" y="395"/>
                </a:lnTo>
                <a:lnTo>
                  <a:pt x="121" y="403"/>
                </a:lnTo>
                <a:lnTo>
                  <a:pt x="135" y="410"/>
                </a:lnTo>
                <a:lnTo>
                  <a:pt x="150" y="416"/>
                </a:lnTo>
                <a:lnTo>
                  <a:pt x="164" y="421"/>
                </a:lnTo>
                <a:lnTo>
                  <a:pt x="179" y="426"/>
                </a:lnTo>
                <a:lnTo>
                  <a:pt x="179" y="426"/>
                </a:lnTo>
                <a:lnTo>
                  <a:pt x="167" y="428"/>
                </a:lnTo>
                <a:lnTo>
                  <a:pt x="155" y="430"/>
                </a:lnTo>
                <a:lnTo>
                  <a:pt x="144" y="432"/>
                </a:lnTo>
                <a:lnTo>
                  <a:pt x="132" y="432"/>
                </a:lnTo>
                <a:lnTo>
                  <a:pt x="132" y="432"/>
                </a:lnTo>
                <a:lnTo>
                  <a:pt x="114" y="430"/>
                </a:lnTo>
                <a:lnTo>
                  <a:pt x="98" y="428"/>
                </a:lnTo>
                <a:lnTo>
                  <a:pt x="98" y="428"/>
                </a:lnTo>
                <a:lnTo>
                  <a:pt x="102" y="441"/>
                </a:lnTo>
                <a:lnTo>
                  <a:pt x="108" y="454"/>
                </a:lnTo>
                <a:lnTo>
                  <a:pt x="115" y="466"/>
                </a:lnTo>
                <a:lnTo>
                  <a:pt x="122" y="477"/>
                </a:lnTo>
                <a:lnTo>
                  <a:pt x="131" y="488"/>
                </a:lnTo>
                <a:lnTo>
                  <a:pt x="140" y="499"/>
                </a:lnTo>
                <a:lnTo>
                  <a:pt x="150" y="508"/>
                </a:lnTo>
                <a:lnTo>
                  <a:pt x="160" y="516"/>
                </a:lnTo>
                <a:lnTo>
                  <a:pt x="172" y="524"/>
                </a:lnTo>
                <a:lnTo>
                  <a:pt x="184" y="532"/>
                </a:lnTo>
                <a:lnTo>
                  <a:pt x="197" y="537"/>
                </a:lnTo>
                <a:lnTo>
                  <a:pt x="208" y="542"/>
                </a:lnTo>
                <a:lnTo>
                  <a:pt x="223" y="547"/>
                </a:lnTo>
                <a:lnTo>
                  <a:pt x="237" y="549"/>
                </a:lnTo>
                <a:lnTo>
                  <a:pt x="251" y="552"/>
                </a:lnTo>
                <a:lnTo>
                  <a:pt x="265" y="553"/>
                </a:lnTo>
                <a:lnTo>
                  <a:pt x="265" y="553"/>
                </a:lnTo>
                <a:lnTo>
                  <a:pt x="241" y="569"/>
                </a:lnTo>
                <a:lnTo>
                  <a:pt x="217" y="584"/>
                </a:lnTo>
                <a:lnTo>
                  <a:pt x="190" y="597"/>
                </a:lnTo>
                <a:lnTo>
                  <a:pt x="162" y="608"/>
                </a:lnTo>
                <a:lnTo>
                  <a:pt x="134" y="617"/>
                </a:lnTo>
                <a:lnTo>
                  <a:pt x="105" y="623"/>
                </a:lnTo>
                <a:lnTo>
                  <a:pt x="74" y="627"/>
                </a:lnTo>
                <a:lnTo>
                  <a:pt x="44" y="628"/>
                </a:lnTo>
                <a:lnTo>
                  <a:pt x="44" y="628"/>
                </a:lnTo>
                <a:lnTo>
                  <a:pt x="21" y="628"/>
                </a:lnTo>
                <a:lnTo>
                  <a:pt x="0" y="626"/>
                </a:lnTo>
                <a:lnTo>
                  <a:pt x="0" y="626"/>
                </a:lnTo>
                <a:lnTo>
                  <a:pt x="31" y="644"/>
                </a:lnTo>
                <a:lnTo>
                  <a:pt x="62" y="660"/>
                </a:lnTo>
                <a:lnTo>
                  <a:pt x="95" y="674"/>
                </a:lnTo>
                <a:lnTo>
                  <a:pt x="130" y="686"/>
                </a:lnTo>
                <a:lnTo>
                  <a:pt x="164" y="694"/>
                </a:lnTo>
                <a:lnTo>
                  <a:pt x="200" y="701"/>
                </a:lnTo>
                <a:lnTo>
                  <a:pt x="237" y="704"/>
                </a:lnTo>
                <a:lnTo>
                  <a:pt x="274" y="707"/>
                </a:lnTo>
                <a:lnTo>
                  <a:pt x="274" y="707"/>
                </a:lnTo>
                <a:lnTo>
                  <a:pt x="305" y="706"/>
                </a:lnTo>
                <a:lnTo>
                  <a:pt x="334" y="703"/>
                </a:lnTo>
                <a:lnTo>
                  <a:pt x="363" y="700"/>
                </a:lnTo>
                <a:lnTo>
                  <a:pt x="390" y="694"/>
                </a:lnTo>
                <a:lnTo>
                  <a:pt x="417" y="688"/>
                </a:lnTo>
                <a:lnTo>
                  <a:pt x="443" y="680"/>
                </a:lnTo>
                <a:lnTo>
                  <a:pt x="469" y="670"/>
                </a:lnTo>
                <a:lnTo>
                  <a:pt x="492" y="660"/>
                </a:lnTo>
                <a:lnTo>
                  <a:pt x="516" y="648"/>
                </a:lnTo>
                <a:lnTo>
                  <a:pt x="538" y="636"/>
                </a:lnTo>
                <a:lnTo>
                  <a:pt x="559" y="622"/>
                </a:lnTo>
                <a:lnTo>
                  <a:pt x="579" y="608"/>
                </a:lnTo>
                <a:lnTo>
                  <a:pt x="599" y="593"/>
                </a:lnTo>
                <a:lnTo>
                  <a:pt x="617" y="576"/>
                </a:lnTo>
                <a:lnTo>
                  <a:pt x="635" y="559"/>
                </a:lnTo>
                <a:lnTo>
                  <a:pt x="651" y="541"/>
                </a:lnTo>
                <a:lnTo>
                  <a:pt x="668" y="522"/>
                </a:lnTo>
                <a:lnTo>
                  <a:pt x="682" y="503"/>
                </a:lnTo>
                <a:lnTo>
                  <a:pt x="696" y="483"/>
                </a:lnTo>
                <a:lnTo>
                  <a:pt x="708" y="463"/>
                </a:lnTo>
                <a:lnTo>
                  <a:pt x="719" y="442"/>
                </a:lnTo>
                <a:lnTo>
                  <a:pt x="730" y="421"/>
                </a:lnTo>
                <a:lnTo>
                  <a:pt x="741" y="400"/>
                </a:lnTo>
                <a:lnTo>
                  <a:pt x="749" y="377"/>
                </a:lnTo>
                <a:lnTo>
                  <a:pt x="757" y="355"/>
                </a:lnTo>
                <a:lnTo>
                  <a:pt x="763" y="333"/>
                </a:lnTo>
                <a:lnTo>
                  <a:pt x="769" y="310"/>
                </a:lnTo>
                <a:lnTo>
                  <a:pt x="774" y="288"/>
                </a:lnTo>
                <a:lnTo>
                  <a:pt x="777" y="266"/>
                </a:lnTo>
                <a:lnTo>
                  <a:pt x="781" y="243"/>
                </a:lnTo>
                <a:lnTo>
                  <a:pt x="782" y="221"/>
                </a:lnTo>
                <a:lnTo>
                  <a:pt x="782" y="199"/>
                </a:lnTo>
                <a:lnTo>
                  <a:pt x="782" y="199"/>
                </a:lnTo>
                <a:lnTo>
                  <a:pt x="782" y="175"/>
                </a:lnTo>
                <a:lnTo>
                  <a:pt x="782" y="175"/>
                </a:lnTo>
                <a:lnTo>
                  <a:pt x="795" y="166"/>
                </a:lnTo>
                <a:lnTo>
                  <a:pt x="807" y="155"/>
                </a:lnTo>
                <a:lnTo>
                  <a:pt x="820" y="145"/>
                </a:lnTo>
                <a:lnTo>
                  <a:pt x="830" y="133"/>
                </a:lnTo>
                <a:lnTo>
                  <a:pt x="842" y="121"/>
                </a:lnTo>
                <a:lnTo>
                  <a:pt x="851" y="109"/>
                </a:lnTo>
                <a:lnTo>
                  <a:pt x="862" y="96"/>
                </a:lnTo>
                <a:lnTo>
                  <a:pt x="871" y="83"/>
                </a:lnTo>
                <a:lnTo>
                  <a:pt x="871" y="83"/>
                </a:lnTo>
                <a:lnTo>
                  <a:pt x="847" y="93"/>
                </a:lnTo>
                <a:lnTo>
                  <a:pt x="821" y="101"/>
                </a:lnTo>
                <a:lnTo>
                  <a:pt x="795" y="107"/>
                </a:lnTo>
                <a:lnTo>
                  <a:pt x="769" y="112"/>
                </a:lnTo>
                <a:lnTo>
                  <a:pt x="769" y="112"/>
                </a:lnTo>
                <a:lnTo>
                  <a:pt x="782" y="102"/>
                </a:lnTo>
                <a:lnTo>
                  <a:pt x="795" y="93"/>
                </a:lnTo>
                <a:lnTo>
                  <a:pt x="805" y="81"/>
                </a:lnTo>
                <a:lnTo>
                  <a:pt x="816" y="69"/>
                </a:lnTo>
                <a:lnTo>
                  <a:pt x="825" y="56"/>
                </a:lnTo>
                <a:lnTo>
                  <a:pt x="834" y="42"/>
                </a:lnTo>
                <a:lnTo>
                  <a:pt x="841" y="28"/>
                </a:lnTo>
                <a:lnTo>
                  <a:pt x="847"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22" name="Freeform 21">
            <a:hlinkClick r:id="rId8"/>
            <a:extLst>
              <a:ext uri="{FF2B5EF4-FFF2-40B4-BE49-F238E27FC236}">
                <a16:creationId xmlns:a16="http://schemas.microsoft.com/office/drawing/2014/main" id="{451C9E59-6B15-DE9D-C011-A12FE638D97A}"/>
              </a:ext>
            </a:extLst>
          </p:cNvPr>
          <p:cNvSpPr>
            <a:spLocks/>
          </p:cNvSpPr>
          <p:nvPr userDrawn="1"/>
        </p:nvSpPr>
        <p:spPr bwMode="auto">
          <a:xfrm>
            <a:off x="4370009" y="5455909"/>
            <a:ext cx="213230" cy="440675"/>
          </a:xfrm>
          <a:custGeom>
            <a:avLst/>
            <a:gdLst>
              <a:gd name="T0" fmla="*/ 0 w 419"/>
              <a:gd name="T1" fmla="*/ 249 h 868"/>
              <a:gd name="T2" fmla="*/ 91 w 419"/>
              <a:gd name="T3" fmla="*/ 249 h 868"/>
              <a:gd name="T4" fmla="*/ 91 w 419"/>
              <a:gd name="T5" fmla="*/ 203 h 868"/>
              <a:gd name="T6" fmla="*/ 91 w 419"/>
              <a:gd name="T7" fmla="*/ 203 h 868"/>
              <a:gd name="T8" fmla="*/ 92 w 419"/>
              <a:gd name="T9" fmla="*/ 167 h 868"/>
              <a:gd name="T10" fmla="*/ 95 w 419"/>
              <a:gd name="T11" fmla="*/ 135 h 868"/>
              <a:gd name="T12" fmla="*/ 98 w 419"/>
              <a:gd name="T13" fmla="*/ 121 h 868"/>
              <a:gd name="T14" fmla="*/ 100 w 419"/>
              <a:gd name="T15" fmla="*/ 108 h 868"/>
              <a:gd name="T16" fmla="*/ 103 w 419"/>
              <a:gd name="T17" fmla="*/ 96 h 868"/>
              <a:gd name="T18" fmla="*/ 108 w 419"/>
              <a:gd name="T19" fmla="*/ 87 h 868"/>
              <a:gd name="T20" fmla="*/ 108 w 419"/>
              <a:gd name="T21" fmla="*/ 87 h 868"/>
              <a:gd name="T22" fmla="*/ 113 w 419"/>
              <a:gd name="T23" fmla="*/ 78 h 868"/>
              <a:gd name="T24" fmla="*/ 118 w 419"/>
              <a:gd name="T25" fmla="*/ 68 h 868"/>
              <a:gd name="T26" fmla="*/ 125 w 419"/>
              <a:gd name="T27" fmla="*/ 60 h 868"/>
              <a:gd name="T28" fmla="*/ 132 w 419"/>
              <a:gd name="T29" fmla="*/ 52 h 868"/>
              <a:gd name="T30" fmla="*/ 140 w 419"/>
              <a:gd name="T31" fmla="*/ 44 h 868"/>
              <a:gd name="T32" fmla="*/ 148 w 419"/>
              <a:gd name="T33" fmla="*/ 36 h 868"/>
              <a:gd name="T34" fmla="*/ 158 w 419"/>
              <a:gd name="T35" fmla="*/ 31 h 868"/>
              <a:gd name="T36" fmla="*/ 169 w 419"/>
              <a:gd name="T37" fmla="*/ 24 h 868"/>
              <a:gd name="T38" fmla="*/ 169 w 419"/>
              <a:gd name="T39" fmla="*/ 24 h 868"/>
              <a:gd name="T40" fmla="*/ 180 w 419"/>
              <a:gd name="T41" fmla="*/ 19 h 868"/>
              <a:gd name="T42" fmla="*/ 193 w 419"/>
              <a:gd name="T43" fmla="*/ 13 h 868"/>
              <a:gd name="T44" fmla="*/ 206 w 419"/>
              <a:gd name="T45" fmla="*/ 9 h 868"/>
              <a:gd name="T46" fmla="*/ 219 w 419"/>
              <a:gd name="T47" fmla="*/ 6 h 868"/>
              <a:gd name="T48" fmla="*/ 234 w 419"/>
              <a:gd name="T49" fmla="*/ 4 h 868"/>
              <a:gd name="T50" fmla="*/ 249 w 419"/>
              <a:gd name="T51" fmla="*/ 1 h 868"/>
              <a:gd name="T52" fmla="*/ 265 w 419"/>
              <a:gd name="T53" fmla="*/ 0 h 868"/>
              <a:gd name="T54" fmla="*/ 281 w 419"/>
              <a:gd name="T55" fmla="*/ 0 h 868"/>
              <a:gd name="T56" fmla="*/ 281 w 419"/>
              <a:gd name="T57" fmla="*/ 0 h 868"/>
              <a:gd name="T58" fmla="*/ 317 w 419"/>
              <a:gd name="T59" fmla="*/ 1 h 868"/>
              <a:gd name="T60" fmla="*/ 351 w 419"/>
              <a:gd name="T61" fmla="*/ 5 h 868"/>
              <a:gd name="T62" fmla="*/ 385 w 419"/>
              <a:gd name="T63" fmla="*/ 12 h 868"/>
              <a:gd name="T64" fmla="*/ 419 w 419"/>
              <a:gd name="T65" fmla="*/ 21 h 868"/>
              <a:gd name="T66" fmla="*/ 397 w 419"/>
              <a:gd name="T67" fmla="*/ 135 h 868"/>
              <a:gd name="T68" fmla="*/ 397 w 419"/>
              <a:gd name="T69" fmla="*/ 135 h 868"/>
              <a:gd name="T70" fmla="*/ 377 w 419"/>
              <a:gd name="T71" fmla="*/ 131 h 868"/>
              <a:gd name="T72" fmla="*/ 358 w 419"/>
              <a:gd name="T73" fmla="*/ 128 h 868"/>
              <a:gd name="T74" fmla="*/ 340 w 419"/>
              <a:gd name="T75" fmla="*/ 126 h 868"/>
              <a:gd name="T76" fmla="*/ 321 w 419"/>
              <a:gd name="T77" fmla="*/ 126 h 868"/>
              <a:gd name="T78" fmla="*/ 321 w 419"/>
              <a:gd name="T79" fmla="*/ 126 h 868"/>
              <a:gd name="T80" fmla="*/ 305 w 419"/>
              <a:gd name="T81" fmla="*/ 127 h 868"/>
              <a:gd name="T82" fmla="*/ 291 w 419"/>
              <a:gd name="T83" fmla="*/ 129 h 868"/>
              <a:gd name="T84" fmla="*/ 285 w 419"/>
              <a:gd name="T85" fmla="*/ 132 h 868"/>
              <a:gd name="T86" fmla="*/ 279 w 419"/>
              <a:gd name="T87" fmla="*/ 135 h 868"/>
              <a:gd name="T88" fmla="*/ 274 w 419"/>
              <a:gd name="T89" fmla="*/ 139 h 868"/>
              <a:gd name="T90" fmla="*/ 271 w 419"/>
              <a:gd name="T91" fmla="*/ 142 h 868"/>
              <a:gd name="T92" fmla="*/ 271 w 419"/>
              <a:gd name="T93" fmla="*/ 142 h 868"/>
              <a:gd name="T94" fmla="*/ 267 w 419"/>
              <a:gd name="T95" fmla="*/ 147 h 868"/>
              <a:gd name="T96" fmla="*/ 264 w 419"/>
              <a:gd name="T97" fmla="*/ 153 h 868"/>
              <a:gd name="T98" fmla="*/ 261 w 419"/>
              <a:gd name="T99" fmla="*/ 159 h 868"/>
              <a:gd name="T100" fmla="*/ 259 w 419"/>
              <a:gd name="T101" fmla="*/ 166 h 868"/>
              <a:gd name="T102" fmla="*/ 255 w 419"/>
              <a:gd name="T103" fmla="*/ 185 h 868"/>
              <a:gd name="T104" fmla="*/ 255 w 419"/>
              <a:gd name="T105" fmla="*/ 206 h 868"/>
              <a:gd name="T106" fmla="*/ 255 w 419"/>
              <a:gd name="T107" fmla="*/ 249 h 868"/>
              <a:gd name="T108" fmla="*/ 378 w 419"/>
              <a:gd name="T109" fmla="*/ 249 h 868"/>
              <a:gd name="T110" fmla="*/ 378 w 419"/>
              <a:gd name="T111" fmla="*/ 379 h 868"/>
              <a:gd name="T112" fmla="*/ 255 w 419"/>
              <a:gd name="T113" fmla="*/ 379 h 868"/>
              <a:gd name="T114" fmla="*/ 255 w 419"/>
              <a:gd name="T115" fmla="*/ 868 h 868"/>
              <a:gd name="T116" fmla="*/ 91 w 419"/>
              <a:gd name="T117" fmla="*/ 868 h 868"/>
              <a:gd name="T118" fmla="*/ 91 w 419"/>
              <a:gd name="T119" fmla="*/ 379 h 868"/>
              <a:gd name="T120" fmla="*/ 0 w 419"/>
              <a:gd name="T121" fmla="*/ 379 h 868"/>
              <a:gd name="T122" fmla="*/ 0 w 419"/>
              <a:gd name="T123" fmla="*/ 249 h 868"/>
              <a:gd name="T124" fmla="*/ 0 w 419"/>
              <a:gd name="T125" fmla="*/ 24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868">
                <a:moveTo>
                  <a:pt x="0" y="249"/>
                </a:moveTo>
                <a:lnTo>
                  <a:pt x="91" y="249"/>
                </a:lnTo>
                <a:lnTo>
                  <a:pt x="91" y="203"/>
                </a:lnTo>
                <a:lnTo>
                  <a:pt x="91" y="203"/>
                </a:lnTo>
                <a:lnTo>
                  <a:pt x="92" y="167"/>
                </a:lnTo>
                <a:lnTo>
                  <a:pt x="95" y="135"/>
                </a:lnTo>
                <a:lnTo>
                  <a:pt x="98" y="121"/>
                </a:lnTo>
                <a:lnTo>
                  <a:pt x="100" y="108"/>
                </a:lnTo>
                <a:lnTo>
                  <a:pt x="103" y="96"/>
                </a:lnTo>
                <a:lnTo>
                  <a:pt x="108" y="87"/>
                </a:lnTo>
                <a:lnTo>
                  <a:pt x="108" y="87"/>
                </a:lnTo>
                <a:lnTo>
                  <a:pt x="113" y="78"/>
                </a:lnTo>
                <a:lnTo>
                  <a:pt x="118" y="68"/>
                </a:lnTo>
                <a:lnTo>
                  <a:pt x="125" y="60"/>
                </a:lnTo>
                <a:lnTo>
                  <a:pt x="132" y="52"/>
                </a:lnTo>
                <a:lnTo>
                  <a:pt x="140" y="44"/>
                </a:lnTo>
                <a:lnTo>
                  <a:pt x="148" y="36"/>
                </a:lnTo>
                <a:lnTo>
                  <a:pt x="158" y="31"/>
                </a:lnTo>
                <a:lnTo>
                  <a:pt x="169" y="24"/>
                </a:lnTo>
                <a:lnTo>
                  <a:pt x="169" y="24"/>
                </a:lnTo>
                <a:lnTo>
                  <a:pt x="180" y="19"/>
                </a:lnTo>
                <a:lnTo>
                  <a:pt x="193" y="13"/>
                </a:lnTo>
                <a:lnTo>
                  <a:pt x="206" y="9"/>
                </a:lnTo>
                <a:lnTo>
                  <a:pt x="219" y="6"/>
                </a:lnTo>
                <a:lnTo>
                  <a:pt x="234" y="4"/>
                </a:lnTo>
                <a:lnTo>
                  <a:pt x="249" y="1"/>
                </a:lnTo>
                <a:lnTo>
                  <a:pt x="265" y="0"/>
                </a:lnTo>
                <a:lnTo>
                  <a:pt x="281" y="0"/>
                </a:lnTo>
                <a:lnTo>
                  <a:pt x="281" y="0"/>
                </a:lnTo>
                <a:lnTo>
                  <a:pt x="317" y="1"/>
                </a:lnTo>
                <a:lnTo>
                  <a:pt x="351" y="5"/>
                </a:lnTo>
                <a:lnTo>
                  <a:pt x="385" y="12"/>
                </a:lnTo>
                <a:lnTo>
                  <a:pt x="419" y="21"/>
                </a:lnTo>
                <a:lnTo>
                  <a:pt x="397" y="135"/>
                </a:lnTo>
                <a:lnTo>
                  <a:pt x="397" y="135"/>
                </a:lnTo>
                <a:lnTo>
                  <a:pt x="377" y="131"/>
                </a:lnTo>
                <a:lnTo>
                  <a:pt x="358" y="128"/>
                </a:lnTo>
                <a:lnTo>
                  <a:pt x="340" y="126"/>
                </a:lnTo>
                <a:lnTo>
                  <a:pt x="321" y="126"/>
                </a:lnTo>
                <a:lnTo>
                  <a:pt x="321" y="126"/>
                </a:lnTo>
                <a:lnTo>
                  <a:pt x="305" y="127"/>
                </a:lnTo>
                <a:lnTo>
                  <a:pt x="291" y="129"/>
                </a:lnTo>
                <a:lnTo>
                  <a:pt x="285" y="132"/>
                </a:lnTo>
                <a:lnTo>
                  <a:pt x="279" y="135"/>
                </a:lnTo>
                <a:lnTo>
                  <a:pt x="274" y="139"/>
                </a:lnTo>
                <a:lnTo>
                  <a:pt x="271" y="142"/>
                </a:lnTo>
                <a:lnTo>
                  <a:pt x="271" y="142"/>
                </a:lnTo>
                <a:lnTo>
                  <a:pt x="267" y="147"/>
                </a:lnTo>
                <a:lnTo>
                  <a:pt x="264" y="153"/>
                </a:lnTo>
                <a:lnTo>
                  <a:pt x="261" y="159"/>
                </a:lnTo>
                <a:lnTo>
                  <a:pt x="259" y="166"/>
                </a:lnTo>
                <a:lnTo>
                  <a:pt x="255" y="185"/>
                </a:lnTo>
                <a:lnTo>
                  <a:pt x="255" y="206"/>
                </a:lnTo>
                <a:lnTo>
                  <a:pt x="255" y="249"/>
                </a:lnTo>
                <a:lnTo>
                  <a:pt x="378" y="249"/>
                </a:lnTo>
                <a:lnTo>
                  <a:pt x="378" y="379"/>
                </a:lnTo>
                <a:lnTo>
                  <a:pt x="255" y="379"/>
                </a:lnTo>
                <a:lnTo>
                  <a:pt x="255" y="868"/>
                </a:lnTo>
                <a:lnTo>
                  <a:pt x="91" y="868"/>
                </a:lnTo>
                <a:lnTo>
                  <a:pt x="91" y="379"/>
                </a:lnTo>
                <a:lnTo>
                  <a:pt x="0" y="379"/>
                </a:lnTo>
                <a:lnTo>
                  <a:pt x="0" y="249"/>
                </a:lnTo>
                <a:lnTo>
                  <a:pt x="0" y="24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pic>
        <p:nvPicPr>
          <p:cNvPr id="5" name="Picture 4">
            <a:hlinkClick r:id="rId9"/>
            <a:extLst>
              <a:ext uri="{FF2B5EF4-FFF2-40B4-BE49-F238E27FC236}">
                <a16:creationId xmlns:a16="http://schemas.microsoft.com/office/drawing/2014/main" id="{0F05A33C-9676-F683-5806-B68CE8008DB9}"/>
              </a:ext>
            </a:extLst>
          </p:cNvPr>
          <p:cNvPicPr>
            <a:picLocks noChangeAspect="1"/>
          </p:cNvPicPr>
          <p:nvPr userDrawn="1"/>
        </p:nvPicPr>
        <p:blipFill rotWithShape="1">
          <a:blip r:embed="rId10"/>
          <a:srcRect l="23304" t="23982" r="22737" b="25042"/>
          <a:stretch/>
        </p:blipFill>
        <p:spPr>
          <a:xfrm>
            <a:off x="6922985" y="5437112"/>
            <a:ext cx="569633" cy="538135"/>
          </a:xfrm>
          <a:prstGeom prst="rect">
            <a:avLst/>
          </a:prstGeom>
        </p:spPr>
      </p:pic>
      <p:pic>
        <p:nvPicPr>
          <p:cNvPr id="8" name="Picture 7">
            <a:extLst>
              <a:ext uri="{FF2B5EF4-FFF2-40B4-BE49-F238E27FC236}">
                <a16:creationId xmlns:a16="http://schemas.microsoft.com/office/drawing/2014/main" id="{368FE2D0-6F17-71BC-BA24-B74BCC80DB8D}"/>
              </a:ext>
            </a:extLst>
          </p:cNvPr>
          <p:cNvPicPr>
            <a:picLocks noChangeAspect="1"/>
          </p:cNvPicPr>
          <p:nvPr userDrawn="1"/>
        </p:nvPicPr>
        <p:blipFill>
          <a:blip r:embed="rId11"/>
          <a:srcRect/>
          <a:stretch/>
        </p:blipFill>
        <p:spPr>
          <a:xfrm>
            <a:off x="10307937" y="6308646"/>
            <a:ext cx="1440000" cy="304457"/>
          </a:xfrm>
          <a:prstGeom prst="rect">
            <a:avLst/>
          </a:prstGeom>
        </p:spPr>
      </p:pic>
      <p:sp>
        <p:nvSpPr>
          <p:cNvPr id="13" name="Date Placeholder 3">
            <a:extLst>
              <a:ext uri="{FF2B5EF4-FFF2-40B4-BE49-F238E27FC236}">
                <a16:creationId xmlns:a16="http://schemas.microsoft.com/office/drawing/2014/main" id="{08BE8DC5-E363-A557-BA5C-A3E07C680BA1}"/>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4" name="TextBox 13">
            <a:extLst>
              <a:ext uri="{FF2B5EF4-FFF2-40B4-BE49-F238E27FC236}">
                <a16:creationId xmlns:a16="http://schemas.microsoft.com/office/drawing/2014/main" id="{66CBC369-1E8E-7775-1C7E-5CC561D16506}"/>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15" name="Picture 14">
            <a:extLst>
              <a:ext uri="{FF2B5EF4-FFF2-40B4-BE49-F238E27FC236}">
                <a16:creationId xmlns:a16="http://schemas.microsoft.com/office/drawing/2014/main" id="{738B4834-9E2A-2F3A-E4DF-2DF298DAD097}"/>
              </a:ext>
            </a:extLst>
          </p:cNvPr>
          <p:cNvPicPr>
            <a:picLocks noChangeAspect="1"/>
          </p:cNvPicPr>
          <p:nvPr userDrawn="1"/>
        </p:nvPicPr>
        <p:blipFill>
          <a:blip r:embed="rId12"/>
          <a:srcRect/>
          <a:stretch/>
        </p:blipFill>
        <p:spPr>
          <a:xfrm>
            <a:off x="483281" y="6072252"/>
            <a:ext cx="2428912" cy="540851"/>
          </a:xfrm>
          <a:prstGeom prst="rect">
            <a:avLst/>
          </a:prstGeom>
        </p:spPr>
      </p:pic>
      <p:pic>
        <p:nvPicPr>
          <p:cNvPr id="6" name="Picture 5">
            <a:extLst>
              <a:ext uri="{FF2B5EF4-FFF2-40B4-BE49-F238E27FC236}">
                <a16:creationId xmlns:a16="http://schemas.microsoft.com/office/drawing/2014/main" id="{55277FE5-F247-54BE-2093-0E0B9223455F}"/>
              </a:ext>
            </a:extLst>
          </p:cNvPr>
          <p:cNvPicPr>
            <a:picLocks noChangeAspect="1"/>
          </p:cNvPicPr>
          <p:nvPr userDrawn="1"/>
        </p:nvPicPr>
        <p:blipFill>
          <a:blip r:embed="rId13"/>
          <a:srcRect/>
          <a:stretch/>
        </p:blipFill>
        <p:spPr>
          <a:xfrm>
            <a:off x="0" y="0"/>
            <a:ext cx="12192000" cy="3492500"/>
          </a:xfrm>
          <a:prstGeom prst="rect">
            <a:avLst/>
          </a:prstGeom>
        </p:spPr>
      </p:pic>
    </p:spTree>
    <p:extLst>
      <p:ext uri="{BB962C8B-B14F-4D97-AF65-F5344CB8AC3E}">
        <p14:creationId xmlns:p14="http://schemas.microsoft.com/office/powerpoint/2010/main" val="3544457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EN_Title Slide_e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2581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sp>
        <p:nvSpPr>
          <p:cNvPr id="9" name="Title 1">
            <a:extLst>
              <a:ext uri="{FF2B5EF4-FFF2-40B4-BE49-F238E27FC236}">
                <a16:creationId xmlns:a16="http://schemas.microsoft.com/office/drawing/2014/main" id="{ECB094E4-A2FA-ACFD-AF8B-0C4FFBD63D71}"/>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4000" b="0" baseline="0">
                <a:solidFill>
                  <a:schemeClr val="accent2"/>
                </a:solidFill>
                <a:latin typeface="+mj-lt"/>
                <a:ea typeface="+mj-ea"/>
                <a:cs typeface="+mj-cs"/>
                <a:sym typeface="Trebuchet MS" panose="020B0603020202020204" pitchFamily="34" charset="0"/>
              </a:defRPr>
            </a:lvl1pPr>
          </a:lstStyle>
          <a:p>
            <a:r>
              <a:rPr lang="fi-FI" err="1"/>
              <a:t>title</a:t>
            </a:r>
            <a:endParaRPr lang="fi-FI"/>
          </a:p>
        </p:txBody>
      </p:sp>
      <p:sp>
        <p:nvSpPr>
          <p:cNvPr id="18" name="Freeform 17">
            <a:extLst>
              <a:ext uri="{FF2B5EF4-FFF2-40B4-BE49-F238E27FC236}">
                <a16:creationId xmlns:a16="http://schemas.microsoft.com/office/drawing/2014/main" id="{42C29690-68F5-932F-81F4-42436A26FF75}"/>
              </a:ext>
            </a:extLst>
          </p:cNvPr>
          <p:cNvSpPr>
            <a:spLocks/>
          </p:cNvSpPr>
          <p:nvPr/>
        </p:nvSpPr>
        <p:spPr bwMode="auto">
          <a:xfrm>
            <a:off x="5976289"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nvGrpSpPr>
          <p:cNvPr id="2" name="Group 1">
            <a:extLst>
              <a:ext uri="{FF2B5EF4-FFF2-40B4-BE49-F238E27FC236}">
                <a16:creationId xmlns:a16="http://schemas.microsoft.com/office/drawing/2014/main" id="{C664911C-157A-1694-58E7-D2FEAF8809A7}"/>
              </a:ext>
            </a:extLst>
          </p:cNvPr>
          <p:cNvGrpSpPr/>
          <p:nvPr userDrawn="1"/>
        </p:nvGrpSpPr>
        <p:grpSpPr>
          <a:xfrm>
            <a:off x="5976289" y="5455909"/>
            <a:ext cx="442707" cy="440676"/>
            <a:chOff x="6726920" y="5455909"/>
            <a:chExt cx="442707" cy="440676"/>
          </a:xfrm>
        </p:grpSpPr>
        <p:sp>
          <p:nvSpPr>
            <p:cNvPr id="17" name="Rectangle 16">
              <a:hlinkClick r:id="rId6"/>
              <a:extLst>
                <a:ext uri="{FF2B5EF4-FFF2-40B4-BE49-F238E27FC236}">
                  <a16:creationId xmlns:a16="http://schemas.microsoft.com/office/drawing/2014/main" id="{A7706E0C-6E23-F867-A5FA-07DA58D86944}"/>
                </a:ext>
              </a:extLst>
            </p:cNvPr>
            <p:cNvSpPr>
              <a:spLocks noChangeArrowheads="1"/>
            </p:cNvSpPr>
            <p:nvPr/>
          </p:nvSpPr>
          <p:spPr bwMode="auto">
            <a:xfrm>
              <a:off x="6734028" y="5602124"/>
              <a:ext cx="91384" cy="2944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19" name="Freeform 18">
              <a:hlinkClick r:id="rId6"/>
              <a:extLst>
                <a:ext uri="{FF2B5EF4-FFF2-40B4-BE49-F238E27FC236}">
                  <a16:creationId xmlns:a16="http://schemas.microsoft.com/office/drawing/2014/main" id="{B2F2104B-E006-CCE1-564F-40D68BD11B8C}"/>
                </a:ext>
              </a:extLst>
            </p:cNvPr>
            <p:cNvSpPr>
              <a:spLocks/>
            </p:cNvSpPr>
            <p:nvPr/>
          </p:nvSpPr>
          <p:spPr bwMode="auto">
            <a:xfrm>
              <a:off x="6726920" y="5455909"/>
              <a:ext cx="106615" cy="106615"/>
            </a:xfrm>
            <a:custGeom>
              <a:avLst/>
              <a:gdLst>
                <a:gd name="T0" fmla="*/ 104 w 209"/>
                <a:gd name="T1" fmla="*/ 209 h 209"/>
                <a:gd name="T2" fmla="*/ 126 w 209"/>
                <a:gd name="T3" fmla="*/ 207 h 209"/>
                <a:gd name="T4" fmla="*/ 146 w 209"/>
                <a:gd name="T5" fmla="*/ 201 h 209"/>
                <a:gd name="T6" fmla="*/ 163 w 209"/>
                <a:gd name="T7" fmla="*/ 192 h 209"/>
                <a:gd name="T8" fmla="*/ 179 w 209"/>
                <a:gd name="T9" fmla="*/ 179 h 209"/>
                <a:gd name="T10" fmla="*/ 192 w 209"/>
                <a:gd name="T11" fmla="*/ 162 h 209"/>
                <a:gd name="T12" fmla="*/ 201 w 209"/>
                <a:gd name="T13" fmla="*/ 145 h 209"/>
                <a:gd name="T14" fmla="*/ 207 w 209"/>
                <a:gd name="T15" fmla="*/ 126 h 209"/>
                <a:gd name="T16" fmla="*/ 209 w 209"/>
                <a:gd name="T17" fmla="*/ 105 h 209"/>
                <a:gd name="T18" fmla="*/ 209 w 209"/>
                <a:gd name="T19" fmla="*/ 94 h 209"/>
                <a:gd name="T20" fmla="*/ 205 w 209"/>
                <a:gd name="T21" fmla="*/ 73 h 209"/>
                <a:gd name="T22" fmla="*/ 196 w 209"/>
                <a:gd name="T23" fmla="*/ 54 h 209"/>
                <a:gd name="T24" fmla="*/ 186 w 209"/>
                <a:gd name="T25" fmla="*/ 38 h 209"/>
                <a:gd name="T26" fmla="*/ 172 w 209"/>
                <a:gd name="T27" fmla="*/ 24 h 209"/>
                <a:gd name="T28" fmla="*/ 154 w 209"/>
                <a:gd name="T29" fmla="*/ 13 h 209"/>
                <a:gd name="T30" fmla="*/ 136 w 209"/>
                <a:gd name="T31" fmla="*/ 5 h 209"/>
                <a:gd name="T32" fmla="*/ 115 w 209"/>
                <a:gd name="T33" fmla="*/ 0 h 209"/>
                <a:gd name="T34" fmla="*/ 104 w 209"/>
                <a:gd name="T35" fmla="*/ 0 h 209"/>
                <a:gd name="T36" fmla="*/ 83 w 209"/>
                <a:gd name="T37" fmla="*/ 2 h 209"/>
                <a:gd name="T38" fmla="*/ 64 w 209"/>
                <a:gd name="T39" fmla="*/ 8 h 209"/>
                <a:gd name="T40" fmla="*/ 47 w 209"/>
                <a:gd name="T41" fmla="*/ 18 h 209"/>
                <a:gd name="T42" fmla="*/ 30 w 209"/>
                <a:gd name="T43" fmla="*/ 31 h 209"/>
                <a:gd name="T44" fmla="*/ 19 w 209"/>
                <a:gd name="T45" fmla="*/ 46 h 209"/>
                <a:gd name="T46" fmla="*/ 8 w 209"/>
                <a:gd name="T47" fmla="*/ 64 h 209"/>
                <a:gd name="T48" fmla="*/ 2 w 209"/>
                <a:gd name="T49" fmla="*/ 84 h 209"/>
                <a:gd name="T50" fmla="*/ 0 w 209"/>
                <a:gd name="T51" fmla="*/ 105 h 209"/>
                <a:gd name="T52" fmla="*/ 1 w 209"/>
                <a:gd name="T53" fmla="*/ 115 h 209"/>
                <a:gd name="T54" fmla="*/ 4 w 209"/>
                <a:gd name="T55" fmla="*/ 135 h 209"/>
                <a:gd name="T56" fmla="*/ 13 w 209"/>
                <a:gd name="T57" fmla="*/ 154 h 209"/>
                <a:gd name="T58" fmla="*/ 24 w 209"/>
                <a:gd name="T59" fmla="*/ 171 h 209"/>
                <a:gd name="T60" fmla="*/ 39 w 209"/>
                <a:gd name="T61" fmla="*/ 185 h 209"/>
                <a:gd name="T62" fmla="*/ 55 w 209"/>
                <a:gd name="T63" fmla="*/ 196 h 209"/>
                <a:gd name="T64" fmla="*/ 74 w 209"/>
                <a:gd name="T65" fmla="*/ 205 h 209"/>
                <a:gd name="T66" fmla="*/ 94 w 209"/>
                <a:gd name="T6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9" h="209">
                  <a:moveTo>
                    <a:pt x="104" y="209"/>
                  </a:moveTo>
                  <a:lnTo>
                    <a:pt x="104" y="209"/>
                  </a:lnTo>
                  <a:lnTo>
                    <a:pt x="115" y="208"/>
                  </a:lnTo>
                  <a:lnTo>
                    <a:pt x="126" y="207"/>
                  </a:lnTo>
                  <a:lnTo>
                    <a:pt x="136" y="205"/>
                  </a:lnTo>
                  <a:lnTo>
                    <a:pt x="146" y="201"/>
                  </a:lnTo>
                  <a:lnTo>
                    <a:pt x="154" y="196"/>
                  </a:lnTo>
                  <a:lnTo>
                    <a:pt x="163" y="192"/>
                  </a:lnTo>
                  <a:lnTo>
                    <a:pt x="172" y="185"/>
                  </a:lnTo>
                  <a:lnTo>
                    <a:pt x="179" y="179"/>
                  </a:lnTo>
                  <a:lnTo>
                    <a:pt x="186" y="171"/>
                  </a:lnTo>
                  <a:lnTo>
                    <a:pt x="192" y="162"/>
                  </a:lnTo>
                  <a:lnTo>
                    <a:pt x="196" y="154"/>
                  </a:lnTo>
                  <a:lnTo>
                    <a:pt x="201" y="145"/>
                  </a:lnTo>
                  <a:lnTo>
                    <a:pt x="205" y="135"/>
                  </a:lnTo>
                  <a:lnTo>
                    <a:pt x="207" y="126"/>
                  </a:lnTo>
                  <a:lnTo>
                    <a:pt x="209" y="115"/>
                  </a:lnTo>
                  <a:lnTo>
                    <a:pt x="209" y="105"/>
                  </a:lnTo>
                  <a:lnTo>
                    <a:pt x="209" y="105"/>
                  </a:lnTo>
                  <a:lnTo>
                    <a:pt x="209" y="94"/>
                  </a:lnTo>
                  <a:lnTo>
                    <a:pt x="207" y="84"/>
                  </a:lnTo>
                  <a:lnTo>
                    <a:pt x="205" y="73"/>
                  </a:lnTo>
                  <a:lnTo>
                    <a:pt x="201" y="64"/>
                  </a:lnTo>
                  <a:lnTo>
                    <a:pt x="196" y="54"/>
                  </a:lnTo>
                  <a:lnTo>
                    <a:pt x="192" y="46"/>
                  </a:lnTo>
                  <a:lnTo>
                    <a:pt x="186" y="38"/>
                  </a:lnTo>
                  <a:lnTo>
                    <a:pt x="179" y="31"/>
                  </a:lnTo>
                  <a:lnTo>
                    <a:pt x="172" y="24"/>
                  </a:lnTo>
                  <a:lnTo>
                    <a:pt x="163" y="18"/>
                  </a:lnTo>
                  <a:lnTo>
                    <a:pt x="154" y="13"/>
                  </a:lnTo>
                  <a:lnTo>
                    <a:pt x="146" y="8"/>
                  </a:lnTo>
                  <a:lnTo>
                    <a:pt x="136" y="5"/>
                  </a:lnTo>
                  <a:lnTo>
                    <a:pt x="126" y="2"/>
                  </a:lnTo>
                  <a:lnTo>
                    <a:pt x="115" y="0"/>
                  </a:lnTo>
                  <a:lnTo>
                    <a:pt x="104" y="0"/>
                  </a:lnTo>
                  <a:lnTo>
                    <a:pt x="104" y="0"/>
                  </a:lnTo>
                  <a:lnTo>
                    <a:pt x="94" y="0"/>
                  </a:lnTo>
                  <a:lnTo>
                    <a:pt x="83" y="2"/>
                  </a:lnTo>
                  <a:lnTo>
                    <a:pt x="74" y="5"/>
                  </a:lnTo>
                  <a:lnTo>
                    <a:pt x="64" y="8"/>
                  </a:lnTo>
                  <a:lnTo>
                    <a:pt x="55" y="13"/>
                  </a:lnTo>
                  <a:lnTo>
                    <a:pt x="47" y="18"/>
                  </a:lnTo>
                  <a:lnTo>
                    <a:pt x="39" y="24"/>
                  </a:lnTo>
                  <a:lnTo>
                    <a:pt x="30" y="31"/>
                  </a:lnTo>
                  <a:lnTo>
                    <a:pt x="24" y="38"/>
                  </a:lnTo>
                  <a:lnTo>
                    <a:pt x="19" y="46"/>
                  </a:lnTo>
                  <a:lnTo>
                    <a:pt x="13" y="54"/>
                  </a:lnTo>
                  <a:lnTo>
                    <a:pt x="8" y="64"/>
                  </a:lnTo>
                  <a:lnTo>
                    <a:pt x="4" y="73"/>
                  </a:lnTo>
                  <a:lnTo>
                    <a:pt x="2" y="84"/>
                  </a:lnTo>
                  <a:lnTo>
                    <a:pt x="1" y="94"/>
                  </a:lnTo>
                  <a:lnTo>
                    <a:pt x="0" y="105"/>
                  </a:lnTo>
                  <a:lnTo>
                    <a:pt x="0" y="105"/>
                  </a:lnTo>
                  <a:lnTo>
                    <a:pt x="1" y="115"/>
                  </a:lnTo>
                  <a:lnTo>
                    <a:pt x="2" y="126"/>
                  </a:lnTo>
                  <a:lnTo>
                    <a:pt x="4" y="135"/>
                  </a:lnTo>
                  <a:lnTo>
                    <a:pt x="8" y="145"/>
                  </a:lnTo>
                  <a:lnTo>
                    <a:pt x="13" y="154"/>
                  </a:lnTo>
                  <a:lnTo>
                    <a:pt x="19" y="162"/>
                  </a:lnTo>
                  <a:lnTo>
                    <a:pt x="24" y="171"/>
                  </a:lnTo>
                  <a:lnTo>
                    <a:pt x="30" y="179"/>
                  </a:lnTo>
                  <a:lnTo>
                    <a:pt x="39" y="185"/>
                  </a:lnTo>
                  <a:lnTo>
                    <a:pt x="47" y="192"/>
                  </a:lnTo>
                  <a:lnTo>
                    <a:pt x="55" y="196"/>
                  </a:lnTo>
                  <a:lnTo>
                    <a:pt x="64" y="201"/>
                  </a:lnTo>
                  <a:lnTo>
                    <a:pt x="74" y="205"/>
                  </a:lnTo>
                  <a:lnTo>
                    <a:pt x="83" y="207"/>
                  </a:lnTo>
                  <a:lnTo>
                    <a:pt x="94" y="208"/>
                  </a:lnTo>
                  <a:lnTo>
                    <a:pt x="104" y="209"/>
                  </a:ln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sp>
          <p:nvSpPr>
            <p:cNvPr id="20" name="Freeform 19">
              <a:hlinkClick r:id="rId6"/>
              <a:extLst>
                <a:ext uri="{FF2B5EF4-FFF2-40B4-BE49-F238E27FC236}">
                  <a16:creationId xmlns:a16="http://schemas.microsoft.com/office/drawing/2014/main" id="{26875E03-EC53-D128-2C40-6EDDB1077687}"/>
                </a:ext>
              </a:extLst>
            </p:cNvPr>
            <p:cNvSpPr>
              <a:spLocks/>
            </p:cNvSpPr>
            <p:nvPr/>
          </p:nvSpPr>
          <p:spPr bwMode="auto">
            <a:xfrm>
              <a:off x="6884304" y="5595017"/>
              <a:ext cx="285323" cy="301568"/>
            </a:xfrm>
            <a:custGeom>
              <a:avLst/>
              <a:gdLst>
                <a:gd name="T0" fmla="*/ 563 w 563"/>
                <a:gd name="T1" fmla="*/ 275 h 594"/>
                <a:gd name="T2" fmla="*/ 561 w 563"/>
                <a:gd name="T3" fmla="*/ 219 h 594"/>
                <a:gd name="T4" fmla="*/ 555 w 563"/>
                <a:gd name="T5" fmla="*/ 167 h 594"/>
                <a:gd name="T6" fmla="*/ 542 w 563"/>
                <a:gd name="T7" fmla="*/ 120 h 594"/>
                <a:gd name="T8" fmla="*/ 523 w 563"/>
                <a:gd name="T9" fmla="*/ 79 h 594"/>
                <a:gd name="T10" fmla="*/ 510 w 563"/>
                <a:gd name="T11" fmla="*/ 61 h 594"/>
                <a:gd name="T12" fmla="*/ 495 w 563"/>
                <a:gd name="T13" fmla="*/ 46 h 594"/>
                <a:gd name="T14" fmla="*/ 477 w 563"/>
                <a:gd name="T15" fmla="*/ 32 h 594"/>
                <a:gd name="T16" fmla="*/ 457 w 563"/>
                <a:gd name="T17" fmla="*/ 21 h 594"/>
                <a:gd name="T18" fmla="*/ 433 w 563"/>
                <a:gd name="T19" fmla="*/ 12 h 594"/>
                <a:gd name="T20" fmla="*/ 408 w 563"/>
                <a:gd name="T21" fmla="*/ 5 h 594"/>
                <a:gd name="T22" fmla="*/ 379 w 563"/>
                <a:gd name="T23" fmla="*/ 1 h 594"/>
                <a:gd name="T24" fmla="*/ 346 w 563"/>
                <a:gd name="T25" fmla="*/ 0 h 594"/>
                <a:gd name="T26" fmla="*/ 330 w 563"/>
                <a:gd name="T27" fmla="*/ 0 h 594"/>
                <a:gd name="T28" fmla="*/ 300 w 563"/>
                <a:gd name="T29" fmla="*/ 5 h 594"/>
                <a:gd name="T30" fmla="*/ 272 w 563"/>
                <a:gd name="T31" fmla="*/ 12 h 594"/>
                <a:gd name="T32" fmla="*/ 249 w 563"/>
                <a:gd name="T33" fmla="*/ 22 h 594"/>
                <a:gd name="T34" fmla="*/ 226 w 563"/>
                <a:gd name="T35" fmla="*/ 37 h 594"/>
                <a:gd name="T36" fmla="*/ 209 w 563"/>
                <a:gd name="T37" fmla="*/ 52 h 594"/>
                <a:gd name="T38" fmla="*/ 193 w 563"/>
                <a:gd name="T39" fmla="*/ 67 h 594"/>
                <a:gd name="T40" fmla="*/ 176 w 563"/>
                <a:gd name="T41" fmla="*/ 93 h 594"/>
                <a:gd name="T42" fmla="*/ 173 w 563"/>
                <a:gd name="T43" fmla="*/ 14 h 594"/>
                <a:gd name="T44" fmla="*/ 0 w 563"/>
                <a:gd name="T45" fmla="*/ 594 h 594"/>
                <a:gd name="T46" fmla="*/ 180 w 563"/>
                <a:gd name="T47" fmla="*/ 307 h 594"/>
                <a:gd name="T48" fmla="*/ 181 w 563"/>
                <a:gd name="T49" fmla="*/ 279 h 594"/>
                <a:gd name="T50" fmla="*/ 186 w 563"/>
                <a:gd name="T51" fmla="*/ 239 h 594"/>
                <a:gd name="T52" fmla="*/ 194 w 563"/>
                <a:gd name="T53" fmla="*/ 215 h 594"/>
                <a:gd name="T54" fmla="*/ 205 w 563"/>
                <a:gd name="T55" fmla="*/ 194 h 594"/>
                <a:gd name="T56" fmla="*/ 222 w 563"/>
                <a:gd name="T57" fmla="*/ 178 h 594"/>
                <a:gd name="T58" fmla="*/ 244 w 563"/>
                <a:gd name="T59" fmla="*/ 166 h 594"/>
                <a:gd name="T60" fmla="*/ 272 w 563"/>
                <a:gd name="T61" fmla="*/ 159 h 594"/>
                <a:gd name="T62" fmla="*/ 289 w 563"/>
                <a:gd name="T63" fmla="*/ 158 h 594"/>
                <a:gd name="T64" fmla="*/ 319 w 563"/>
                <a:gd name="T65" fmla="*/ 162 h 594"/>
                <a:gd name="T66" fmla="*/ 343 w 563"/>
                <a:gd name="T67" fmla="*/ 173 h 594"/>
                <a:gd name="T68" fmla="*/ 359 w 563"/>
                <a:gd name="T69" fmla="*/ 189 h 594"/>
                <a:gd name="T70" fmla="*/ 370 w 563"/>
                <a:gd name="T71" fmla="*/ 209 h 594"/>
                <a:gd name="T72" fmla="*/ 377 w 563"/>
                <a:gd name="T73" fmla="*/ 234 h 594"/>
                <a:gd name="T74" fmla="*/ 380 w 563"/>
                <a:gd name="T75" fmla="*/ 260 h 594"/>
                <a:gd name="T76" fmla="*/ 383 w 563"/>
                <a:gd name="T77" fmla="*/ 312 h 594"/>
                <a:gd name="T78" fmla="*/ 563 w 563"/>
                <a:gd name="T79"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3" h="594">
                  <a:moveTo>
                    <a:pt x="563" y="275"/>
                  </a:moveTo>
                  <a:lnTo>
                    <a:pt x="563" y="275"/>
                  </a:lnTo>
                  <a:lnTo>
                    <a:pt x="562" y="247"/>
                  </a:lnTo>
                  <a:lnTo>
                    <a:pt x="561" y="219"/>
                  </a:lnTo>
                  <a:lnTo>
                    <a:pt x="558" y="192"/>
                  </a:lnTo>
                  <a:lnTo>
                    <a:pt x="555" y="167"/>
                  </a:lnTo>
                  <a:lnTo>
                    <a:pt x="549" y="142"/>
                  </a:lnTo>
                  <a:lnTo>
                    <a:pt x="542" y="120"/>
                  </a:lnTo>
                  <a:lnTo>
                    <a:pt x="534" y="99"/>
                  </a:lnTo>
                  <a:lnTo>
                    <a:pt x="523" y="79"/>
                  </a:lnTo>
                  <a:lnTo>
                    <a:pt x="517" y="71"/>
                  </a:lnTo>
                  <a:lnTo>
                    <a:pt x="510" y="61"/>
                  </a:lnTo>
                  <a:lnTo>
                    <a:pt x="503" y="53"/>
                  </a:lnTo>
                  <a:lnTo>
                    <a:pt x="495" y="46"/>
                  </a:lnTo>
                  <a:lnTo>
                    <a:pt x="486" y="39"/>
                  </a:lnTo>
                  <a:lnTo>
                    <a:pt x="477" y="32"/>
                  </a:lnTo>
                  <a:lnTo>
                    <a:pt x="468" y="26"/>
                  </a:lnTo>
                  <a:lnTo>
                    <a:pt x="457" y="21"/>
                  </a:lnTo>
                  <a:lnTo>
                    <a:pt x="446" y="17"/>
                  </a:lnTo>
                  <a:lnTo>
                    <a:pt x="433" y="12"/>
                  </a:lnTo>
                  <a:lnTo>
                    <a:pt x="422" y="8"/>
                  </a:lnTo>
                  <a:lnTo>
                    <a:pt x="408" y="5"/>
                  </a:lnTo>
                  <a:lnTo>
                    <a:pt x="393" y="2"/>
                  </a:lnTo>
                  <a:lnTo>
                    <a:pt x="379" y="1"/>
                  </a:lnTo>
                  <a:lnTo>
                    <a:pt x="363" y="0"/>
                  </a:lnTo>
                  <a:lnTo>
                    <a:pt x="346" y="0"/>
                  </a:lnTo>
                  <a:lnTo>
                    <a:pt x="346" y="0"/>
                  </a:lnTo>
                  <a:lnTo>
                    <a:pt x="330" y="0"/>
                  </a:lnTo>
                  <a:lnTo>
                    <a:pt x="315" y="1"/>
                  </a:lnTo>
                  <a:lnTo>
                    <a:pt x="300" y="5"/>
                  </a:lnTo>
                  <a:lnTo>
                    <a:pt x="286" y="8"/>
                  </a:lnTo>
                  <a:lnTo>
                    <a:pt x="272" y="12"/>
                  </a:lnTo>
                  <a:lnTo>
                    <a:pt x="260" y="18"/>
                  </a:lnTo>
                  <a:lnTo>
                    <a:pt x="249" y="22"/>
                  </a:lnTo>
                  <a:lnTo>
                    <a:pt x="237" y="29"/>
                  </a:lnTo>
                  <a:lnTo>
                    <a:pt x="226" y="37"/>
                  </a:lnTo>
                  <a:lnTo>
                    <a:pt x="217" y="44"/>
                  </a:lnTo>
                  <a:lnTo>
                    <a:pt x="209" y="52"/>
                  </a:lnTo>
                  <a:lnTo>
                    <a:pt x="200" y="59"/>
                  </a:lnTo>
                  <a:lnTo>
                    <a:pt x="193" y="67"/>
                  </a:lnTo>
                  <a:lnTo>
                    <a:pt x="186" y="76"/>
                  </a:lnTo>
                  <a:lnTo>
                    <a:pt x="176" y="93"/>
                  </a:lnTo>
                  <a:lnTo>
                    <a:pt x="173" y="93"/>
                  </a:lnTo>
                  <a:lnTo>
                    <a:pt x="173" y="14"/>
                  </a:lnTo>
                  <a:lnTo>
                    <a:pt x="0" y="14"/>
                  </a:lnTo>
                  <a:lnTo>
                    <a:pt x="0" y="594"/>
                  </a:lnTo>
                  <a:lnTo>
                    <a:pt x="180" y="594"/>
                  </a:lnTo>
                  <a:lnTo>
                    <a:pt x="180" y="307"/>
                  </a:lnTo>
                  <a:lnTo>
                    <a:pt x="180" y="307"/>
                  </a:lnTo>
                  <a:lnTo>
                    <a:pt x="181" y="279"/>
                  </a:lnTo>
                  <a:lnTo>
                    <a:pt x="184" y="252"/>
                  </a:lnTo>
                  <a:lnTo>
                    <a:pt x="186" y="239"/>
                  </a:lnTo>
                  <a:lnTo>
                    <a:pt x="190" y="227"/>
                  </a:lnTo>
                  <a:lnTo>
                    <a:pt x="194" y="215"/>
                  </a:lnTo>
                  <a:lnTo>
                    <a:pt x="199" y="205"/>
                  </a:lnTo>
                  <a:lnTo>
                    <a:pt x="205" y="194"/>
                  </a:lnTo>
                  <a:lnTo>
                    <a:pt x="213" y="185"/>
                  </a:lnTo>
                  <a:lnTo>
                    <a:pt x="222" y="178"/>
                  </a:lnTo>
                  <a:lnTo>
                    <a:pt x="232" y="171"/>
                  </a:lnTo>
                  <a:lnTo>
                    <a:pt x="244" y="166"/>
                  </a:lnTo>
                  <a:lnTo>
                    <a:pt x="257" y="161"/>
                  </a:lnTo>
                  <a:lnTo>
                    <a:pt x="272" y="159"/>
                  </a:lnTo>
                  <a:lnTo>
                    <a:pt x="289" y="158"/>
                  </a:lnTo>
                  <a:lnTo>
                    <a:pt x="289" y="158"/>
                  </a:lnTo>
                  <a:lnTo>
                    <a:pt x="305" y="159"/>
                  </a:lnTo>
                  <a:lnTo>
                    <a:pt x="319" y="162"/>
                  </a:lnTo>
                  <a:lnTo>
                    <a:pt x="331" y="167"/>
                  </a:lnTo>
                  <a:lnTo>
                    <a:pt x="343" y="173"/>
                  </a:lnTo>
                  <a:lnTo>
                    <a:pt x="351" y="180"/>
                  </a:lnTo>
                  <a:lnTo>
                    <a:pt x="359" y="189"/>
                  </a:lnTo>
                  <a:lnTo>
                    <a:pt x="365" y="199"/>
                  </a:lnTo>
                  <a:lnTo>
                    <a:pt x="370" y="209"/>
                  </a:lnTo>
                  <a:lnTo>
                    <a:pt x="375" y="221"/>
                  </a:lnTo>
                  <a:lnTo>
                    <a:pt x="377" y="234"/>
                  </a:lnTo>
                  <a:lnTo>
                    <a:pt x="379" y="246"/>
                  </a:lnTo>
                  <a:lnTo>
                    <a:pt x="380" y="260"/>
                  </a:lnTo>
                  <a:lnTo>
                    <a:pt x="382" y="286"/>
                  </a:lnTo>
                  <a:lnTo>
                    <a:pt x="383" y="312"/>
                  </a:lnTo>
                  <a:lnTo>
                    <a:pt x="383" y="594"/>
                  </a:lnTo>
                  <a:lnTo>
                    <a:pt x="563" y="594"/>
                  </a:lnTo>
                  <a:lnTo>
                    <a:pt x="563"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grpSp>
      <p:sp>
        <p:nvSpPr>
          <p:cNvPr id="21" name="Freeform 20">
            <a:hlinkClick r:id="rId7"/>
            <a:extLst>
              <a:ext uri="{FF2B5EF4-FFF2-40B4-BE49-F238E27FC236}">
                <a16:creationId xmlns:a16="http://schemas.microsoft.com/office/drawing/2014/main" id="{BC1D8BF7-8BF4-17A9-7E7A-DB518848EFD2}"/>
              </a:ext>
            </a:extLst>
          </p:cNvPr>
          <p:cNvSpPr>
            <a:spLocks/>
          </p:cNvSpPr>
          <p:nvPr userDrawn="1"/>
        </p:nvSpPr>
        <p:spPr bwMode="auto">
          <a:xfrm>
            <a:off x="5124016" y="5537141"/>
            <a:ext cx="442706" cy="359444"/>
          </a:xfrm>
          <a:custGeom>
            <a:avLst/>
            <a:gdLst>
              <a:gd name="T0" fmla="*/ 792 w 871"/>
              <a:gd name="T1" fmla="*/ 39 h 707"/>
              <a:gd name="T2" fmla="*/ 721 w 871"/>
              <a:gd name="T3" fmla="*/ 43 h 707"/>
              <a:gd name="T4" fmla="*/ 658 w 871"/>
              <a:gd name="T5" fmla="*/ 8 h 707"/>
              <a:gd name="T6" fmla="*/ 603 w 871"/>
              <a:gd name="T7" fmla="*/ 0 h 707"/>
              <a:gd name="T8" fmla="*/ 533 w 871"/>
              <a:gd name="T9" fmla="*/ 14 h 707"/>
              <a:gd name="T10" fmla="*/ 477 w 871"/>
              <a:gd name="T11" fmla="*/ 52 h 707"/>
              <a:gd name="T12" fmla="*/ 438 w 871"/>
              <a:gd name="T13" fmla="*/ 108 h 707"/>
              <a:gd name="T14" fmla="*/ 425 w 871"/>
              <a:gd name="T15" fmla="*/ 178 h 707"/>
              <a:gd name="T16" fmla="*/ 429 w 871"/>
              <a:gd name="T17" fmla="*/ 219 h 707"/>
              <a:gd name="T18" fmla="*/ 321 w 871"/>
              <a:gd name="T19" fmla="*/ 201 h 707"/>
              <a:gd name="T20" fmla="*/ 223 w 871"/>
              <a:gd name="T21" fmla="*/ 163 h 707"/>
              <a:gd name="T22" fmla="*/ 135 w 871"/>
              <a:gd name="T23" fmla="*/ 106 h 707"/>
              <a:gd name="T24" fmla="*/ 61 w 871"/>
              <a:gd name="T25" fmla="*/ 32 h 707"/>
              <a:gd name="T26" fmla="*/ 47 w 871"/>
              <a:gd name="T27" fmla="*/ 63 h 707"/>
              <a:gd name="T28" fmla="*/ 38 w 871"/>
              <a:gd name="T29" fmla="*/ 109 h 707"/>
              <a:gd name="T30" fmla="*/ 39 w 871"/>
              <a:gd name="T31" fmla="*/ 145 h 707"/>
              <a:gd name="T32" fmla="*/ 59 w 871"/>
              <a:gd name="T33" fmla="*/ 207 h 707"/>
              <a:gd name="T34" fmla="*/ 117 w 871"/>
              <a:gd name="T35" fmla="*/ 270 h 707"/>
              <a:gd name="T36" fmla="*/ 54 w 871"/>
              <a:gd name="T37" fmla="*/ 257 h 707"/>
              <a:gd name="T38" fmla="*/ 37 w 871"/>
              <a:gd name="T39" fmla="*/ 267 h 707"/>
              <a:gd name="T40" fmla="*/ 52 w 871"/>
              <a:gd name="T41" fmla="*/ 326 h 707"/>
              <a:gd name="T42" fmla="*/ 86 w 871"/>
              <a:gd name="T43" fmla="*/ 375 h 707"/>
              <a:gd name="T44" fmla="*/ 135 w 871"/>
              <a:gd name="T45" fmla="*/ 410 h 707"/>
              <a:gd name="T46" fmla="*/ 179 w 871"/>
              <a:gd name="T47" fmla="*/ 426 h 707"/>
              <a:gd name="T48" fmla="*/ 132 w 871"/>
              <a:gd name="T49" fmla="*/ 432 h 707"/>
              <a:gd name="T50" fmla="*/ 98 w 871"/>
              <a:gd name="T51" fmla="*/ 428 h 707"/>
              <a:gd name="T52" fmla="*/ 122 w 871"/>
              <a:gd name="T53" fmla="*/ 477 h 707"/>
              <a:gd name="T54" fmla="*/ 160 w 871"/>
              <a:gd name="T55" fmla="*/ 516 h 707"/>
              <a:gd name="T56" fmla="*/ 208 w 871"/>
              <a:gd name="T57" fmla="*/ 542 h 707"/>
              <a:gd name="T58" fmla="*/ 265 w 871"/>
              <a:gd name="T59" fmla="*/ 553 h 707"/>
              <a:gd name="T60" fmla="*/ 190 w 871"/>
              <a:gd name="T61" fmla="*/ 597 h 707"/>
              <a:gd name="T62" fmla="*/ 74 w 871"/>
              <a:gd name="T63" fmla="*/ 627 h 707"/>
              <a:gd name="T64" fmla="*/ 0 w 871"/>
              <a:gd name="T65" fmla="*/ 626 h 707"/>
              <a:gd name="T66" fmla="*/ 95 w 871"/>
              <a:gd name="T67" fmla="*/ 674 h 707"/>
              <a:gd name="T68" fmla="*/ 237 w 871"/>
              <a:gd name="T69" fmla="*/ 704 h 707"/>
              <a:gd name="T70" fmla="*/ 334 w 871"/>
              <a:gd name="T71" fmla="*/ 703 h 707"/>
              <a:gd name="T72" fmla="*/ 443 w 871"/>
              <a:gd name="T73" fmla="*/ 680 h 707"/>
              <a:gd name="T74" fmla="*/ 538 w 871"/>
              <a:gd name="T75" fmla="*/ 636 h 707"/>
              <a:gd name="T76" fmla="*/ 617 w 871"/>
              <a:gd name="T77" fmla="*/ 576 h 707"/>
              <a:gd name="T78" fmla="*/ 682 w 871"/>
              <a:gd name="T79" fmla="*/ 503 h 707"/>
              <a:gd name="T80" fmla="*/ 730 w 871"/>
              <a:gd name="T81" fmla="*/ 421 h 707"/>
              <a:gd name="T82" fmla="*/ 763 w 871"/>
              <a:gd name="T83" fmla="*/ 333 h 707"/>
              <a:gd name="T84" fmla="*/ 781 w 871"/>
              <a:gd name="T85" fmla="*/ 243 h 707"/>
              <a:gd name="T86" fmla="*/ 782 w 871"/>
              <a:gd name="T87" fmla="*/ 175 h 707"/>
              <a:gd name="T88" fmla="*/ 820 w 871"/>
              <a:gd name="T89" fmla="*/ 145 h 707"/>
              <a:gd name="T90" fmla="*/ 862 w 871"/>
              <a:gd name="T91" fmla="*/ 96 h 707"/>
              <a:gd name="T92" fmla="*/ 821 w 871"/>
              <a:gd name="T93" fmla="*/ 101 h 707"/>
              <a:gd name="T94" fmla="*/ 782 w 871"/>
              <a:gd name="T95" fmla="*/ 102 h 707"/>
              <a:gd name="T96" fmla="*/ 825 w 871"/>
              <a:gd name="T97" fmla="*/ 5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1" h="707">
                <a:moveTo>
                  <a:pt x="847" y="13"/>
                </a:moveTo>
                <a:lnTo>
                  <a:pt x="847" y="13"/>
                </a:lnTo>
                <a:lnTo>
                  <a:pt x="821" y="27"/>
                </a:lnTo>
                <a:lnTo>
                  <a:pt x="792" y="39"/>
                </a:lnTo>
                <a:lnTo>
                  <a:pt x="763" y="48"/>
                </a:lnTo>
                <a:lnTo>
                  <a:pt x="734" y="56"/>
                </a:lnTo>
                <a:lnTo>
                  <a:pt x="734" y="56"/>
                </a:lnTo>
                <a:lnTo>
                  <a:pt x="721" y="43"/>
                </a:lnTo>
                <a:lnTo>
                  <a:pt x="706" y="33"/>
                </a:lnTo>
                <a:lnTo>
                  <a:pt x="691" y="23"/>
                </a:lnTo>
                <a:lnTo>
                  <a:pt x="676" y="15"/>
                </a:lnTo>
                <a:lnTo>
                  <a:pt x="658" y="8"/>
                </a:lnTo>
                <a:lnTo>
                  <a:pt x="641" y="3"/>
                </a:lnTo>
                <a:lnTo>
                  <a:pt x="622" y="1"/>
                </a:lnTo>
                <a:lnTo>
                  <a:pt x="603" y="0"/>
                </a:lnTo>
                <a:lnTo>
                  <a:pt x="603" y="0"/>
                </a:lnTo>
                <a:lnTo>
                  <a:pt x="585" y="1"/>
                </a:lnTo>
                <a:lnTo>
                  <a:pt x="568" y="3"/>
                </a:lnTo>
                <a:lnTo>
                  <a:pt x="550" y="8"/>
                </a:lnTo>
                <a:lnTo>
                  <a:pt x="533" y="14"/>
                </a:lnTo>
                <a:lnTo>
                  <a:pt x="518" y="21"/>
                </a:lnTo>
                <a:lnTo>
                  <a:pt x="503" y="30"/>
                </a:lnTo>
                <a:lnTo>
                  <a:pt x="490" y="40"/>
                </a:lnTo>
                <a:lnTo>
                  <a:pt x="477" y="52"/>
                </a:lnTo>
                <a:lnTo>
                  <a:pt x="465" y="65"/>
                </a:lnTo>
                <a:lnTo>
                  <a:pt x="455" y="79"/>
                </a:lnTo>
                <a:lnTo>
                  <a:pt x="446" y="93"/>
                </a:lnTo>
                <a:lnTo>
                  <a:pt x="438" y="108"/>
                </a:lnTo>
                <a:lnTo>
                  <a:pt x="432" y="125"/>
                </a:lnTo>
                <a:lnTo>
                  <a:pt x="429" y="142"/>
                </a:lnTo>
                <a:lnTo>
                  <a:pt x="425" y="160"/>
                </a:lnTo>
                <a:lnTo>
                  <a:pt x="425" y="178"/>
                </a:lnTo>
                <a:lnTo>
                  <a:pt x="425" y="178"/>
                </a:lnTo>
                <a:lnTo>
                  <a:pt x="426" y="199"/>
                </a:lnTo>
                <a:lnTo>
                  <a:pt x="429" y="219"/>
                </a:lnTo>
                <a:lnTo>
                  <a:pt x="429" y="219"/>
                </a:lnTo>
                <a:lnTo>
                  <a:pt x="402" y="216"/>
                </a:lnTo>
                <a:lnTo>
                  <a:pt x="374" y="213"/>
                </a:lnTo>
                <a:lnTo>
                  <a:pt x="347" y="208"/>
                </a:lnTo>
                <a:lnTo>
                  <a:pt x="321" y="201"/>
                </a:lnTo>
                <a:lnTo>
                  <a:pt x="296" y="194"/>
                </a:lnTo>
                <a:lnTo>
                  <a:pt x="271" y="185"/>
                </a:lnTo>
                <a:lnTo>
                  <a:pt x="246" y="174"/>
                </a:lnTo>
                <a:lnTo>
                  <a:pt x="223" y="163"/>
                </a:lnTo>
                <a:lnTo>
                  <a:pt x="199" y="150"/>
                </a:lnTo>
                <a:lnTo>
                  <a:pt x="177" y="136"/>
                </a:lnTo>
                <a:lnTo>
                  <a:pt x="155" y="122"/>
                </a:lnTo>
                <a:lnTo>
                  <a:pt x="135" y="106"/>
                </a:lnTo>
                <a:lnTo>
                  <a:pt x="115" y="89"/>
                </a:lnTo>
                <a:lnTo>
                  <a:pt x="97" y="70"/>
                </a:lnTo>
                <a:lnTo>
                  <a:pt x="78" y="52"/>
                </a:lnTo>
                <a:lnTo>
                  <a:pt x="61" y="32"/>
                </a:lnTo>
                <a:lnTo>
                  <a:pt x="61" y="32"/>
                </a:lnTo>
                <a:lnTo>
                  <a:pt x="55" y="42"/>
                </a:lnTo>
                <a:lnTo>
                  <a:pt x="51" y="53"/>
                </a:lnTo>
                <a:lnTo>
                  <a:pt x="47" y="63"/>
                </a:lnTo>
                <a:lnTo>
                  <a:pt x="44" y="75"/>
                </a:lnTo>
                <a:lnTo>
                  <a:pt x="40" y="86"/>
                </a:lnTo>
                <a:lnTo>
                  <a:pt x="39" y="98"/>
                </a:lnTo>
                <a:lnTo>
                  <a:pt x="38" y="109"/>
                </a:lnTo>
                <a:lnTo>
                  <a:pt x="37" y="122"/>
                </a:lnTo>
                <a:lnTo>
                  <a:pt x="37" y="122"/>
                </a:lnTo>
                <a:lnTo>
                  <a:pt x="38" y="133"/>
                </a:lnTo>
                <a:lnTo>
                  <a:pt x="39" y="145"/>
                </a:lnTo>
                <a:lnTo>
                  <a:pt x="40" y="156"/>
                </a:lnTo>
                <a:lnTo>
                  <a:pt x="42" y="167"/>
                </a:lnTo>
                <a:lnTo>
                  <a:pt x="49" y="188"/>
                </a:lnTo>
                <a:lnTo>
                  <a:pt x="59" y="207"/>
                </a:lnTo>
                <a:lnTo>
                  <a:pt x="71" y="226"/>
                </a:lnTo>
                <a:lnTo>
                  <a:pt x="84" y="242"/>
                </a:lnTo>
                <a:lnTo>
                  <a:pt x="99" y="257"/>
                </a:lnTo>
                <a:lnTo>
                  <a:pt x="117" y="270"/>
                </a:lnTo>
                <a:lnTo>
                  <a:pt x="117" y="270"/>
                </a:lnTo>
                <a:lnTo>
                  <a:pt x="94" y="268"/>
                </a:lnTo>
                <a:lnTo>
                  <a:pt x="74" y="263"/>
                </a:lnTo>
                <a:lnTo>
                  <a:pt x="54" y="257"/>
                </a:lnTo>
                <a:lnTo>
                  <a:pt x="35" y="248"/>
                </a:lnTo>
                <a:lnTo>
                  <a:pt x="35" y="250"/>
                </a:lnTo>
                <a:lnTo>
                  <a:pt x="35" y="250"/>
                </a:lnTo>
                <a:lnTo>
                  <a:pt x="37" y="267"/>
                </a:lnTo>
                <a:lnTo>
                  <a:pt x="38" y="282"/>
                </a:lnTo>
                <a:lnTo>
                  <a:pt x="41" y="297"/>
                </a:lnTo>
                <a:lnTo>
                  <a:pt x="46" y="312"/>
                </a:lnTo>
                <a:lnTo>
                  <a:pt x="52" y="326"/>
                </a:lnTo>
                <a:lnTo>
                  <a:pt x="59" y="340"/>
                </a:lnTo>
                <a:lnTo>
                  <a:pt x="67" y="352"/>
                </a:lnTo>
                <a:lnTo>
                  <a:pt x="77" y="365"/>
                </a:lnTo>
                <a:lnTo>
                  <a:pt x="86" y="375"/>
                </a:lnTo>
                <a:lnTo>
                  <a:pt x="98" y="386"/>
                </a:lnTo>
                <a:lnTo>
                  <a:pt x="110" y="395"/>
                </a:lnTo>
                <a:lnTo>
                  <a:pt x="121" y="403"/>
                </a:lnTo>
                <a:lnTo>
                  <a:pt x="135" y="410"/>
                </a:lnTo>
                <a:lnTo>
                  <a:pt x="150" y="416"/>
                </a:lnTo>
                <a:lnTo>
                  <a:pt x="164" y="421"/>
                </a:lnTo>
                <a:lnTo>
                  <a:pt x="179" y="426"/>
                </a:lnTo>
                <a:lnTo>
                  <a:pt x="179" y="426"/>
                </a:lnTo>
                <a:lnTo>
                  <a:pt x="167" y="428"/>
                </a:lnTo>
                <a:lnTo>
                  <a:pt x="155" y="430"/>
                </a:lnTo>
                <a:lnTo>
                  <a:pt x="144" y="432"/>
                </a:lnTo>
                <a:lnTo>
                  <a:pt x="132" y="432"/>
                </a:lnTo>
                <a:lnTo>
                  <a:pt x="132" y="432"/>
                </a:lnTo>
                <a:lnTo>
                  <a:pt x="114" y="430"/>
                </a:lnTo>
                <a:lnTo>
                  <a:pt x="98" y="428"/>
                </a:lnTo>
                <a:lnTo>
                  <a:pt x="98" y="428"/>
                </a:lnTo>
                <a:lnTo>
                  <a:pt x="102" y="441"/>
                </a:lnTo>
                <a:lnTo>
                  <a:pt x="108" y="454"/>
                </a:lnTo>
                <a:lnTo>
                  <a:pt x="115" y="466"/>
                </a:lnTo>
                <a:lnTo>
                  <a:pt x="122" y="477"/>
                </a:lnTo>
                <a:lnTo>
                  <a:pt x="131" y="488"/>
                </a:lnTo>
                <a:lnTo>
                  <a:pt x="140" y="499"/>
                </a:lnTo>
                <a:lnTo>
                  <a:pt x="150" y="508"/>
                </a:lnTo>
                <a:lnTo>
                  <a:pt x="160" y="516"/>
                </a:lnTo>
                <a:lnTo>
                  <a:pt x="172" y="524"/>
                </a:lnTo>
                <a:lnTo>
                  <a:pt x="184" y="532"/>
                </a:lnTo>
                <a:lnTo>
                  <a:pt x="197" y="537"/>
                </a:lnTo>
                <a:lnTo>
                  <a:pt x="208" y="542"/>
                </a:lnTo>
                <a:lnTo>
                  <a:pt x="223" y="547"/>
                </a:lnTo>
                <a:lnTo>
                  <a:pt x="237" y="549"/>
                </a:lnTo>
                <a:lnTo>
                  <a:pt x="251" y="552"/>
                </a:lnTo>
                <a:lnTo>
                  <a:pt x="265" y="553"/>
                </a:lnTo>
                <a:lnTo>
                  <a:pt x="265" y="553"/>
                </a:lnTo>
                <a:lnTo>
                  <a:pt x="241" y="569"/>
                </a:lnTo>
                <a:lnTo>
                  <a:pt x="217" y="584"/>
                </a:lnTo>
                <a:lnTo>
                  <a:pt x="190" y="597"/>
                </a:lnTo>
                <a:lnTo>
                  <a:pt x="162" y="608"/>
                </a:lnTo>
                <a:lnTo>
                  <a:pt x="134" y="617"/>
                </a:lnTo>
                <a:lnTo>
                  <a:pt x="105" y="623"/>
                </a:lnTo>
                <a:lnTo>
                  <a:pt x="74" y="627"/>
                </a:lnTo>
                <a:lnTo>
                  <a:pt x="44" y="628"/>
                </a:lnTo>
                <a:lnTo>
                  <a:pt x="44" y="628"/>
                </a:lnTo>
                <a:lnTo>
                  <a:pt x="21" y="628"/>
                </a:lnTo>
                <a:lnTo>
                  <a:pt x="0" y="626"/>
                </a:lnTo>
                <a:lnTo>
                  <a:pt x="0" y="626"/>
                </a:lnTo>
                <a:lnTo>
                  <a:pt x="31" y="644"/>
                </a:lnTo>
                <a:lnTo>
                  <a:pt x="62" y="660"/>
                </a:lnTo>
                <a:lnTo>
                  <a:pt x="95" y="674"/>
                </a:lnTo>
                <a:lnTo>
                  <a:pt x="130" y="686"/>
                </a:lnTo>
                <a:lnTo>
                  <a:pt x="164" y="694"/>
                </a:lnTo>
                <a:lnTo>
                  <a:pt x="200" y="701"/>
                </a:lnTo>
                <a:lnTo>
                  <a:pt x="237" y="704"/>
                </a:lnTo>
                <a:lnTo>
                  <a:pt x="274" y="707"/>
                </a:lnTo>
                <a:lnTo>
                  <a:pt x="274" y="707"/>
                </a:lnTo>
                <a:lnTo>
                  <a:pt x="305" y="706"/>
                </a:lnTo>
                <a:lnTo>
                  <a:pt x="334" y="703"/>
                </a:lnTo>
                <a:lnTo>
                  <a:pt x="363" y="700"/>
                </a:lnTo>
                <a:lnTo>
                  <a:pt x="390" y="694"/>
                </a:lnTo>
                <a:lnTo>
                  <a:pt x="417" y="688"/>
                </a:lnTo>
                <a:lnTo>
                  <a:pt x="443" y="680"/>
                </a:lnTo>
                <a:lnTo>
                  <a:pt x="469" y="670"/>
                </a:lnTo>
                <a:lnTo>
                  <a:pt x="492" y="660"/>
                </a:lnTo>
                <a:lnTo>
                  <a:pt x="516" y="648"/>
                </a:lnTo>
                <a:lnTo>
                  <a:pt x="538" y="636"/>
                </a:lnTo>
                <a:lnTo>
                  <a:pt x="559" y="622"/>
                </a:lnTo>
                <a:lnTo>
                  <a:pt x="579" y="608"/>
                </a:lnTo>
                <a:lnTo>
                  <a:pt x="599" y="593"/>
                </a:lnTo>
                <a:lnTo>
                  <a:pt x="617" y="576"/>
                </a:lnTo>
                <a:lnTo>
                  <a:pt x="635" y="559"/>
                </a:lnTo>
                <a:lnTo>
                  <a:pt x="651" y="541"/>
                </a:lnTo>
                <a:lnTo>
                  <a:pt x="668" y="522"/>
                </a:lnTo>
                <a:lnTo>
                  <a:pt x="682" y="503"/>
                </a:lnTo>
                <a:lnTo>
                  <a:pt x="696" y="483"/>
                </a:lnTo>
                <a:lnTo>
                  <a:pt x="708" y="463"/>
                </a:lnTo>
                <a:lnTo>
                  <a:pt x="719" y="442"/>
                </a:lnTo>
                <a:lnTo>
                  <a:pt x="730" y="421"/>
                </a:lnTo>
                <a:lnTo>
                  <a:pt x="741" y="400"/>
                </a:lnTo>
                <a:lnTo>
                  <a:pt x="749" y="377"/>
                </a:lnTo>
                <a:lnTo>
                  <a:pt x="757" y="355"/>
                </a:lnTo>
                <a:lnTo>
                  <a:pt x="763" y="333"/>
                </a:lnTo>
                <a:lnTo>
                  <a:pt x="769" y="310"/>
                </a:lnTo>
                <a:lnTo>
                  <a:pt x="774" y="288"/>
                </a:lnTo>
                <a:lnTo>
                  <a:pt x="777" y="266"/>
                </a:lnTo>
                <a:lnTo>
                  <a:pt x="781" y="243"/>
                </a:lnTo>
                <a:lnTo>
                  <a:pt x="782" y="221"/>
                </a:lnTo>
                <a:lnTo>
                  <a:pt x="782" y="199"/>
                </a:lnTo>
                <a:lnTo>
                  <a:pt x="782" y="199"/>
                </a:lnTo>
                <a:lnTo>
                  <a:pt x="782" y="175"/>
                </a:lnTo>
                <a:lnTo>
                  <a:pt x="782" y="175"/>
                </a:lnTo>
                <a:lnTo>
                  <a:pt x="795" y="166"/>
                </a:lnTo>
                <a:lnTo>
                  <a:pt x="807" y="155"/>
                </a:lnTo>
                <a:lnTo>
                  <a:pt x="820" y="145"/>
                </a:lnTo>
                <a:lnTo>
                  <a:pt x="830" y="133"/>
                </a:lnTo>
                <a:lnTo>
                  <a:pt x="842" y="121"/>
                </a:lnTo>
                <a:lnTo>
                  <a:pt x="851" y="109"/>
                </a:lnTo>
                <a:lnTo>
                  <a:pt x="862" y="96"/>
                </a:lnTo>
                <a:lnTo>
                  <a:pt x="871" y="83"/>
                </a:lnTo>
                <a:lnTo>
                  <a:pt x="871" y="83"/>
                </a:lnTo>
                <a:lnTo>
                  <a:pt x="847" y="93"/>
                </a:lnTo>
                <a:lnTo>
                  <a:pt x="821" y="101"/>
                </a:lnTo>
                <a:lnTo>
                  <a:pt x="795" y="107"/>
                </a:lnTo>
                <a:lnTo>
                  <a:pt x="769" y="112"/>
                </a:lnTo>
                <a:lnTo>
                  <a:pt x="769" y="112"/>
                </a:lnTo>
                <a:lnTo>
                  <a:pt x="782" y="102"/>
                </a:lnTo>
                <a:lnTo>
                  <a:pt x="795" y="93"/>
                </a:lnTo>
                <a:lnTo>
                  <a:pt x="805" y="81"/>
                </a:lnTo>
                <a:lnTo>
                  <a:pt x="816" y="69"/>
                </a:lnTo>
                <a:lnTo>
                  <a:pt x="825" y="56"/>
                </a:lnTo>
                <a:lnTo>
                  <a:pt x="834" y="42"/>
                </a:lnTo>
                <a:lnTo>
                  <a:pt x="841" y="28"/>
                </a:lnTo>
                <a:lnTo>
                  <a:pt x="847"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22" name="Freeform 21">
            <a:hlinkClick r:id="rId8"/>
            <a:extLst>
              <a:ext uri="{FF2B5EF4-FFF2-40B4-BE49-F238E27FC236}">
                <a16:creationId xmlns:a16="http://schemas.microsoft.com/office/drawing/2014/main" id="{451C9E59-6B15-DE9D-C011-A12FE638D97A}"/>
              </a:ext>
            </a:extLst>
          </p:cNvPr>
          <p:cNvSpPr>
            <a:spLocks/>
          </p:cNvSpPr>
          <p:nvPr userDrawn="1"/>
        </p:nvSpPr>
        <p:spPr bwMode="auto">
          <a:xfrm>
            <a:off x="4370009" y="5455909"/>
            <a:ext cx="213230" cy="440675"/>
          </a:xfrm>
          <a:custGeom>
            <a:avLst/>
            <a:gdLst>
              <a:gd name="T0" fmla="*/ 0 w 419"/>
              <a:gd name="T1" fmla="*/ 249 h 868"/>
              <a:gd name="T2" fmla="*/ 91 w 419"/>
              <a:gd name="T3" fmla="*/ 249 h 868"/>
              <a:gd name="T4" fmla="*/ 91 w 419"/>
              <a:gd name="T5" fmla="*/ 203 h 868"/>
              <a:gd name="T6" fmla="*/ 91 w 419"/>
              <a:gd name="T7" fmla="*/ 203 h 868"/>
              <a:gd name="T8" fmla="*/ 92 w 419"/>
              <a:gd name="T9" fmla="*/ 167 h 868"/>
              <a:gd name="T10" fmla="*/ 95 w 419"/>
              <a:gd name="T11" fmla="*/ 135 h 868"/>
              <a:gd name="T12" fmla="*/ 98 w 419"/>
              <a:gd name="T13" fmla="*/ 121 h 868"/>
              <a:gd name="T14" fmla="*/ 100 w 419"/>
              <a:gd name="T15" fmla="*/ 108 h 868"/>
              <a:gd name="T16" fmla="*/ 103 w 419"/>
              <a:gd name="T17" fmla="*/ 96 h 868"/>
              <a:gd name="T18" fmla="*/ 108 w 419"/>
              <a:gd name="T19" fmla="*/ 87 h 868"/>
              <a:gd name="T20" fmla="*/ 108 w 419"/>
              <a:gd name="T21" fmla="*/ 87 h 868"/>
              <a:gd name="T22" fmla="*/ 113 w 419"/>
              <a:gd name="T23" fmla="*/ 78 h 868"/>
              <a:gd name="T24" fmla="*/ 118 w 419"/>
              <a:gd name="T25" fmla="*/ 68 h 868"/>
              <a:gd name="T26" fmla="*/ 125 w 419"/>
              <a:gd name="T27" fmla="*/ 60 h 868"/>
              <a:gd name="T28" fmla="*/ 132 w 419"/>
              <a:gd name="T29" fmla="*/ 52 h 868"/>
              <a:gd name="T30" fmla="*/ 140 w 419"/>
              <a:gd name="T31" fmla="*/ 44 h 868"/>
              <a:gd name="T32" fmla="*/ 148 w 419"/>
              <a:gd name="T33" fmla="*/ 36 h 868"/>
              <a:gd name="T34" fmla="*/ 158 w 419"/>
              <a:gd name="T35" fmla="*/ 31 h 868"/>
              <a:gd name="T36" fmla="*/ 169 w 419"/>
              <a:gd name="T37" fmla="*/ 24 h 868"/>
              <a:gd name="T38" fmla="*/ 169 w 419"/>
              <a:gd name="T39" fmla="*/ 24 h 868"/>
              <a:gd name="T40" fmla="*/ 180 w 419"/>
              <a:gd name="T41" fmla="*/ 19 h 868"/>
              <a:gd name="T42" fmla="*/ 193 w 419"/>
              <a:gd name="T43" fmla="*/ 13 h 868"/>
              <a:gd name="T44" fmla="*/ 206 w 419"/>
              <a:gd name="T45" fmla="*/ 9 h 868"/>
              <a:gd name="T46" fmla="*/ 219 w 419"/>
              <a:gd name="T47" fmla="*/ 6 h 868"/>
              <a:gd name="T48" fmla="*/ 234 w 419"/>
              <a:gd name="T49" fmla="*/ 4 h 868"/>
              <a:gd name="T50" fmla="*/ 249 w 419"/>
              <a:gd name="T51" fmla="*/ 1 h 868"/>
              <a:gd name="T52" fmla="*/ 265 w 419"/>
              <a:gd name="T53" fmla="*/ 0 h 868"/>
              <a:gd name="T54" fmla="*/ 281 w 419"/>
              <a:gd name="T55" fmla="*/ 0 h 868"/>
              <a:gd name="T56" fmla="*/ 281 w 419"/>
              <a:gd name="T57" fmla="*/ 0 h 868"/>
              <a:gd name="T58" fmla="*/ 317 w 419"/>
              <a:gd name="T59" fmla="*/ 1 h 868"/>
              <a:gd name="T60" fmla="*/ 351 w 419"/>
              <a:gd name="T61" fmla="*/ 5 h 868"/>
              <a:gd name="T62" fmla="*/ 385 w 419"/>
              <a:gd name="T63" fmla="*/ 12 h 868"/>
              <a:gd name="T64" fmla="*/ 419 w 419"/>
              <a:gd name="T65" fmla="*/ 21 h 868"/>
              <a:gd name="T66" fmla="*/ 397 w 419"/>
              <a:gd name="T67" fmla="*/ 135 h 868"/>
              <a:gd name="T68" fmla="*/ 397 w 419"/>
              <a:gd name="T69" fmla="*/ 135 h 868"/>
              <a:gd name="T70" fmla="*/ 377 w 419"/>
              <a:gd name="T71" fmla="*/ 131 h 868"/>
              <a:gd name="T72" fmla="*/ 358 w 419"/>
              <a:gd name="T73" fmla="*/ 128 h 868"/>
              <a:gd name="T74" fmla="*/ 340 w 419"/>
              <a:gd name="T75" fmla="*/ 126 h 868"/>
              <a:gd name="T76" fmla="*/ 321 w 419"/>
              <a:gd name="T77" fmla="*/ 126 h 868"/>
              <a:gd name="T78" fmla="*/ 321 w 419"/>
              <a:gd name="T79" fmla="*/ 126 h 868"/>
              <a:gd name="T80" fmla="*/ 305 w 419"/>
              <a:gd name="T81" fmla="*/ 127 h 868"/>
              <a:gd name="T82" fmla="*/ 291 w 419"/>
              <a:gd name="T83" fmla="*/ 129 h 868"/>
              <a:gd name="T84" fmla="*/ 285 w 419"/>
              <a:gd name="T85" fmla="*/ 132 h 868"/>
              <a:gd name="T86" fmla="*/ 279 w 419"/>
              <a:gd name="T87" fmla="*/ 135 h 868"/>
              <a:gd name="T88" fmla="*/ 274 w 419"/>
              <a:gd name="T89" fmla="*/ 139 h 868"/>
              <a:gd name="T90" fmla="*/ 271 w 419"/>
              <a:gd name="T91" fmla="*/ 142 h 868"/>
              <a:gd name="T92" fmla="*/ 271 w 419"/>
              <a:gd name="T93" fmla="*/ 142 h 868"/>
              <a:gd name="T94" fmla="*/ 267 w 419"/>
              <a:gd name="T95" fmla="*/ 147 h 868"/>
              <a:gd name="T96" fmla="*/ 264 w 419"/>
              <a:gd name="T97" fmla="*/ 153 h 868"/>
              <a:gd name="T98" fmla="*/ 261 w 419"/>
              <a:gd name="T99" fmla="*/ 159 h 868"/>
              <a:gd name="T100" fmla="*/ 259 w 419"/>
              <a:gd name="T101" fmla="*/ 166 h 868"/>
              <a:gd name="T102" fmla="*/ 255 w 419"/>
              <a:gd name="T103" fmla="*/ 185 h 868"/>
              <a:gd name="T104" fmla="*/ 255 w 419"/>
              <a:gd name="T105" fmla="*/ 206 h 868"/>
              <a:gd name="T106" fmla="*/ 255 w 419"/>
              <a:gd name="T107" fmla="*/ 249 h 868"/>
              <a:gd name="T108" fmla="*/ 378 w 419"/>
              <a:gd name="T109" fmla="*/ 249 h 868"/>
              <a:gd name="T110" fmla="*/ 378 w 419"/>
              <a:gd name="T111" fmla="*/ 379 h 868"/>
              <a:gd name="T112" fmla="*/ 255 w 419"/>
              <a:gd name="T113" fmla="*/ 379 h 868"/>
              <a:gd name="T114" fmla="*/ 255 w 419"/>
              <a:gd name="T115" fmla="*/ 868 h 868"/>
              <a:gd name="T116" fmla="*/ 91 w 419"/>
              <a:gd name="T117" fmla="*/ 868 h 868"/>
              <a:gd name="T118" fmla="*/ 91 w 419"/>
              <a:gd name="T119" fmla="*/ 379 h 868"/>
              <a:gd name="T120" fmla="*/ 0 w 419"/>
              <a:gd name="T121" fmla="*/ 379 h 868"/>
              <a:gd name="T122" fmla="*/ 0 w 419"/>
              <a:gd name="T123" fmla="*/ 249 h 868"/>
              <a:gd name="T124" fmla="*/ 0 w 419"/>
              <a:gd name="T125" fmla="*/ 24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868">
                <a:moveTo>
                  <a:pt x="0" y="249"/>
                </a:moveTo>
                <a:lnTo>
                  <a:pt x="91" y="249"/>
                </a:lnTo>
                <a:lnTo>
                  <a:pt x="91" y="203"/>
                </a:lnTo>
                <a:lnTo>
                  <a:pt x="91" y="203"/>
                </a:lnTo>
                <a:lnTo>
                  <a:pt x="92" y="167"/>
                </a:lnTo>
                <a:lnTo>
                  <a:pt x="95" y="135"/>
                </a:lnTo>
                <a:lnTo>
                  <a:pt x="98" y="121"/>
                </a:lnTo>
                <a:lnTo>
                  <a:pt x="100" y="108"/>
                </a:lnTo>
                <a:lnTo>
                  <a:pt x="103" y="96"/>
                </a:lnTo>
                <a:lnTo>
                  <a:pt x="108" y="87"/>
                </a:lnTo>
                <a:lnTo>
                  <a:pt x="108" y="87"/>
                </a:lnTo>
                <a:lnTo>
                  <a:pt x="113" y="78"/>
                </a:lnTo>
                <a:lnTo>
                  <a:pt x="118" y="68"/>
                </a:lnTo>
                <a:lnTo>
                  <a:pt x="125" y="60"/>
                </a:lnTo>
                <a:lnTo>
                  <a:pt x="132" y="52"/>
                </a:lnTo>
                <a:lnTo>
                  <a:pt x="140" y="44"/>
                </a:lnTo>
                <a:lnTo>
                  <a:pt x="148" y="36"/>
                </a:lnTo>
                <a:lnTo>
                  <a:pt x="158" y="31"/>
                </a:lnTo>
                <a:lnTo>
                  <a:pt x="169" y="24"/>
                </a:lnTo>
                <a:lnTo>
                  <a:pt x="169" y="24"/>
                </a:lnTo>
                <a:lnTo>
                  <a:pt x="180" y="19"/>
                </a:lnTo>
                <a:lnTo>
                  <a:pt x="193" y="13"/>
                </a:lnTo>
                <a:lnTo>
                  <a:pt x="206" y="9"/>
                </a:lnTo>
                <a:lnTo>
                  <a:pt x="219" y="6"/>
                </a:lnTo>
                <a:lnTo>
                  <a:pt x="234" y="4"/>
                </a:lnTo>
                <a:lnTo>
                  <a:pt x="249" y="1"/>
                </a:lnTo>
                <a:lnTo>
                  <a:pt x="265" y="0"/>
                </a:lnTo>
                <a:lnTo>
                  <a:pt x="281" y="0"/>
                </a:lnTo>
                <a:lnTo>
                  <a:pt x="281" y="0"/>
                </a:lnTo>
                <a:lnTo>
                  <a:pt x="317" y="1"/>
                </a:lnTo>
                <a:lnTo>
                  <a:pt x="351" y="5"/>
                </a:lnTo>
                <a:lnTo>
                  <a:pt x="385" y="12"/>
                </a:lnTo>
                <a:lnTo>
                  <a:pt x="419" y="21"/>
                </a:lnTo>
                <a:lnTo>
                  <a:pt x="397" y="135"/>
                </a:lnTo>
                <a:lnTo>
                  <a:pt x="397" y="135"/>
                </a:lnTo>
                <a:lnTo>
                  <a:pt x="377" y="131"/>
                </a:lnTo>
                <a:lnTo>
                  <a:pt x="358" y="128"/>
                </a:lnTo>
                <a:lnTo>
                  <a:pt x="340" y="126"/>
                </a:lnTo>
                <a:lnTo>
                  <a:pt x="321" y="126"/>
                </a:lnTo>
                <a:lnTo>
                  <a:pt x="321" y="126"/>
                </a:lnTo>
                <a:lnTo>
                  <a:pt x="305" y="127"/>
                </a:lnTo>
                <a:lnTo>
                  <a:pt x="291" y="129"/>
                </a:lnTo>
                <a:lnTo>
                  <a:pt x="285" y="132"/>
                </a:lnTo>
                <a:lnTo>
                  <a:pt x="279" y="135"/>
                </a:lnTo>
                <a:lnTo>
                  <a:pt x="274" y="139"/>
                </a:lnTo>
                <a:lnTo>
                  <a:pt x="271" y="142"/>
                </a:lnTo>
                <a:lnTo>
                  <a:pt x="271" y="142"/>
                </a:lnTo>
                <a:lnTo>
                  <a:pt x="267" y="147"/>
                </a:lnTo>
                <a:lnTo>
                  <a:pt x="264" y="153"/>
                </a:lnTo>
                <a:lnTo>
                  <a:pt x="261" y="159"/>
                </a:lnTo>
                <a:lnTo>
                  <a:pt x="259" y="166"/>
                </a:lnTo>
                <a:lnTo>
                  <a:pt x="255" y="185"/>
                </a:lnTo>
                <a:lnTo>
                  <a:pt x="255" y="206"/>
                </a:lnTo>
                <a:lnTo>
                  <a:pt x="255" y="249"/>
                </a:lnTo>
                <a:lnTo>
                  <a:pt x="378" y="249"/>
                </a:lnTo>
                <a:lnTo>
                  <a:pt x="378" y="379"/>
                </a:lnTo>
                <a:lnTo>
                  <a:pt x="255" y="379"/>
                </a:lnTo>
                <a:lnTo>
                  <a:pt x="255" y="868"/>
                </a:lnTo>
                <a:lnTo>
                  <a:pt x="91" y="868"/>
                </a:lnTo>
                <a:lnTo>
                  <a:pt x="91" y="379"/>
                </a:lnTo>
                <a:lnTo>
                  <a:pt x="0" y="379"/>
                </a:lnTo>
                <a:lnTo>
                  <a:pt x="0" y="249"/>
                </a:lnTo>
                <a:lnTo>
                  <a:pt x="0" y="24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solidFill>
                <a:schemeClr val="bg1"/>
              </a:solidFill>
            </a:endParaRPr>
          </a:p>
        </p:txBody>
      </p:sp>
      <p:pic>
        <p:nvPicPr>
          <p:cNvPr id="5" name="Picture 4">
            <a:hlinkClick r:id="rId9"/>
            <a:extLst>
              <a:ext uri="{FF2B5EF4-FFF2-40B4-BE49-F238E27FC236}">
                <a16:creationId xmlns:a16="http://schemas.microsoft.com/office/drawing/2014/main" id="{0F05A33C-9676-F683-5806-B68CE8008DB9}"/>
              </a:ext>
            </a:extLst>
          </p:cNvPr>
          <p:cNvPicPr>
            <a:picLocks noChangeAspect="1"/>
          </p:cNvPicPr>
          <p:nvPr userDrawn="1"/>
        </p:nvPicPr>
        <p:blipFill rotWithShape="1">
          <a:blip r:embed="rId10"/>
          <a:srcRect l="23304" t="23982" r="22737" b="25042"/>
          <a:stretch/>
        </p:blipFill>
        <p:spPr>
          <a:xfrm>
            <a:off x="6922985" y="5437112"/>
            <a:ext cx="569633" cy="538135"/>
          </a:xfrm>
          <a:prstGeom prst="rect">
            <a:avLst/>
          </a:prstGeom>
        </p:spPr>
      </p:pic>
      <p:pic>
        <p:nvPicPr>
          <p:cNvPr id="6" name="Picture 5">
            <a:extLst>
              <a:ext uri="{FF2B5EF4-FFF2-40B4-BE49-F238E27FC236}">
                <a16:creationId xmlns:a16="http://schemas.microsoft.com/office/drawing/2014/main" id="{4447E488-D7EA-7F96-FDFB-221C8062E0E6}"/>
              </a:ext>
            </a:extLst>
          </p:cNvPr>
          <p:cNvPicPr>
            <a:picLocks noChangeAspect="1"/>
          </p:cNvPicPr>
          <p:nvPr userDrawn="1"/>
        </p:nvPicPr>
        <p:blipFill>
          <a:blip r:embed="rId11"/>
          <a:srcRect/>
          <a:stretch/>
        </p:blipFill>
        <p:spPr>
          <a:xfrm>
            <a:off x="10307937" y="6308646"/>
            <a:ext cx="1440000" cy="304457"/>
          </a:xfrm>
          <a:prstGeom prst="rect">
            <a:avLst/>
          </a:prstGeom>
        </p:spPr>
      </p:pic>
      <p:sp>
        <p:nvSpPr>
          <p:cNvPr id="10" name="Date Placeholder 3">
            <a:extLst>
              <a:ext uri="{FF2B5EF4-FFF2-40B4-BE49-F238E27FC236}">
                <a16:creationId xmlns:a16="http://schemas.microsoft.com/office/drawing/2014/main" id="{73F05202-2C5D-3905-0264-FDB24EC430AC}"/>
              </a:ext>
            </a:extLst>
          </p:cNvPr>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ln>
                  <a:noFill/>
                </a:ln>
                <a:solidFill>
                  <a:schemeClr val="bg1"/>
                </a:solidFill>
                <a:latin typeface="+mn-lt"/>
                <a:sym typeface="Trebuchet MS" panose="020B0603020202020204" pitchFamily="34" charset="0"/>
              </a:defRPr>
            </a:lvl1pPr>
          </a:lstStyle>
          <a:p>
            <a:endParaRPr lang="fi-FI"/>
          </a:p>
        </p:txBody>
      </p:sp>
      <p:sp>
        <p:nvSpPr>
          <p:cNvPr id="11" name="TextBox 10">
            <a:extLst>
              <a:ext uri="{FF2B5EF4-FFF2-40B4-BE49-F238E27FC236}">
                <a16:creationId xmlns:a16="http://schemas.microsoft.com/office/drawing/2014/main" id="{87569CB4-9D8F-4F6A-15EA-32ABB97882E9}"/>
              </a:ext>
            </a:extLst>
          </p:cNvPr>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ln>
                  <a:noFill/>
                </a:ln>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ln>
                <a:noFill/>
              </a:ln>
              <a:solidFill>
                <a:schemeClr val="bg1"/>
              </a:solidFill>
              <a:latin typeface="+mn-lt"/>
              <a:ea typeface="+mn-ea"/>
              <a:cs typeface="+mn-cs"/>
              <a:sym typeface="Trebuchet MS" panose="020B0603020202020204" pitchFamily="34" charset="0"/>
            </a:endParaRPr>
          </a:p>
        </p:txBody>
      </p:sp>
      <p:pic>
        <p:nvPicPr>
          <p:cNvPr id="13" name="Picture 12">
            <a:extLst>
              <a:ext uri="{FF2B5EF4-FFF2-40B4-BE49-F238E27FC236}">
                <a16:creationId xmlns:a16="http://schemas.microsoft.com/office/drawing/2014/main" id="{7588E1CB-3CA8-1639-B89F-4D08482EE5A2}"/>
              </a:ext>
            </a:extLst>
          </p:cNvPr>
          <p:cNvPicPr>
            <a:picLocks noChangeAspect="1"/>
          </p:cNvPicPr>
          <p:nvPr userDrawn="1"/>
        </p:nvPicPr>
        <p:blipFill>
          <a:blip r:embed="rId12"/>
          <a:srcRect/>
          <a:stretch/>
        </p:blipFill>
        <p:spPr>
          <a:xfrm>
            <a:off x="0" y="0"/>
            <a:ext cx="12192000" cy="3492500"/>
          </a:xfrm>
          <a:prstGeom prst="rect">
            <a:avLst/>
          </a:prstGeom>
        </p:spPr>
      </p:pic>
      <p:pic>
        <p:nvPicPr>
          <p:cNvPr id="8" name="Picture 7">
            <a:extLst>
              <a:ext uri="{FF2B5EF4-FFF2-40B4-BE49-F238E27FC236}">
                <a16:creationId xmlns:a16="http://schemas.microsoft.com/office/drawing/2014/main" id="{51F181E2-44CC-69AF-0353-2A96D87D6AF2}"/>
              </a:ext>
            </a:extLst>
          </p:cNvPr>
          <p:cNvPicPr>
            <a:picLocks noChangeAspect="1"/>
          </p:cNvPicPr>
          <p:nvPr userDrawn="1"/>
        </p:nvPicPr>
        <p:blipFill>
          <a:blip r:embed="rId13"/>
          <a:srcRect/>
          <a:stretch/>
        </p:blipFill>
        <p:spPr>
          <a:xfrm>
            <a:off x="483281" y="6072252"/>
            <a:ext cx="2428912" cy="540851"/>
          </a:xfrm>
          <a:prstGeom prst="rect">
            <a:avLst/>
          </a:prstGeom>
        </p:spPr>
      </p:pic>
    </p:spTree>
    <p:extLst>
      <p:ext uri="{BB962C8B-B14F-4D97-AF65-F5344CB8AC3E}">
        <p14:creationId xmlns:p14="http://schemas.microsoft.com/office/powerpoint/2010/main" val="2717191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D73C8EC-6BE5-02FA-3779-BE1B93C106FC}"/>
              </a:ext>
            </a:extLst>
          </p:cNvPr>
          <p:cNvPicPr>
            <a:picLocks noChangeAspect="1"/>
          </p:cNvPicPr>
          <p:nvPr userDrawn="1"/>
        </p:nvPicPr>
        <p:blipFill>
          <a:blip r:embed="rId4"/>
          <a:stretch>
            <a:fillRect/>
          </a:stretch>
        </p:blipFill>
        <p:spPr>
          <a:xfrm>
            <a:off x="0" y="0"/>
            <a:ext cx="12192000" cy="34925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Suorakulmio 2">
            <a:extLst>
              <a:ext uri="{FF2B5EF4-FFF2-40B4-BE49-F238E27FC236}">
                <a16:creationId xmlns:a16="http://schemas.microsoft.com/office/drawing/2014/main" id="{9002CB98-9DAB-4B79-AE0F-847429A79BCB}"/>
              </a:ext>
            </a:extLst>
          </p:cNvPr>
          <p:cNvSpPr/>
          <p:nvPr userDrawn="1"/>
        </p:nvSpPr>
        <p:spPr>
          <a:xfrm>
            <a:off x="0" y="3428999"/>
            <a:ext cx="12192000" cy="3429001"/>
          </a:xfrm>
          <a:prstGeom prst="rect">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latin typeface="+mn-lt"/>
              <a:ea typeface="+mn-ea"/>
              <a:cs typeface="+mn-cs"/>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fi-FI" sz="5400" b="0" i="0" baseline="0">
              <a:solidFill>
                <a:srgbClr val="FFFFFF"/>
              </a:solidFill>
              <a:latin typeface="+mn-lt"/>
              <a:ea typeface="+mn-ea"/>
              <a:cs typeface="+mn-cs"/>
              <a:sym typeface="Trebuchet MS" panose="020B0603020202020204" pitchFamily="34" charset="0"/>
            </a:endParaRPr>
          </a:p>
        </p:txBody>
      </p:sp>
      <p:pic>
        <p:nvPicPr>
          <p:cNvPr id="11" name="Kuva 7">
            <a:extLst>
              <a:ext uri="{FF2B5EF4-FFF2-40B4-BE49-F238E27FC236}">
                <a16:creationId xmlns:a16="http://schemas.microsoft.com/office/drawing/2014/main" id="{807B8B39-01F2-45F7-A924-89B941A9F34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50491" y="6323446"/>
            <a:ext cx="1941508" cy="203940"/>
          </a:xfrm>
          <a:prstGeom prst="rect">
            <a:avLst/>
          </a:prstGeom>
        </p:spPr>
      </p:pic>
      <p:sp>
        <p:nvSpPr>
          <p:cNvPr id="10" name="Title 1">
            <a:extLst>
              <a:ext uri="{FF2B5EF4-FFF2-40B4-BE49-F238E27FC236}">
                <a16:creationId xmlns:a16="http://schemas.microsoft.com/office/drawing/2014/main" id="{FA2F9386-90D4-03DE-3450-696FF6062764}"/>
              </a:ext>
            </a:extLst>
          </p:cNvPr>
          <p:cNvSpPr>
            <a:spLocks noGrp="1"/>
          </p:cNvSpPr>
          <p:nvPr>
            <p:ph type="ctrTitle" hasCustomPrompt="1"/>
          </p:nvPr>
        </p:nvSpPr>
        <p:spPr bwMode="ltGray">
          <a:xfrm>
            <a:off x="1816267" y="4125395"/>
            <a:ext cx="8559467" cy="750827"/>
          </a:xfrm>
          <a:prstGeom prst="rect">
            <a:avLst/>
          </a:prstGeom>
        </p:spPr>
        <p:txBody>
          <a:bodyPr vert="horz" anchor="t">
            <a:noAutofit/>
          </a:bodyPr>
          <a:lstStyle>
            <a:lvl1pPr algn="ctr" rtl="0">
              <a:lnSpc>
                <a:spcPct val="93000"/>
              </a:lnSpc>
              <a:defRPr sz="4800" b="0" baseline="0">
                <a:solidFill>
                  <a:schemeClr val="bg1"/>
                </a:solidFill>
                <a:latin typeface="Gilroy ExtraBold" pitchFamily="2" charset="77"/>
                <a:ea typeface="+mj-ea"/>
                <a:cs typeface="+mj-cs"/>
                <a:sym typeface="Trebuchet MS" panose="020B0603020202020204" pitchFamily="34" charset="0"/>
              </a:defRPr>
            </a:lvl1pPr>
          </a:lstStyle>
          <a:p>
            <a:r>
              <a:rPr lang="fi-FI"/>
              <a:t>Otsikko</a:t>
            </a:r>
          </a:p>
        </p:txBody>
      </p:sp>
      <p:sp>
        <p:nvSpPr>
          <p:cNvPr id="13" name="TextBox 12">
            <a:extLst>
              <a:ext uri="{FF2B5EF4-FFF2-40B4-BE49-F238E27FC236}">
                <a16:creationId xmlns:a16="http://schemas.microsoft.com/office/drawing/2014/main" id="{2FB5A58A-551A-F6B3-B564-591AA38C26A2}"/>
              </a:ext>
            </a:extLst>
          </p:cNvPr>
          <p:cNvSpPr txBox="1"/>
          <p:nvPr userDrawn="1"/>
        </p:nvSpPr>
        <p:spPr>
          <a:xfrm>
            <a:off x="11167872"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6730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Otsikko ja sisältö kuvalla v2">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FB0C73B-B32D-27F7-661A-CE0237EEBA59}"/>
              </a:ext>
            </a:extLst>
          </p:cNvPr>
          <p:cNvSpPr>
            <a:spLocks noGrp="1"/>
          </p:cNvSpPr>
          <p:nvPr>
            <p:ph type="title"/>
          </p:nvPr>
        </p:nvSpPr>
        <p:spPr>
          <a:xfrm>
            <a:off x="838200" y="365125"/>
            <a:ext cx="5381847" cy="1325563"/>
          </a:xfrm>
        </p:spPr>
        <p:txBody>
          <a:bodyPr/>
          <a:lstStyle/>
          <a:p>
            <a:r>
              <a:rPr lang="fi-FI"/>
              <a:t>Muokkaa ots. perustyyl. napsautt.</a:t>
            </a:r>
            <a:endParaRPr lang="en-GB"/>
          </a:p>
        </p:txBody>
      </p:sp>
      <p:sp>
        <p:nvSpPr>
          <p:cNvPr id="3" name="Sisällön paikkamerkki 2">
            <a:extLst>
              <a:ext uri="{FF2B5EF4-FFF2-40B4-BE49-F238E27FC236}">
                <a16:creationId xmlns:a16="http://schemas.microsoft.com/office/drawing/2014/main" id="{85C767E1-4CC1-3BA3-F088-4ADA9F6C4BE4}"/>
              </a:ext>
            </a:extLst>
          </p:cNvPr>
          <p:cNvSpPr>
            <a:spLocks noGrp="1"/>
          </p:cNvSpPr>
          <p:nvPr>
            <p:ph idx="1"/>
          </p:nvPr>
        </p:nvSpPr>
        <p:spPr>
          <a:xfrm>
            <a:off x="838200" y="1825625"/>
            <a:ext cx="5381847" cy="406355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Kuvan paikkamerkki 16">
            <a:extLst>
              <a:ext uri="{FF2B5EF4-FFF2-40B4-BE49-F238E27FC236}">
                <a16:creationId xmlns:a16="http://schemas.microsoft.com/office/drawing/2014/main" id="{A4A732CB-C3BA-56FF-8AC2-CC0963E4F15D}"/>
              </a:ext>
            </a:extLst>
          </p:cNvPr>
          <p:cNvSpPr>
            <a:spLocks noGrp="1"/>
          </p:cNvSpPr>
          <p:nvPr>
            <p:ph type="pic" sz="quarter" idx="13"/>
          </p:nvPr>
        </p:nvSpPr>
        <p:spPr>
          <a:xfrm>
            <a:off x="6480138" y="0"/>
            <a:ext cx="5721877" cy="6858000"/>
          </a:xfrm>
          <a:custGeom>
            <a:avLst/>
            <a:gdLst>
              <a:gd name="connsiteX0" fmla="*/ 29568 w 5721877"/>
              <a:gd name="connsiteY0" fmla="*/ 0 h 6858000"/>
              <a:gd name="connsiteX1" fmla="*/ 5721877 w 5721877"/>
              <a:gd name="connsiteY1" fmla="*/ 0 h 6858000"/>
              <a:gd name="connsiteX2" fmla="*/ 5721877 w 5721877"/>
              <a:gd name="connsiteY2" fmla="*/ 6858000 h 6858000"/>
              <a:gd name="connsiteX3" fmla="*/ 3499284 w 5721877"/>
              <a:gd name="connsiteY3" fmla="*/ 6858000 h 6858000"/>
              <a:gd name="connsiteX4" fmla="*/ 3116973 w 5721877"/>
              <a:gd name="connsiteY4" fmla="*/ 6617023 h 6858000"/>
              <a:gd name="connsiteX5" fmla="*/ 0 w 5721877"/>
              <a:gd name="connsiteY5" fmla="*/ 752188 h 6858000"/>
              <a:gd name="connsiteX6" fmla="*/ 0 w 5721877"/>
              <a:gd name="connsiteY6" fmla="*/ 650442 h 6858000"/>
              <a:gd name="connsiteX7" fmla="*/ 29568 w 572187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877" h="6858000">
                <a:moveTo>
                  <a:pt x="29568" y="0"/>
                </a:moveTo>
                <a:lnTo>
                  <a:pt x="5721877" y="0"/>
                </a:lnTo>
                <a:lnTo>
                  <a:pt x="5721877" y="6858000"/>
                </a:lnTo>
                <a:lnTo>
                  <a:pt x="3499284" y="6858000"/>
                </a:lnTo>
                <a:lnTo>
                  <a:pt x="3116973" y="6617023"/>
                </a:lnTo>
                <a:cubicBezTo>
                  <a:pt x="1236338" y="5345512"/>
                  <a:pt x="0" y="3193190"/>
                  <a:pt x="0" y="752188"/>
                </a:cubicBezTo>
                <a:lnTo>
                  <a:pt x="0" y="650442"/>
                </a:lnTo>
                <a:cubicBezTo>
                  <a:pt x="0" y="431155"/>
                  <a:pt x="10006" y="214172"/>
                  <a:pt x="29568" y="0"/>
                </a:cubicBezTo>
                <a:close/>
              </a:path>
            </a:pathLst>
          </a:custGeom>
          <a:solidFill>
            <a:schemeClr val="bg2"/>
          </a:solidFill>
        </p:spPr>
        <p:txBody>
          <a:bodyPr wrap="square">
            <a:noAutofit/>
          </a:bodyPr>
          <a:lstStyle/>
          <a:p>
            <a:endParaRPr lang="en-GB"/>
          </a:p>
        </p:txBody>
      </p:sp>
      <p:sp>
        <p:nvSpPr>
          <p:cNvPr id="4" name="Päivämäärän paikkamerkki 3">
            <a:extLst>
              <a:ext uri="{FF2B5EF4-FFF2-40B4-BE49-F238E27FC236}">
                <a16:creationId xmlns:a16="http://schemas.microsoft.com/office/drawing/2014/main" id="{AA2FDB93-16F7-D64F-A453-7563ED60749C}"/>
              </a:ext>
            </a:extLst>
          </p:cNvPr>
          <p:cNvSpPr>
            <a:spLocks noGrp="1"/>
          </p:cNvSpPr>
          <p:nvPr>
            <p:ph type="dt" sz="half" idx="10"/>
          </p:nvPr>
        </p:nvSpPr>
        <p:spPr/>
        <p:txBody>
          <a:bodyPr/>
          <a:lstStyle/>
          <a:p>
            <a:fld id="{A7DBE7A2-2527-4693-B986-F5F007888342}" type="datetimeFigureOut">
              <a:rPr lang="en-GB" smtClean="0"/>
              <a:t>21/05/2026</a:t>
            </a:fld>
            <a:endParaRPr lang="en-GB"/>
          </a:p>
        </p:txBody>
      </p:sp>
      <p:sp>
        <p:nvSpPr>
          <p:cNvPr id="5" name="Alatunnisteen paikkamerkki 4">
            <a:extLst>
              <a:ext uri="{FF2B5EF4-FFF2-40B4-BE49-F238E27FC236}">
                <a16:creationId xmlns:a16="http://schemas.microsoft.com/office/drawing/2014/main" id="{A6071AA1-0BAC-0875-6DA2-925D855529B7}"/>
              </a:ext>
            </a:extLst>
          </p:cNvPr>
          <p:cNvSpPr>
            <a:spLocks noGrp="1"/>
          </p:cNvSpPr>
          <p:nvPr>
            <p:ph type="ftr" sz="quarter" idx="11"/>
          </p:nvPr>
        </p:nvSpPr>
        <p:spPr/>
        <p:txBody>
          <a:bodyPr/>
          <a:lstStyle/>
          <a:p>
            <a:endParaRPr lang="en-GB"/>
          </a:p>
        </p:txBody>
      </p:sp>
      <p:sp>
        <p:nvSpPr>
          <p:cNvPr id="6" name="Dian numeron paikkamerkki 5">
            <a:extLst>
              <a:ext uri="{FF2B5EF4-FFF2-40B4-BE49-F238E27FC236}">
                <a16:creationId xmlns:a16="http://schemas.microsoft.com/office/drawing/2014/main" id="{E5C945C1-8396-4F24-9B90-E034C3808A7A}"/>
              </a:ext>
            </a:extLst>
          </p:cNvPr>
          <p:cNvSpPr>
            <a:spLocks noGrp="1"/>
          </p:cNvSpPr>
          <p:nvPr>
            <p:ph type="sldNum" sz="quarter" idx="12"/>
          </p:nvPr>
        </p:nvSpPr>
        <p:spPr/>
        <p:txBody>
          <a:bodyPr/>
          <a:lstStyle/>
          <a:p>
            <a:fld id="{9C96A70F-E199-4E62-8D7B-8A236FE9B329}" type="slidenum">
              <a:rPr lang="en-GB" smtClean="0"/>
              <a:t>‹#›</a:t>
            </a:fld>
            <a:endParaRPr lang="en-GB"/>
          </a:p>
        </p:txBody>
      </p:sp>
    </p:spTree>
    <p:extLst>
      <p:ext uri="{BB962C8B-B14F-4D97-AF65-F5344CB8AC3E}">
        <p14:creationId xmlns:p14="http://schemas.microsoft.com/office/powerpoint/2010/main" val="858476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E648422-44D1-5B9A-39EB-A512613318F0}"/>
              </a:ext>
            </a:extLst>
          </p:cNvPr>
          <p:cNvSpPr>
            <a:spLocks noGrp="1"/>
          </p:cNvSpPr>
          <p:nvPr>
            <p:ph type="title"/>
          </p:nvPr>
        </p:nvSpPr>
        <p:spPr>
          <a:xfrm>
            <a:off x="839788" y="457200"/>
            <a:ext cx="3932237" cy="1600200"/>
          </a:xfrm>
        </p:spPr>
        <p:txBody>
          <a:bodyPr anchor="b"/>
          <a:lstStyle>
            <a:lvl1pPr>
              <a:defRPr sz="3200"/>
            </a:lvl1pPr>
          </a:lstStyle>
          <a:p>
            <a:r>
              <a:rPr lang="fi-FI"/>
              <a:t>Muokkaa ots. perustyyl. napsautt.</a:t>
            </a:r>
            <a:endParaRPr lang="en-GB"/>
          </a:p>
        </p:txBody>
      </p:sp>
      <p:sp>
        <p:nvSpPr>
          <p:cNvPr id="3" name="Sisällön paikkamerkki 2">
            <a:extLst>
              <a:ext uri="{FF2B5EF4-FFF2-40B4-BE49-F238E27FC236}">
                <a16:creationId xmlns:a16="http://schemas.microsoft.com/office/drawing/2014/main" id="{08F39A52-E85B-C4AF-3B12-71FCD3C527C2}"/>
              </a:ext>
            </a:extLst>
          </p:cNvPr>
          <p:cNvSpPr>
            <a:spLocks noGrp="1"/>
          </p:cNvSpPr>
          <p:nvPr>
            <p:ph idx="1"/>
          </p:nvPr>
        </p:nvSpPr>
        <p:spPr>
          <a:xfrm>
            <a:off x="5183188" y="987425"/>
            <a:ext cx="6172200" cy="4873625"/>
          </a:xfrm>
        </p:spPr>
        <p:txBody>
          <a:bodyPr>
            <a:normAutofit/>
          </a:bodyPr>
          <a:lstStyle>
            <a:lvl1pPr>
              <a:defRPr sz="16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Tekstin paikkamerkki 3">
            <a:extLst>
              <a:ext uri="{FF2B5EF4-FFF2-40B4-BE49-F238E27FC236}">
                <a16:creationId xmlns:a16="http://schemas.microsoft.com/office/drawing/2014/main" id="{2AEDD68F-8D55-B80B-D5BB-CF6DBCD45878}"/>
              </a:ext>
            </a:extLst>
          </p:cNvPr>
          <p:cNvSpPr>
            <a:spLocks noGrp="1"/>
          </p:cNvSpPr>
          <p:nvPr>
            <p:ph type="body" sz="half" idx="2"/>
          </p:nvPr>
        </p:nvSpPr>
        <p:spPr>
          <a:xfrm>
            <a:off x="839788" y="2152650"/>
            <a:ext cx="3932237" cy="371633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E2E25608-C0E4-72E1-6661-A03AD7602116}"/>
              </a:ext>
            </a:extLst>
          </p:cNvPr>
          <p:cNvSpPr>
            <a:spLocks noGrp="1"/>
          </p:cNvSpPr>
          <p:nvPr>
            <p:ph type="dt" sz="half" idx="10"/>
          </p:nvPr>
        </p:nvSpPr>
        <p:spPr/>
        <p:txBody>
          <a:bodyPr/>
          <a:lstStyle/>
          <a:p>
            <a:fld id="{A7DBE7A2-2527-4693-B986-F5F007888342}" type="datetimeFigureOut">
              <a:rPr lang="en-GB" smtClean="0"/>
              <a:t>21/05/2026</a:t>
            </a:fld>
            <a:endParaRPr lang="en-GB"/>
          </a:p>
        </p:txBody>
      </p:sp>
      <p:sp>
        <p:nvSpPr>
          <p:cNvPr id="6" name="Alatunnisteen paikkamerkki 5">
            <a:extLst>
              <a:ext uri="{FF2B5EF4-FFF2-40B4-BE49-F238E27FC236}">
                <a16:creationId xmlns:a16="http://schemas.microsoft.com/office/drawing/2014/main" id="{7E41DD5E-2A46-4750-DECA-92D23FA85197}"/>
              </a:ext>
            </a:extLst>
          </p:cNvPr>
          <p:cNvSpPr>
            <a:spLocks noGrp="1"/>
          </p:cNvSpPr>
          <p:nvPr>
            <p:ph type="ftr" sz="quarter" idx="11"/>
          </p:nvPr>
        </p:nvSpPr>
        <p:spPr/>
        <p:txBody>
          <a:bodyPr/>
          <a:lstStyle/>
          <a:p>
            <a:endParaRPr lang="en-GB"/>
          </a:p>
        </p:txBody>
      </p:sp>
      <p:sp>
        <p:nvSpPr>
          <p:cNvPr id="7" name="Dian numeron paikkamerkki 6">
            <a:extLst>
              <a:ext uri="{FF2B5EF4-FFF2-40B4-BE49-F238E27FC236}">
                <a16:creationId xmlns:a16="http://schemas.microsoft.com/office/drawing/2014/main" id="{B2F8864F-D109-47CF-8FDE-20965CA2D146}"/>
              </a:ext>
            </a:extLst>
          </p:cNvPr>
          <p:cNvSpPr>
            <a:spLocks noGrp="1"/>
          </p:cNvSpPr>
          <p:nvPr>
            <p:ph type="sldNum" sz="quarter" idx="12"/>
          </p:nvPr>
        </p:nvSpPr>
        <p:spPr/>
        <p:txBody>
          <a:bodyPr/>
          <a:lstStyle/>
          <a:p>
            <a:fld id="{9C96A70F-E199-4E62-8D7B-8A236FE9B329}" type="slidenum">
              <a:rPr lang="en-GB" smtClean="0"/>
              <a:t>‹#›</a:t>
            </a:fld>
            <a:endParaRPr lang="en-GB"/>
          </a:p>
        </p:txBody>
      </p:sp>
    </p:spTree>
    <p:extLst>
      <p:ext uri="{BB962C8B-B14F-4D97-AF65-F5344CB8AC3E}">
        <p14:creationId xmlns:p14="http://schemas.microsoft.com/office/powerpoint/2010/main" val="1343692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Otsikko ja sisältö pitkä">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FB0C73B-B32D-27F7-661A-CE0237EEBA59}"/>
              </a:ext>
            </a:extLst>
          </p:cNvPr>
          <p:cNvSpPr>
            <a:spLocks noGrp="1"/>
          </p:cNvSpPr>
          <p:nvPr>
            <p:ph type="title"/>
          </p:nvPr>
        </p:nvSpPr>
        <p:spPr/>
        <p:txBody>
          <a:bodyPr/>
          <a:lstStyle/>
          <a:p>
            <a:r>
              <a:rPr lang="fi-FI"/>
              <a:t>Muokkaa ots. perustyyl. napsautt.</a:t>
            </a:r>
            <a:endParaRPr lang="en-GB"/>
          </a:p>
        </p:txBody>
      </p:sp>
      <p:sp>
        <p:nvSpPr>
          <p:cNvPr id="3" name="Sisällön paikkamerkki 2">
            <a:extLst>
              <a:ext uri="{FF2B5EF4-FFF2-40B4-BE49-F238E27FC236}">
                <a16:creationId xmlns:a16="http://schemas.microsoft.com/office/drawing/2014/main" id="{85C767E1-4CC1-3BA3-F088-4ADA9F6C4BE4}"/>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Päivämäärän paikkamerkki 3">
            <a:extLst>
              <a:ext uri="{FF2B5EF4-FFF2-40B4-BE49-F238E27FC236}">
                <a16:creationId xmlns:a16="http://schemas.microsoft.com/office/drawing/2014/main" id="{AA2FDB93-16F7-D64F-A453-7563ED60749C}"/>
              </a:ext>
            </a:extLst>
          </p:cNvPr>
          <p:cNvSpPr>
            <a:spLocks noGrp="1"/>
          </p:cNvSpPr>
          <p:nvPr>
            <p:ph type="dt" sz="half" idx="10"/>
          </p:nvPr>
        </p:nvSpPr>
        <p:spPr/>
        <p:txBody>
          <a:bodyPr/>
          <a:lstStyle/>
          <a:p>
            <a:fld id="{A7DBE7A2-2527-4693-B986-F5F007888342}" type="datetimeFigureOut">
              <a:rPr lang="en-GB" smtClean="0"/>
              <a:t>21/05/2026</a:t>
            </a:fld>
            <a:endParaRPr lang="en-GB"/>
          </a:p>
        </p:txBody>
      </p:sp>
      <p:sp>
        <p:nvSpPr>
          <p:cNvPr id="5" name="Alatunnisteen paikkamerkki 4">
            <a:extLst>
              <a:ext uri="{FF2B5EF4-FFF2-40B4-BE49-F238E27FC236}">
                <a16:creationId xmlns:a16="http://schemas.microsoft.com/office/drawing/2014/main" id="{A6071AA1-0BAC-0875-6DA2-925D855529B7}"/>
              </a:ext>
            </a:extLst>
          </p:cNvPr>
          <p:cNvSpPr>
            <a:spLocks noGrp="1"/>
          </p:cNvSpPr>
          <p:nvPr>
            <p:ph type="ftr" sz="quarter" idx="11"/>
          </p:nvPr>
        </p:nvSpPr>
        <p:spPr/>
        <p:txBody>
          <a:bodyPr/>
          <a:lstStyle/>
          <a:p>
            <a:endParaRPr lang="en-GB"/>
          </a:p>
        </p:txBody>
      </p:sp>
      <p:sp>
        <p:nvSpPr>
          <p:cNvPr id="6" name="Dian numeron paikkamerkki 5">
            <a:extLst>
              <a:ext uri="{FF2B5EF4-FFF2-40B4-BE49-F238E27FC236}">
                <a16:creationId xmlns:a16="http://schemas.microsoft.com/office/drawing/2014/main" id="{E5C945C1-8396-4F24-9B90-E034C3808A7A}"/>
              </a:ext>
            </a:extLst>
          </p:cNvPr>
          <p:cNvSpPr>
            <a:spLocks noGrp="1"/>
          </p:cNvSpPr>
          <p:nvPr>
            <p:ph type="sldNum" sz="quarter" idx="12"/>
          </p:nvPr>
        </p:nvSpPr>
        <p:spPr/>
        <p:txBody>
          <a:bodyPr/>
          <a:lstStyle/>
          <a:p>
            <a:fld id="{9C96A70F-E199-4E62-8D7B-8A236FE9B329}" type="slidenum">
              <a:rPr lang="en-GB" smtClean="0"/>
              <a:t>‹#›</a:t>
            </a:fld>
            <a:endParaRPr lang="en-GB"/>
          </a:p>
        </p:txBody>
      </p:sp>
    </p:spTree>
    <p:extLst>
      <p:ext uri="{BB962C8B-B14F-4D97-AF65-F5344CB8AC3E}">
        <p14:creationId xmlns:p14="http://schemas.microsoft.com/office/powerpoint/2010/main" val="271899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matchingName="Otsikkodia" type="title" preserve="1">
  <p:cSld name="Otsikkodia">
    <p:spTree>
      <p:nvGrpSpPr>
        <p:cNvPr id="1" name=""/>
        <p:cNvGrpSpPr/>
        <p:nvPr/>
      </p:nvGrpSpPr>
      <p:grpSpPr>
        <a:xfrm>
          <a:off x="0" y="0"/>
          <a:ext cx="0" cy="0"/>
          <a:chOff x="0" y="0"/>
          <a:chExt cx="0" cy="0"/>
        </a:xfrm>
      </p:grpSpPr>
      <p:sp>
        <p:nvSpPr>
          <p:cNvPr id="21" name="Freeform 6">
            <a:extLst>
              <a:ext uri="{FF2B5EF4-FFF2-40B4-BE49-F238E27FC236}">
                <a16:creationId xmlns:a16="http://schemas.microsoft.com/office/drawing/2014/main" id="{AF5ED276-0204-40E6-B3D6-A29A0811A5A0}"/>
              </a:ext>
              <a:ext uri="{C183D7F6-B498-43B3-948B-1728B52AA6E4}">
                <adec:decorative xmlns:adec="http://schemas.microsoft.com/office/drawing/2017/decorative" val="1"/>
              </a:ext>
            </a:extLst>
          </p:cNvPr>
          <p:cNvSpPr>
            <a:spLocks/>
          </p:cNvSpPr>
          <p:nvPr userDrawn="1"/>
        </p:nvSpPr>
        <p:spPr bwMode="auto">
          <a:xfrm>
            <a:off x="178632" y="3510394"/>
            <a:ext cx="11834341" cy="3159498"/>
          </a:xfrm>
          <a:custGeom>
            <a:avLst/>
            <a:gdLst>
              <a:gd name="T0" fmla="*/ 0 w 32870"/>
              <a:gd name="T1" fmla="*/ 3229 h 8296"/>
              <a:gd name="T2" fmla="*/ 0 w 32870"/>
              <a:gd name="T3" fmla="*/ 8296 h 8296"/>
              <a:gd name="T4" fmla="*/ 16387 w 32870"/>
              <a:gd name="T5" fmla="*/ 4042 h 8296"/>
              <a:gd name="T6" fmla="*/ 32870 w 32870"/>
              <a:gd name="T7" fmla="*/ 4037 h 8296"/>
              <a:gd name="T8" fmla="*/ 32870 w 32870"/>
              <a:gd name="T9" fmla="*/ 0 h 8296"/>
              <a:gd name="T10" fmla="*/ 15744 w 32870"/>
              <a:gd name="T11" fmla="*/ 14 h 8296"/>
              <a:gd name="T12" fmla="*/ 0 w 32870"/>
              <a:gd name="T13" fmla="*/ 3229 h 8296"/>
              <a:gd name="connsiteX0" fmla="*/ 0 w 10000"/>
              <a:gd name="connsiteY0" fmla="*/ 4445 h 10553"/>
              <a:gd name="connsiteX1" fmla="*/ 0 w 10000"/>
              <a:gd name="connsiteY1" fmla="*/ 10553 h 10553"/>
              <a:gd name="connsiteX2" fmla="*/ 4985 w 10000"/>
              <a:gd name="connsiteY2" fmla="*/ 5425 h 10553"/>
              <a:gd name="connsiteX3" fmla="*/ 10000 w 10000"/>
              <a:gd name="connsiteY3" fmla="*/ 5419 h 10553"/>
              <a:gd name="connsiteX4" fmla="*/ 10000 w 10000"/>
              <a:gd name="connsiteY4" fmla="*/ 553 h 10553"/>
              <a:gd name="connsiteX5" fmla="*/ 4601 w 10000"/>
              <a:gd name="connsiteY5" fmla="*/ 0 h 10553"/>
              <a:gd name="connsiteX6" fmla="*/ 0 w 10000"/>
              <a:gd name="connsiteY6" fmla="*/ 4445 h 10553"/>
              <a:gd name="connsiteX0" fmla="*/ 0 w 10000"/>
              <a:gd name="connsiteY0" fmla="*/ 4468 h 10576"/>
              <a:gd name="connsiteX1" fmla="*/ 0 w 10000"/>
              <a:gd name="connsiteY1" fmla="*/ 10576 h 10576"/>
              <a:gd name="connsiteX2" fmla="*/ 4985 w 10000"/>
              <a:gd name="connsiteY2" fmla="*/ 5448 h 10576"/>
              <a:gd name="connsiteX3" fmla="*/ 10000 w 10000"/>
              <a:gd name="connsiteY3" fmla="*/ 5442 h 10576"/>
              <a:gd name="connsiteX4" fmla="*/ 10000 w 10000"/>
              <a:gd name="connsiteY4" fmla="*/ 576 h 10576"/>
              <a:gd name="connsiteX5" fmla="*/ 4601 w 10000"/>
              <a:gd name="connsiteY5" fmla="*/ 23 h 10576"/>
              <a:gd name="connsiteX6" fmla="*/ 0 w 10000"/>
              <a:gd name="connsiteY6" fmla="*/ 4468 h 10576"/>
              <a:gd name="connsiteX0" fmla="*/ 0 w 10000"/>
              <a:gd name="connsiteY0" fmla="*/ 4468 h 10576"/>
              <a:gd name="connsiteX1" fmla="*/ 0 w 10000"/>
              <a:gd name="connsiteY1" fmla="*/ 10576 h 10576"/>
              <a:gd name="connsiteX2" fmla="*/ 4985 w 10000"/>
              <a:gd name="connsiteY2" fmla="*/ 5448 h 10576"/>
              <a:gd name="connsiteX3" fmla="*/ 10000 w 10000"/>
              <a:gd name="connsiteY3" fmla="*/ 5442 h 10576"/>
              <a:gd name="connsiteX4" fmla="*/ 10000 w 10000"/>
              <a:gd name="connsiteY4" fmla="*/ 576 h 10576"/>
              <a:gd name="connsiteX5" fmla="*/ 4601 w 10000"/>
              <a:gd name="connsiteY5" fmla="*/ 23 h 10576"/>
              <a:gd name="connsiteX6" fmla="*/ 0 w 10000"/>
              <a:gd name="connsiteY6" fmla="*/ 4468 h 1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576">
                <a:moveTo>
                  <a:pt x="0" y="4468"/>
                </a:moveTo>
                <a:lnTo>
                  <a:pt x="0" y="10576"/>
                </a:lnTo>
                <a:cubicBezTo>
                  <a:pt x="1195" y="6090"/>
                  <a:pt x="3644" y="5440"/>
                  <a:pt x="4985" y="5448"/>
                </a:cubicBezTo>
                <a:lnTo>
                  <a:pt x="10000" y="5442"/>
                </a:lnTo>
                <a:lnTo>
                  <a:pt x="10000" y="576"/>
                </a:lnTo>
                <a:cubicBezTo>
                  <a:pt x="7689" y="-155"/>
                  <a:pt x="4944" y="14"/>
                  <a:pt x="4601" y="23"/>
                </a:cubicBezTo>
                <a:cubicBezTo>
                  <a:pt x="2299" y="83"/>
                  <a:pt x="342" y="2596"/>
                  <a:pt x="0" y="4468"/>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2" name="Freeform 7">
            <a:extLst>
              <a:ext uri="{FF2B5EF4-FFF2-40B4-BE49-F238E27FC236}">
                <a16:creationId xmlns:a16="http://schemas.microsoft.com/office/drawing/2014/main" id="{18A66D6D-8F98-4660-A768-97FB85B49EDD}"/>
              </a:ext>
              <a:ext uri="{C183D7F6-B498-43B3-948B-1728B52AA6E4}">
                <adec:decorative xmlns:adec="http://schemas.microsoft.com/office/drawing/2017/decorative" val="1"/>
              </a:ext>
            </a:extLst>
          </p:cNvPr>
          <p:cNvSpPr>
            <a:spLocks/>
          </p:cNvSpPr>
          <p:nvPr userDrawn="1"/>
        </p:nvSpPr>
        <p:spPr bwMode="auto">
          <a:xfrm>
            <a:off x="178632" y="180000"/>
            <a:ext cx="11834341" cy="4674025"/>
          </a:xfrm>
          <a:custGeom>
            <a:avLst/>
            <a:gdLst>
              <a:gd name="T0" fmla="*/ 0 w 32870"/>
              <a:gd name="T1" fmla="*/ 4209 h 12980"/>
              <a:gd name="T2" fmla="*/ 0 w 32870"/>
              <a:gd name="T3" fmla="*/ 12980 h 12980"/>
              <a:gd name="T4" fmla="*/ 15744 w 32870"/>
              <a:gd name="T5" fmla="*/ 9766 h 12980"/>
              <a:gd name="T6" fmla="*/ 32870 w 32870"/>
              <a:gd name="T7" fmla="*/ 9751 h 12980"/>
              <a:gd name="T8" fmla="*/ 32870 w 32870"/>
              <a:gd name="T9" fmla="*/ 0 h 12980"/>
              <a:gd name="T10" fmla="*/ 11591 w 32870"/>
              <a:gd name="T11" fmla="*/ 0 h 12980"/>
              <a:gd name="T12" fmla="*/ 0 w 32870"/>
              <a:gd name="T13" fmla="*/ 4209 h 12980"/>
            </a:gdLst>
            <a:ahLst/>
            <a:cxnLst>
              <a:cxn ang="0">
                <a:pos x="T0" y="T1"/>
              </a:cxn>
              <a:cxn ang="0">
                <a:pos x="T2" y="T3"/>
              </a:cxn>
              <a:cxn ang="0">
                <a:pos x="T4" y="T5"/>
              </a:cxn>
              <a:cxn ang="0">
                <a:pos x="T6" y="T7"/>
              </a:cxn>
              <a:cxn ang="0">
                <a:pos x="T8" y="T9"/>
              </a:cxn>
              <a:cxn ang="0">
                <a:pos x="T10" y="T11"/>
              </a:cxn>
              <a:cxn ang="0">
                <a:pos x="T12" y="T13"/>
              </a:cxn>
            </a:cxnLst>
            <a:rect l="0" t="0" r="r" b="b"/>
            <a:pathLst>
              <a:path w="32870" h="12980">
                <a:moveTo>
                  <a:pt x="0" y="4209"/>
                </a:moveTo>
                <a:lnTo>
                  <a:pt x="0" y="12980"/>
                </a:lnTo>
                <a:cubicBezTo>
                  <a:pt x="3166" y="11041"/>
                  <a:pt x="8177" y="9815"/>
                  <a:pt x="15744" y="9766"/>
                </a:cubicBezTo>
                <a:cubicBezTo>
                  <a:pt x="16871" y="9758"/>
                  <a:pt x="24550" y="9754"/>
                  <a:pt x="32870" y="9751"/>
                </a:cubicBezTo>
                <a:lnTo>
                  <a:pt x="32870" y="0"/>
                </a:lnTo>
                <a:lnTo>
                  <a:pt x="11591" y="0"/>
                </a:lnTo>
                <a:cubicBezTo>
                  <a:pt x="10879" y="2578"/>
                  <a:pt x="7831" y="4511"/>
                  <a:pt x="0" y="4209"/>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378395"/>
            <a:ext cx="8193024" cy="1800000"/>
          </a:xfrm>
        </p:spPr>
        <p:txBody>
          <a:bodyPr anchor="ctr" anchorCtr="0"/>
          <a:lstStyle>
            <a:lvl1pPr algn="r">
              <a:lnSpc>
                <a:spcPct val="95000"/>
              </a:lnSpc>
              <a:defRPr sz="3600">
                <a:solidFill>
                  <a:schemeClr val="bg1"/>
                </a:solidFill>
              </a:defRPr>
            </a:lvl1pPr>
          </a:lstStyle>
          <a:p>
            <a:r>
              <a:rPr lang="fi-FI"/>
              <a:t>Otsikko, Esityksen aloitussivu </a:t>
            </a:r>
            <a:br>
              <a:rPr lang="fi-FI"/>
            </a:br>
            <a:r>
              <a:rPr lang="fi-FI"/>
              <a:t>– </a:t>
            </a:r>
            <a:r>
              <a:rPr lang="fi-FI" err="1"/>
              <a:t>Arial</a:t>
            </a:r>
            <a:r>
              <a:rPr lang="fi-FI"/>
              <a:t> </a:t>
            </a:r>
            <a:r>
              <a:rPr lang="fi-FI" err="1"/>
              <a:t>Bold</a:t>
            </a:r>
            <a:br>
              <a:rPr lang="fi-FI"/>
            </a:br>
            <a:r>
              <a:rPr lang="fi-FI" err="1"/>
              <a:t>max</a:t>
            </a:r>
            <a:r>
              <a:rPr lang="fi-FI"/>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2935458" y="5732590"/>
            <a:ext cx="7060949" cy="642035"/>
          </a:xfrm>
        </p:spPr>
        <p:txBody>
          <a:bodyPr/>
          <a:lstStyle>
            <a:lvl1pPr marL="0" indent="0" algn="r">
              <a:lnSpc>
                <a:spcPct val="110000"/>
              </a:lnSpc>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4" name="Päivämäärän paikkamerkki 3">
            <a:extLst>
              <a:ext uri="{FF2B5EF4-FFF2-40B4-BE49-F238E27FC236}">
                <a16:creationId xmlns:a16="http://schemas.microsoft.com/office/drawing/2014/main" id="{FB88DF8E-5E02-40AB-90C4-DE45B779F046}"/>
              </a:ext>
            </a:extLst>
          </p:cNvPr>
          <p:cNvSpPr>
            <a:spLocks noGrp="1"/>
          </p:cNvSpPr>
          <p:nvPr>
            <p:ph type="dt" sz="half" idx="10"/>
          </p:nvPr>
        </p:nvSpPr>
        <p:spPr>
          <a:xfrm>
            <a:off x="10014879" y="5732590"/>
            <a:ext cx="1242000" cy="642035"/>
          </a:xfrm>
        </p:spPr>
        <p:txBody>
          <a:bodyPr vert="horz" lIns="0" tIns="0" rIns="0" bIns="0" rtlCol="0" anchor="t" anchorCtr="0">
            <a:noAutofit/>
          </a:bodyPr>
          <a:lstStyle>
            <a:lvl1pPr>
              <a:defRPr lang="fi-FI" sz="1600" smtClean="0">
                <a:solidFill>
                  <a:schemeClr val="tx2"/>
                </a:solidFill>
              </a:defRPr>
            </a:lvl1pPr>
          </a:lstStyle>
          <a:p>
            <a:pPr algn="r">
              <a:lnSpc>
                <a:spcPct val="110000"/>
              </a:lnSpc>
              <a:buClr>
                <a:schemeClr val="tx2"/>
              </a:buClr>
            </a:pPr>
            <a:r>
              <a:rPr lang="fi-FI"/>
              <a:t>|  17.6.2024</a:t>
            </a:r>
            <a:endParaRPr lang="fi-FI" sz="1600">
              <a:solidFill>
                <a:schemeClr val="tx2"/>
              </a:solidFill>
            </a:endParaRPr>
          </a:p>
        </p:txBody>
      </p:sp>
      <p:sp>
        <p:nvSpPr>
          <p:cNvPr id="5" name="Alatunnisteen paikkamerkki 4">
            <a:extLst>
              <a:ext uri="{FF2B5EF4-FFF2-40B4-BE49-F238E27FC236}">
                <a16:creationId xmlns:a16="http://schemas.microsoft.com/office/drawing/2014/main" id="{9E79E75F-9A0D-4860-913E-C4C401DADF38}"/>
              </a:ext>
            </a:extLst>
          </p:cNvPr>
          <p:cNvSpPr>
            <a:spLocks noGrp="1"/>
          </p:cNvSpPr>
          <p:nvPr>
            <p:ph type="ftr" sz="quarter" idx="11"/>
          </p:nvPr>
        </p:nvSpPr>
        <p:spPr>
          <a:xfrm>
            <a:off x="7128116" y="5455057"/>
            <a:ext cx="4114800" cy="204601"/>
          </a:xfrm>
        </p:spPr>
        <p:txBody>
          <a:bodyPr/>
          <a:lstStyle>
            <a:lvl1pPr algn="r">
              <a:defRPr lang="fi-FI" sz="1600" kern="1200" dirty="0" smtClean="0">
                <a:solidFill>
                  <a:schemeClr val="tx2"/>
                </a:solidFill>
                <a:latin typeface="+mn-lt"/>
                <a:ea typeface="+mn-ea"/>
                <a:cs typeface="+mn-cs"/>
              </a:defRPr>
            </a:lvl1pPr>
          </a:lstStyle>
          <a:p>
            <a:r>
              <a:rPr lang="fi-FI"/>
              <a:t>Annukka Engström</a:t>
            </a:r>
            <a:endParaRPr lang="fi-FI" sz="1600" kern="1200">
              <a:solidFill>
                <a:schemeClr val="tx2"/>
              </a:solidFill>
              <a:latin typeface="+mn-lt"/>
              <a:ea typeface="+mn-ea"/>
              <a:cs typeface="+mn-cs"/>
            </a:endParaRPr>
          </a:p>
        </p:txBody>
      </p:sp>
    </p:spTree>
    <p:extLst>
      <p:ext uri="{BB962C8B-B14F-4D97-AF65-F5344CB8AC3E}">
        <p14:creationId xmlns:p14="http://schemas.microsoft.com/office/powerpoint/2010/main" val="995392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Tyhjä" type="blank" preserve="1">
  <p:cSld name="Tyhjä">
    <p:spTree>
      <p:nvGrpSpPr>
        <p:cNvPr id="1" name=""/>
        <p:cNvGrpSpPr/>
        <p:nvPr/>
      </p:nvGrpSpPr>
      <p:grpSpPr>
        <a:xfrm>
          <a:off x="0" y="0"/>
          <a:ext cx="0" cy="0"/>
          <a:chOff x="0" y="0"/>
          <a:chExt cx="0" cy="0"/>
        </a:xfrm>
      </p:grpSpPr>
      <p:sp>
        <p:nvSpPr>
          <p:cNvPr id="8" name="Dian numeron paikkamerkki 5">
            <a:extLst>
              <a:ext uri="{FF2B5EF4-FFF2-40B4-BE49-F238E27FC236}">
                <a16:creationId xmlns:a16="http://schemas.microsoft.com/office/drawing/2014/main" id="{CB941E6F-111D-4022-8CFD-1CC1B2ADB7ED}"/>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9" name="Päivämäärän paikkamerkki 3">
            <a:extLst>
              <a:ext uri="{FF2B5EF4-FFF2-40B4-BE49-F238E27FC236}">
                <a16:creationId xmlns:a16="http://schemas.microsoft.com/office/drawing/2014/main" id="{3A4A4694-9735-4EF6-8D9E-9C60AE285363}"/>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17.6.2024   |   </a:t>
            </a:r>
          </a:p>
        </p:txBody>
      </p:sp>
      <p:sp>
        <p:nvSpPr>
          <p:cNvPr id="10" name="Alatunnisteen paikkamerkki 4">
            <a:extLst>
              <a:ext uri="{FF2B5EF4-FFF2-40B4-BE49-F238E27FC236}">
                <a16:creationId xmlns:a16="http://schemas.microsoft.com/office/drawing/2014/main" id="{78F21DE0-9EC0-4B8E-AE3C-CC8F7C9E3838}"/>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Annukka Engström</a:t>
            </a:r>
          </a:p>
        </p:txBody>
      </p:sp>
    </p:spTree>
    <p:extLst>
      <p:ext uri="{BB962C8B-B14F-4D97-AF65-F5344CB8AC3E}">
        <p14:creationId xmlns:p14="http://schemas.microsoft.com/office/powerpoint/2010/main" val="72963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Kaavio" preserve="1" userDrawn="1">
  <p:cSld name="Kaavio">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p:txBody>
          <a:bodyPr/>
          <a:lstStyle/>
          <a:p>
            <a:r>
              <a:rPr lang="fi-FI" noProof="0"/>
              <a:t>Graafisivu</a:t>
            </a:r>
            <a:endParaRPr lang="fi-FI"/>
          </a:p>
        </p:txBody>
      </p:sp>
      <p:sp>
        <p:nvSpPr>
          <p:cNvPr id="7" name="Kaavion paikkamerkki 6">
            <a:extLst>
              <a:ext uri="{FF2B5EF4-FFF2-40B4-BE49-F238E27FC236}">
                <a16:creationId xmlns:a16="http://schemas.microsoft.com/office/drawing/2014/main" id="{0579DF22-3A20-4908-84E3-C2B55F28B856}"/>
              </a:ext>
            </a:extLst>
          </p:cNvPr>
          <p:cNvSpPr>
            <a:spLocks noGrp="1"/>
          </p:cNvSpPr>
          <p:nvPr>
            <p:ph type="chart" sz="quarter" idx="13" hasCustomPrompt="1"/>
          </p:nvPr>
        </p:nvSpPr>
        <p:spPr>
          <a:xfrm>
            <a:off x="922338" y="1857375"/>
            <a:ext cx="10636236" cy="4087813"/>
          </a:xfrm>
        </p:spPr>
        <p:txBody>
          <a:bodyPr/>
          <a:lstStyle>
            <a:lvl1pPr>
              <a:defRPr/>
            </a:lvl1pPr>
          </a:lstStyle>
          <a:p>
            <a:r>
              <a:rPr lang="fi-FI"/>
              <a:t>Käytä graafissa esityspohjan väripalettiin määriteltyjä värejä.</a:t>
            </a:r>
          </a:p>
        </p:txBody>
      </p:sp>
      <p:sp>
        <p:nvSpPr>
          <p:cNvPr id="8" name="Dian numeron paikkamerkki 5">
            <a:extLst>
              <a:ext uri="{FF2B5EF4-FFF2-40B4-BE49-F238E27FC236}">
                <a16:creationId xmlns:a16="http://schemas.microsoft.com/office/drawing/2014/main" id="{209C6B0D-979F-4D60-BDCD-B9E08FEB117F}"/>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9" name="Päivämäärän paikkamerkki 3">
            <a:extLst>
              <a:ext uri="{FF2B5EF4-FFF2-40B4-BE49-F238E27FC236}">
                <a16:creationId xmlns:a16="http://schemas.microsoft.com/office/drawing/2014/main" id="{AC29B563-2EC1-44DE-A678-D8C61D32BA36}"/>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17.6.2024   |   </a:t>
            </a:r>
          </a:p>
        </p:txBody>
      </p:sp>
      <p:sp>
        <p:nvSpPr>
          <p:cNvPr id="11" name="Alatunnisteen paikkamerkki 4">
            <a:extLst>
              <a:ext uri="{FF2B5EF4-FFF2-40B4-BE49-F238E27FC236}">
                <a16:creationId xmlns:a16="http://schemas.microsoft.com/office/drawing/2014/main" id="{26AFE581-53A8-4FFC-BC3A-F2173293E0D2}"/>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Annukka Engström</a:t>
            </a:r>
          </a:p>
        </p:txBody>
      </p:sp>
    </p:spTree>
    <p:extLst>
      <p:ext uri="{BB962C8B-B14F-4D97-AF65-F5344CB8AC3E}">
        <p14:creationId xmlns:p14="http://schemas.microsoft.com/office/powerpoint/2010/main" val="2392879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isältödia 3">
    <p:bg>
      <p:bgPr>
        <a:solidFill>
          <a:srgbClr val="B8CDFF">
            <a:alpha val="90000"/>
          </a:srgbClr>
        </a:solidFill>
        <a:effectLst/>
      </p:bgPr>
    </p:bg>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8C84E63B-1195-AAB3-C97D-783A4B14CB5A}"/>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96724">
            <a:off x="-255369" y="5137783"/>
            <a:ext cx="2857500" cy="2857500"/>
          </a:xfrm>
          <a:prstGeom prst="rect">
            <a:avLst/>
          </a:prstGeom>
        </p:spPr>
      </p:pic>
      <p:sp>
        <p:nvSpPr>
          <p:cNvPr id="7" name="Title 1">
            <a:extLst>
              <a:ext uri="{FF2B5EF4-FFF2-40B4-BE49-F238E27FC236}">
                <a16:creationId xmlns:a16="http://schemas.microsoft.com/office/drawing/2014/main" id="{8A1A3FA8-DD8C-A92A-A6FF-CC4A08C77822}"/>
              </a:ext>
            </a:extLst>
          </p:cNvPr>
          <p:cNvSpPr>
            <a:spLocks noGrp="1"/>
          </p:cNvSpPr>
          <p:nvPr>
            <p:ph type="title"/>
          </p:nvPr>
        </p:nvSpPr>
        <p:spPr>
          <a:xfrm>
            <a:off x="838200" y="681037"/>
            <a:ext cx="10515600" cy="1009651"/>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sp>
        <p:nvSpPr>
          <p:cNvPr id="8" name="Päivämäärän paikkamerkki 7">
            <a:extLst>
              <a:ext uri="{FF2B5EF4-FFF2-40B4-BE49-F238E27FC236}">
                <a16:creationId xmlns:a16="http://schemas.microsoft.com/office/drawing/2014/main" id="{7EA9B92F-E54F-36B2-BA86-B096A556773D}"/>
              </a:ext>
            </a:extLst>
          </p:cNvPr>
          <p:cNvSpPr>
            <a:spLocks noGrp="1"/>
          </p:cNvSpPr>
          <p:nvPr>
            <p:ph type="dt" sz="half" idx="10"/>
          </p:nvPr>
        </p:nvSpPr>
        <p:spPr/>
        <p:txBody>
          <a:bodyPr/>
          <a:lstStyle/>
          <a:p>
            <a:endParaRPr lang="fi-FI" dirty="0"/>
          </a:p>
        </p:txBody>
      </p:sp>
      <p:sp>
        <p:nvSpPr>
          <p:cNvPr id="9" name="Alatunnisteen paikkamerkki 8">
            <a:extLst>
              <a:ext uri="{FF2B5EF4-FFF2-40B4-BE49-F238E27FC236}">
                <a16:creationId xmlns:a16="http://schemas.microsoft.com/office/drawing/2014/main" id="{AC309CCB-62A8-F645-AC1C-1F1044D2E7AB}"/>
              </a:ext>
            </a:extLst>
          </p:cNvPr>
          <p:cNvSpPr>
            <a:spLocks noGrp="1"/>
          </p:cNvSpPr>
          <p:nvPr>
            <p:ph type="ftr" sz="quarter" idx="11"/>
          </p:nvPr>
        </p:nvSpPr>
        <p:spPr/>
        <p:txBody>
          <a:bodyPr/>
          <a:lstStyle/>
          <a:p>
            <a:r>
              <a:rPr lang="fi-FI"/>
              <a:t>7</a:t>
            </a:r>
          </a:p>
        </p:txBody>
      </p:sp>
      <p:pic>
        <p:nvPicPr>
          <p:cNvPr id="3" name="Kuva 2">
            <a:extLst>
              <a:ext uri="{FF2B5EF4-FFF2-40B4-BE49-F238E27FC236}">
                <a16:creationId xmlns:a16="http://schemas.microsoft.com/office/drawing/2014/main" id="{A3F32260-DD80-A4E2-BFAD-57AC0C236AAD}"/>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96724">
            <a:off x="-255369" y="5137783"/>
            <a:ext cx="2857500" cy="2857500"/>
          </a:xfrm>
          <a:prstGeom prst="rect">
            <a:avLst/>
          </a:prstGeom>
        </p:spPr>
      </p:pic>
      <p:sp>
        <p:nvSpPr>
          <p:cNvPr id="2" name="Sisällön paikkamerkki 10">
            <a:extLst>
              <a:ext uri="{FF2B5EF4-FFF2-40B4-BE49-F238E27FC236}">
                <a16:creationId xmlns:a16="http://schemas.microsoft.com/office/drawing/2014/main" id="{6DE704F4-8E83-CDEE-BED5-04BEC37B824E}"/>
              </a:ext>
            </a:extLst>
          </p:cNvPr>
          <p:cNvSpPr>
            <a:spLocks noGrp="1"/>
          </p:cNvSpPr>
          <p:nvPr>
            <p:ph sz="quarter" idx="12"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5" name="Graphic 18">
            <a:extLst>
              <a:ext uri="{FF2B5EF4-FFF2-40B4-BE49-F238E27FC236}">
                <a16:creationId xmlns:a16="http://schemas.microsoft.com/office/drawing/2014/main" id="{FC0232F2-1E20-63B6-726A-18AA93E66BF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598737937"/>
      </p:ext>
    </p:extLst>
  </p:cSld>
  <p:clrMapOvr>
    <a:masterClrMapping/>
  </p:clrMapOvr>
  <p:hf sldNum="0" hdr="0" dt="0"/>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Otsikko ja sisältö" preserve="1" userDrawn="1">
  <p:cSld name="Otsikko ja sisältö">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p:txBody>
          <a:bodyPr/>
          <a:lstStyle/>
          <a:p>
            <a:r>
              <a:rPr lang="fi-FI"/>
              <a:t>Tekstisivu, yksipalstainen.</a:t>
            </a:r>
            <a:br>
              <a:rPr lang="fi-FI"/>
            </a:br>
            <a:r>
              <a:rPr lang="fi-FI"/>
              <a:t>Otsikon pituus korkeintaan kaksi riviä</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p:txBody>
          <a:bodyPr/>
          <a:lstStyle>
            <a:lvl1pPr>
              <a:defRPr/>
            </a:lvl1pPr>
          </a:lstStyle>
          <a:p>
            <a:pPr marL="357188" marR="0" lvl="0" indent="-357188" algn="l" defTabSz="914400" rtl="0" eaLnBrk="1" fontAlgn="auto" latinLnBrk="0" hangingPunct="1">
              <a:lnSpc>
                <a:spcPct val="100000"/>
              </a:lnSpc>
              <a:spcBef>
                <a:spcPts val="1000"/>
              </a:spcBef>
              <a:spcAft>
                <a:spcPts val="0"/>
              </a:spcAft>
              <a:buClr>
                <a:schemeClr val="tx2"/>
              </a:buClr>
              <a:buSzTx/>
              <a:buFont typeface="Arial" panose="020B0604020202020204" pitchFamily="34" charset="0"/>
              <a:buChar char="•"/>
              <a:tabLst/>
              <a:defRPr/>
            </a:pPr>
            <a:r>
              <a:rPr lang="fi-FI"/>
              <a:t>Esityksen tekstisisältö tulee aina tiivistää mahdollisimman lyhyeksi.</a:t>
            </a:r>
            <a:br>
              <a:rPr lang="fi-FI"/>
            </a:br>
            <a:r>
              <a:rPr lang="fi-FI"/>
              <a:t>Esityksen tarkoitus on toimia esiintyjän ja kuulijan tukena.</a:t>
            </a:r>
            <a:br>
              <a:rPr lang="fi-FI"/>
            </a:br>
            <a:r>
              <a:rPr lang="fi-FI"/>
              <a:t>     Toinen tekstitaso, jos sivulle tulee enemmän tekstiä.</a:t>
            </a:r>
            <a:br>
              <a:rPr lang="fi-FI"/>
            </a:br>
            <a:r>
              <a:rPr lang="fi-FI"/>
              <a:t>           Kolmas tekstitaso, jos haluat esittää enemmän tekstiä.</a:t>
            </a:r>
            <a:br>
              <a:rPr lang="fi-FI"/>
            </a:br>
            <a:r>
              <a:rPr lang="fi-FI"/>
              <a:t>Muistathan, että kun tekstin koko pienenee, myös viesti pienenee.</a:t>
            </a:r>
            <a:br>
              <a:rPr lang="fi-FI"/>
            </a:br>
            <a:r>
              <a:rPr lang="fi-FI" noProof="0"/>
              <a:t>Esityksen tulee olla myös kaukaa luettavissa.</a:t>
            </a:r>
            <a:endParaRPr lang="fi-FI"/>
          </a:p>
          <a:p>
            <a:pPr marL="715963" marR="0" lvl="1" indent="-357188" algn="l" defTabSz="914400" rtl="0" eaLnBrk="1" fontAlgn="auto" latinLnBrk="0" hangingPunct="1">
              <a:lnSpc>
                <a:spcPct val="100000"/>
              </a:lnSpc>
              <a:spcBef>
                <a:spcPts val="1000"/>
              </a:spcBef>
              <a:spcAft>
                <a:spcPts val="0"/>
              </a:spcAft>
              <a:buClr>
                <a:schemeClr val="tx2"/>
              </a:buClr>
              <a:buSzTx/>
              <a:buFont typeface="Arial" panose="020B0604020202020204" pitchFamily="34" charset="0"/>
              <a:buChar char="•"/>
              <a:tabLst/>
              <a:defRPr/>
            </a:pPr>
            <a:r>
              <a:rPr lang="en-GB"/>
              <a:t>Second level</a:t>
            </a:r>
          </a:p>
          <a:p>
            <a:pPr lvl="2"/>
            <a:r>
              <a:rPr lang="en-GB"/>
              <a:t>Third level</a:t>
            </a:r>
          </a:p>
          <a:p>
            <a:pPr lvl="3"/>
            <a:r>
              <a:rPr lang="en-GB"/>
              <a:t>Fourth level</a:t>
            </a:r>
          </a:p>
          <a:p>
            <a:pPr lvl="4"/>
            <a:r>
              <a:rPr lang="en-GB"/>
              <a:t>Fifth level</a:t>
            </a:r>
            <a:endParaRPr lang="fi-FI"/>
          </a:p>
        </p:txBody>
      </p:sp>
      <p:sp>
        <p:nvSpPr>
          <p:cNvPr id="7" name="Dian numeron paikkamerkki 5">
            <a:extLst>
              <a:ext uri="{FF2B5EF4-FFF2-40B4-BE49-F238E27FC236}">
                <a16:creationId xmlns:a16="http://schemas.microsoft.com/office/drawing/2014/main" id="{59A7EFB5-C255-48FB-AC67-FD651DD26DFA}"/>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8" name="Päivämäärän paikkamerkki 3">
            <a:extLst>
              <a:ext uri="{FF2B5EF4-FFF2-40B4-BE49-F238E27FC236}">
                <a16:creationId xmlns:a16="http://schemas.microsoft.com/office/drawing/2014/main" id="{AFC3A855-B6C3-4D1E-B148-55910A257805}"/>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17.6.2024   |   </a:t>
            </a:r>
          </a:p>
        </p:txBody>
      </p:sp>
      <p:sp>
        <p:nvSpPr>
          <p:cNvPr id="9" name="Alatunnisteen paikkamerkki 4">
            <a:extLst>
              <a:ext uri="{FF2B5EF4-FFF2-40B4-BE49-F238E27FC236}">
                <a16:creationId xmlns:a16="http://schemas.microsoft.com/office/drawing/2014/main" id="{032AC8CB-3366-4A2A-8272-93E368384014}"/>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Annukka Engström</a:t>
            </a:r>
          </a:p>
        </p:txBody>
      </p:sp>
    </p:spTree>
    <p:extLst>
      <p:ext uri="{BB962C8B-B14F-4D97-AF65-F5344CB8AC3E}">
        <p14:creationId xmlns:p14="http://schemas.microsoft.com/office/powerpoint/2010/main" val="1684544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Otsikko ja sisältö">
    <p:spTree>
      <p:nvGrpSpPr>
        <p:cNvPr id="1" name=""/>
        <p:cNvGrpSpPr/>
        <p:nvPr/>
      </p:nvGrpSpPr>
      <p:grpSpPr>
        <a:xfrm>
          <a:off x="0" y="0"/>
          <a:ext cx="0" cy="0"/>
          <a:chOff x="0" y="0"/>
          <a:chExt cx="0" cy="0"/>
        </a:xfrm>
      </p:grpSpPr>
      <p:sp>
        <p:nvSpPr>
          <p:cNvPr id="6" name="Otsikko 6"/>
          <p:cNvSpPr>
            <a:spLocks noGrp="1"/>
          </p:cNvSpPr>
          <p:nvPr>
            <p:ph type="title" hasCustomPrompt="1"/>
          </p:nvPr>
        </p:nvSpPr>
        <p:spPr>
          <a:xfrm>
            <a:off x="1103445" y="1268760"/>
            <a:ext cx="10369152" cy="642942"/>
          </a:xfrm>
          <a:prstGeom prst="rect">
            <a:avLst/>
          </a:prstGeom>
        </p:spPr>
        <p:txBody>
          <a:bodyPr/>
          <a:lstStyle>
            <a:lvl1pPr>
              <a:defRPr sz="3000" baseline="0">
                <a:solidFill>
                  <a:schemeClr val="tx1"/>
                </a:solidFill>
              </a:defRPr>
            </a:lvl1pPr>
          </a:lstStyle>
          <a:p>
            <a:r>
              <a:rPr lang="fi-FI"/>
              <a:t>Lisää otsikko</a:t>
            </a:r>
          </a:p>
        </p:txBody>
      </p:sp>
      <p:sp>
        <p:nvSpPr>
          <p:cNvPr id="8" name="Alatunnisteen paikkamerkki 5"/>
          <p:cNvSpPr>
            <a:spLocks noGrp="1"/>
          </p:cNvSpPr>
          <p:nvPr>
            <p:ph type="ftr" sz="quarter" idx="3"/>
          </p:nvPr>
        </p:nvSpPr>
        <p:spPr>
          <a:xfrm>
            <a:off x="1103445" y="6357938"/>
            <a:ext cx="8928992" cy="365125"/>
          </a:xfrm>
          <a:prstGeom prst="rect">
            <a:avLst/>
          </a:prstGeom>
        </p:spPr>
        <p:txBody>
          <a:bodyPr vert="horz" lIns="91440" tIns="45720" rIns="91440" bIns="45720" rtlCol="0" anchor="ctr"/>
          <a:lstStyle>
            <a:lvl1pPr algn="l">
              <a:defRPr sz="1000" baseline="0" smtClean="0">
                <a:solidFill>
                  <a:schemeClr val="tx1"/>
                </a:solidFill>
                <a:cs typeface="+mn-cs"/>
              </a:defRPr>
            </a:lvl1pPr>
          </a:lstStyle>
          <a:p>
            <a:pPr>
              <a:defRPr/>
            </a:pPr>
            <a:r>
              <a:rPr lang="fi-FI"/>
              <a:t>Annukka Engström</a:t>
            </a:r>
          </a:p>
        </p:txBody>
      </p:sp>
      <p:sp>
        <p:nvSpPr>
          <p:cNvPr id="10" name="Dian numeron paikkamerkki 6"/>
          <p:cNvSpPr>
            <a:spLocks noGrp="1"/>
          </p:cNvSpPr>
          <p:nvPr>
            <p:ph type="sldNum" sz="quarter" idx="4"/>
          </p:nvPr>
        </p:nvSpPr>
        <p:spPr>
          <a:xfrm>
            <a:off x="334931" y="6357936"/>
            <a:ext cx="561824" cy="360040"/>
          </a:xfrm>
          <a:prstGeom prst="rect">
            <a:avLst/>
          </a:prstGeom>
        </p:spPr>
        <p:txBody>
          <a:bodyPr vert="horz" lIns="91440" tIns="45720" rIns="91440" bIns="45720" rtlCol="0" anchor="ctr"/>
          <a:lstStyle>
            <a:lvl1pPr algn="r">
              <a:defRPr sz="1000" baseline="0" smtClean="0">
                <a:solidFill>
                  <a:schemeClr val="tx1"/>
                </a:solidFill>
                <a:cs typeface="+mn-cs"/>
              </a:defRPr>
            </a:lvl1pPr>
          </a:lstStyle>
          <a:p>
            <a:pPr>
              <a:defRPr/>
            </a:pPr>
            <a:fld id="{1F70512E-3501-4C97-9457-F6C16E24E41E}" type="slidenum">
              <a:rPr lang="fi-FI"/>
              <a:pPr>
                <a:defRPr/>
              </a:pPr>
              <a:t>‹#›</a:t>
            </a:fld>
            <a:endParaRPr lang="fi-FI"/>
          </a:p>
        </p:txBody>
      </p:sp>
      <p:sp>
        <p:nvSpPr>
          <p:cNvPr id="9" name="Tekstin paikkamerkki 16"/>
          <p:cNvSpPr>
            <a:spLocks noGrp="1"/>
          </p:cNvSpPr>
          <p:nvPr>
            <p:ph type="body" sz="quarter" idx="11"/>
          </p:nvPr>
        </p:nvSpPr>
        <p:spPr>
          <a:xfrm>
            <a:off x="1103447" y="2090436"/>
            <a:ext cx="10369152" cy="3930853"/>
          </a:xfrm>
          <a:prstGeom prst="rect">
            <a:avLst/>
          </a:prstGeom>
        </p:spPr>
        <p:txBody>
          <a:bodyPr/>
          <a:lstStyle>
            <a:lvl1pPr>
              <a:buClr>
                <a:schemeClr val="accent2"/>
              </a:buClr>
              <a:buFont typeface="Wingdings" pitchFamily="2" charset="2"/>
              <a:buChar char="§"/>
              <a:defRPr sz="2200" baseline="0">
                <a:solidFill>
                  <a:schemeClr val="tx1"/>
                </a:solidFill>
              </a:defRPr>
            </a:lvl1pPr>
            <a:lvl2pPr marL="800100" indent="-342900">
              <a:buFont typeface="Arial" panose="020B0604020202020204" pitchFamily="34" charset="0"/>
              <a:buChar char="–"/>
              <a:defRPr sz="2200"/>
            </a:lvl2pPr>
            <a:lvl3pPr>
              <a:buClr>
                <a:schemeClr val="accent2"/>
              </a:buClr>
              <a:defRPr/>
            </a:lvl3pPr>
            <a:lvl4pPr marL="1600200" indent="-228600">
              <a:buFont typeface="Arial" panose="020B0604020202020204" pitchFamily="34" charset="0"/>
              <a:buChar char="–"/>
              <a:defRPr/>
            </a:lvl4pPr>
            <a:lvl5pPr>
              <a:buClr>
                <a:schemeClr val="accent2"/>
              </a:buClr>
              <a:defRPr/>
            </a:lvl5pPr>
            <a:lvl6pPr marL="2628900" indent="-342900">
              <a:buClr>
                <a:schemeClr val="accent1"/>
              </a:buClr>
              <a:buFont typeface="Wingdings" panose="05000000000000000000" pitchFamily="2" charset="2"/>
              <a:buChar char="§"/>
              <a:defRPr/>
            </a:lvl6pPr>
            <a:lvl7pPr>
              <a:buClr>
                <a:schemeClr val="accent1"/>
              </a:buClr>
              <a:defRPr/>
            </a:lvl7pPr>
            <a:lvl8pPr>
              <a:buClr>
                <a:schemeClr val="accent1"/>
              </a:buClr>
              <a:defRPr/>
            </a:lvl8pPr>
            <a:lvl9pPr>
              <a:buClr>
                <a:schemeClr val="accent1"/>
              </a:buClr>
              <a:defRPr/>
            </a:lvl9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105742400"/>
      </p:ext>
    </p:extLst>
  </p:cSld>
  <p:clrMapOvr>
    <a:masterClrMapping/>
  </p:clrMapOvr>
  <p:hf hdr="0"/>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matchingName="Kuva" preserve="1" userDrawn="1">
  <p:cSld name="Kuva">
    <p:spTree>
      <p:nvGrpSpPr>
        <p:cNvPr id="1" name=""/>
        <p:cNvGrpSpPr/>
        <p:nvPr/>
      </p:nvGrpSpPr>
      <p:grpSpPr>
        <a:xfrm>
          <a:off x="0" y="0"/>
          <a:ext cx="0" cy="0"/>
          <a:chOff x="0" y="0"/>
          <a:chExt cx="0" cy="0"/>
        </a:xfrm>
      </p:grpSpPr>
      <p:sp>
        <p:nvSpPr>
          <p:cNvPr id="10" name="Kuvan paikkamerkki 2">
            <a:extLst>
              <a:ext uri="{FF2B5EF4-FFF2-40B4-BE49-F238E27FC236}">
                <a16:creationId xmlns:a16="http://schemas.microsoft.com/office/drawing/2014/main" id="{EE37F6CA-4A02-4DC9-9F8B-1339CABEBCAB}"/>
              </a:ext>
              <a:ext uri="{C183D7F6-B498-43B3-948B-1728B52AA6E4}">
                <adec:decorative xmlns:adec="http://schemas.microsoft.com/office/drawing/2017/decorative" val="1"/>
              </a:ext>
            </a:extLst>
          </p:cNvPr>
          <p:cNvSpPr>
            <a:spLocks noGrp="1"/>
          </p:cNvSpPr>
          <p:nvPr>
            <p:ph type="pic" idx="13" hasCustomPrompt="1"/>
          </p:nvPr>
        </p:nvSpPr>
        <p:spPr>
          <a:xfrm>
            <a:off x="179999" y="180000"/>
            <a:ext cx="11833200" cy="6498000"/>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Tree>
    <p:extLst>
      <p:ext uri="{BB962C8B-B14F-4D97-AF65-F5344CB8AC3E}">
        <p14:creationId xmlns:p14="http://schemas.microsoft.com/office/powerpoint/2010/main" val="2010138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Otsikko ja sisältö">
    <p:spTree>
      <p:nvGrpSpPr>
        <p:cNvPr id="1" name=""/>
        <p:cNvGrpSpPr/>
        <p:nvPr/>
      </p:nvGrpSpPr>
      <p:grpSpPr>
        <a:xfrm>
          <a:off x="0" y="0"/>
          <a:ext cx="0" cy="0"/>
          <a:chOff x="0" y="0"/>
          <a:chExt cx="0" cy="0"/>
        </a:xfrm>
      </p:grpSpPr>
      <p:sp>
        <p:nvSpPr>
          <p:cNvPr id="9" name="Platshållare för sidfot 4"/>
          <p:cNvSpPr>
            <a:spLocks noGrp="1"/>
          </p:cNvSpPr>
          <p:nvPr>
            <p:ph type="ftr" sz="quarter" idx="14"/>
          </p:nvPr>
        </p:nvSpPr>
        <p:spPr>
          <a:xfrm>
            <a:off x="1091445" y="6376243"/>
            <a:ext cx="9325036" cy="365125"/>
          </a:xfrm>
        </p:spPr>
        <p:txBody>
          <a:bodyPr/>
          <a:lstStyle/>
          <a:p>
            <a:r>
              <a:rPr lang="fi-FI"/>
              <a:t>Annukka Engström</a:t>
            </a:r>
          </a:p>
        </p:txBody>
      </p:sp>
      <p:sp>
        <p:nvSpPr>
          <p:cNvPr id="8" name="Dian numeron paikkamerkki 9"/>
          <p:cNvSpPr>
            <a:spLocks noGrp="1"/>
          </p:cNvSpPr>
          <p:nvPr>
            <p:ph type="sldNum" sz="quarter" idx="12"/>
          </p:nvPr>
        </p:nvSpPr>
        <p:spPr>
          <a:xfrm>
            <a:off x="270012" y="6381328"/>
            <a:ext cx="533400" cy="360040"/>
          </a:xfrm>
        </p:spPr>
        <p:txBody>
          <a:bodyPr/>
          <a:lstStyle>
            <a:lvl1pPr>
              <a:defRPr/>
            </a:lvl1pPr>
          </a:lstStyle>
          <a:p>
            <a:pPr>
              <a:defRPr/>
            </a:pPr>
            <a:fld id="{D3C89A02-2183-4EC2-9978-996C81F899C4}" type="slidenum">
              <a:rPr lang="fi-FI"/>
              <a:pPr>
                <a:defRPr/>
              </a:pPr>
              <a:t>‹#›</a:t>
            </a:fld>
            <a:endParaRPr lang="fi-FI"/>
          </a:p>
        </p:txBody>
      </p:sp>
      <p:sp>
        <p:nvSpPr>
          <p:cNvPr id="10" name="Otsikko 6"/>
          <p:cNvSpPr>
            <a:spLocks noGrp="1"/>
          </p:cNvSpPr>
          <p:nvPr>
            <p:ph type="title" hasCustomPrompt="1"/>
          </p:nvPr>
        </p:nvSpPr>
        <p:spPr>
          <a:xfrm>
            <a:off x="1091445" y="1278951"/>
            <a:ext cx="9325036" cy="642942"/>
          </a:xfrm>
          <a:prstGeom prst="rect">
            <a:avLst/>
          </a:prstGeom>
        </p:spPr>
        <p:txBody>
          <a:bodyPr/>
          <a:lstStyle>
            <a:lvl1pPr>
              <a:defRPr lang="fi-FI" sz="3000" dirty="0">
                <a:solidFill>
                  <a:schemeClr val="tx1"/>
                </a:solidFill>
              </a:defRPr>
            </a:lvl1pPr>
          </a:lstStyle>
          <a:p>
            <a:r>
              <a:rPr lang="fi-FI" noProof="0"/>
              <a:t>Lisää otsikko</a:t>
            </a:r>
            <a:endParaRPr lang="fi-FI"/>
          </a:p>
        </p:txBody>
      </p:sp>
      <p:sp>
        <p:nvSpPr>
          <p:cNvPr id="11" name="Tekstin paikkamerkki 16"/>
          <p:cNvSpPr>
            <a:spLocks noGrp="1"/>
          </p:cNvSpPr>
          <p:nvPr>
            <p:ph type="body" sz="quarter" idx="10"/>
          </p:nvPr>
        </p:nvSpPr>
        <p:spPr>
          <a:xfrm>
            <a:off x="1091444" y="2060848"/>
            <a:ext cx="9325037" cy="3937050"/>
          </a:xfrm>
          <a:prstGeom prst="rect">
            <a:avLst/>
          </a:prstGeom>
        </p:spPr>
        <p:txBody>
          <a:bodyPr/>
          <a:lstStyle>
            <a:lvl1pPr>
              <a:buClr>
                <a:schemeClr val="accent2"/>
              </a:buClr>
              <a:buFont typeface="Wingdings" pitchFamily="2" charset="2"/>
              <a:buChar char="§"/>
              <a:defRPr sz="2200" baseline="0">
                <a:solidFill>
                  <a:schemeClr val="tx1"/>
                </a:solidFill>
              </a:defRPr>
            </a:lvl1pPr>
            <a:lvl2pPr marL="800100" indent="-342900">
              <a:buFont typeface="Arial" panose="020B0604020202020204" pitchFamily="34" charset="0"/>
              <a:buChar char="–"/>
              <a:defRPr sz="2200"/>
            </a:lvl2pPr>
            <a:lvl3pPr>
              <a:buClr>
                <a:schemeClr val="accent2"/>
              </a:buClr>
              <a:defRPr/>
            </a:lvl3pPr>
            <a:lvl4pPr marL="1600200" indent="-228600">
              <a:buFont typeface="Arial" panose="020B0604020202020204" pitchFamily="34" charset="0"/>
              <a:buChar char="–"/>
              <a:defRPr/>
            </a:lvl4pPr>
            <a:lvl5pPr>
              <a:buClr>
                <a:schemeClr val="accent2"/>
              </a:buClr>
              <a:defRPr/>
            </a:lvl5pPr>
            <a:lvl6pPr marL="2628900" indent="-342900">
              <a:buClr>
                <a:schemeClr val="accent1"/>
              </a:buClr>
              <a:buFont typeface="Wingdings" panose="05000000000000000000" pitchFamily="2" charset="2"/>
              <a:buChar char="§"/>
              <a:defRPr/>
            </a:lvl6pPr>
            <a:lvl7pPr>
              <a:buClr>
                <a:schemeClr val="accent1"/>
              </a:buClr>
              <a:defRPr/>
            </a:lvl7pPr>
            <a:lvl8pPr>
              <a:buClr>
                <a:schemeClr val="accent1"/>
              </a:buClr>
              <a:defRPr/>
            </a:lvl8pPr>
            <a:lvl9pPr>
              <a:buClr>
                <a:schemeClr val="accent1"/>
              </a:buClr>
              <a:defRPr/>
            </a:lvl9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929814975"/>
      </p:ext>
    </p:extLst>
  </p:cSld>
  <p:clrMapOvr>
    <a:masterClrMapping/>
  </p:clrMapOvr>
  <p:hf hdr="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23E4F1-91DF-42E7-B1C5-4F6AE1B2531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B423E4F1-91DF-42E7-B1C5-4F6AE1B253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fi-FI"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824948" y="2678285"/>
            <a:ext cx="2844926" cy="1314311"/>
          </a:xfrm>
          <a:prstGeom prst="rect">
            <a:avLst/>
          </a:prstGeom>
        </p:spPr>
        <p:txBody>
          <a:bodyPr vert="horz" lIns="0" tIns="45720" rIns="91440" bIns="45720" anchor="ctr" anchorCtr="0">
            <a:noAutofit/>
          </a:bodyPr>
          <a:lstStyle>
            <a:lvl1pPr rtl="0">
              <a:defRPr sz="3000" b="0" baseline="0">
                <a:solidFill>
                  <a:srgbClr val="FFFFFF"/>
                </a:solidFill>
                <a:latin typeface="+mj-lt"/>
                <a:ea typeface="+mj-ea"/>
                <a:cs typeface="+mj-cs"/>
              </a:defRPr>
            </a:lvl1pPr>
          </a:lstStyle>
          <a:p>
            <a:r>
              <a:rPr lang="fi-FI" err="1"/>
              <a:t>Click</a:t>
            </a:r>
            <a:r>
              <a:rPr lang="fi-FI"/>
              <a:t> to </a:t>
            </a:r>
            <a:r>
              <a:rPr lang="fi-FI" err="1"/>
              <a:t>add</a:t>
            </a:r>
            <a:r>
              <a:rPr lang="fi-FI"/>
              <a:t> </a:t>
            </a:r>
            <a:r>
              <a:rPr lang="fi-FI" err="1"/>
              <a:t>title</a:t>
            </a:r>
            <a:endParaRPr lang="fi-FI"/>
          </a:p>
        </p:txBody>
      </p:sp>
      <p:sp>
        <p:nvSpPr>
          <p:cNvPr id="12" name="TextBox 11">
            <a:extLst>
              <a:ext uri="{FF2B5EF4-FFF2-40B4-BE49-F238E27FC236}">
                <a16:creationId xmlns:a16="http://schemas.microsoft.com/office/drawing/2014/main" id="{C31E05A8-1456-4A68-981F-00948F3DD149}"/>
              </a:ext>
            </a:extLst>
          </p:cNvPr>
          <p:cNvSpPr txBox="1"/>
          <p:nvPr userDrawn="1"/>
        </p:nvSpPr>
        <p:spPr>
          <a:xfrm>
            <a:off x="11167872"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65740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isältödia 4">
    <p:bg>
      <p:bgPr>
        <a:solidFill>
          <a:schemeClr val="bg1"/>
        </a:solidFill>
        <a:effectLst/>
      </p:bgPr>
    </p:bg>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8C84E63B-1195-AAB3-C97D-783A4B14CB5A}"/>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96724">
            <a:off x="-255369" y="5137783"/>
            <a:ext cx="2857500" cy="2857500"/>
          </a:xfrm>
          <a:prstGeom prst="rect">
            <a:avLst/>
          </a:prstGeom>
        </p:spPr>
      </p:pic>
      <p:sp>
        <p:nvSpPr>
          <p:cNvPr id="5" name="Title 1">
            <a:extLst>
              <a:ext uri="{FF2B5EF4-FFF2-40B4-BE49-F238E27FC236}">
                <a16:creationId xmlns:a16="http://schemas.microsoft.com/office/drawing/2014/main" id="{79D63C6B-DF9D-FE42-E0C4-60331949A846}"/>
              </a:ext>
            </a:extLst>
          </p:cNvPr>
          <p:cNvSpPr>
            <a:spLocks noGrp="1"/>
          </p:cNvSpPr>
          <p:nvPr>
            <p:ph type="title"/>
          </p:nvPr>
        </p:nvSpPr>
        <p:spPr>
          <a:xfrm>
            <a:off x="838200" y="681037"/>
            <a:ext cx="10515600" cy="1009651"/>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sp>
        <p:nvSpPr>
          <p:cNvPr id="7" name="Päivämäärän paikkamerkki 6">
            <a:extLst>
              <a:ext uri="{FF2B5EF4-FFF2-40B4-BE49-F238E27FC236}">
                <a16:creationId xmlns:a16="http://schemas.microsoft.com/office/drawing/2014/main" id="{4DC844F6-044F-E83C-16A4-275057CB9EBB}"/>
              </a:ext>
            </a:extLst>
          </p:cNvPr>
          <p:cNvSpPr>
            <a:spLocks noGrp="1"/>
          </p:cNvSpPr>
          <p:nvPr>
            <p:ph type="dt" sz="half" idx="10"/>
          </p:nvPr>
        </p:nvSpPr>
        <p:spPr/>
        <p:txBody>
          <a:bodyPr/>
          <a:lstStyle/>
          <a:p>
            <a:endParaRPr lang="fi-FI" dirty="0"/>
          </a:p>
        </p:txBody>
      </p:sp>
      <p:sp>
        <p:nvSpPr>
          <p:cNvPr id="8" name="Alatunnisteen paikkamerkki 7">
            <a:extLst>
              <a:ext uri="{FF2B5EF4-FFF2-40B4-BE49-F238E27FC236}">
                <a16:creationId xmlns:a16="http://schemas.microsoft.com/office/drawing/2014/main" id="{A30528E9-3A22-D5E3-359D-354FE8217869}"/>
              </a:ext>
            </a:extLst>
          </p:cNvPr>
          <p:cNvSpPr>
            <a:spLocks noGrp="1"/>
          </p:cNvSpPr>
          <p:nvPr>
            <p:ph type="ftr" sz="quarter" idx="11"/>
          </p:nvPr>
        </p:nvSpPr>
        <p:spPr/>
        <p:txBody>
          <a:bodyPr/>
          <a:lstStyle/>
          <a:p>
            <a:r>
              <a:rPr lang="fi-FI"/>
              <a:t>7</a:t>
            </a:r>
          </a:p>
        </p:txBody>
      </p:sp>
      <p:pic>
        <p:nvPicPr>
          <p:cNvPr id="3" name="Kuva 2">
            <a:extLst>
              <a:ext uri="{FF2B5EF4-FFF2-40B4-BE49-F238E27FC236}">
                <a16:creationId xmlns:a16="http://schemas.microsoft.com/office/drawing/2014/main" id="{8CC1BFDA-EC18-E42C-4DC6-08AEC8066B4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96724">
            <a:off x="-255369" y="5137783"/>
            <a:ext cx="2857500" cy="2857500"/>
          </a:xfrm>
          <a:prstGeom prst="rect">
            <a:avLst/>
          </a:prstGeom>
        </p:spPr>
      </p:pic>
      <p:sp>
        <p:nvSpPr>
          <p:cNvPr id="2" name="Sisällön paikkamerkki 10">
            <a:extLst>
              <a:ext uri="{FF2B5EF4-FFF2-40B4-BE49-F238E27FC236}">
                <a16:creationId xmlns:a16="http://schemas.microsoft.com/office/drawing/2014/main" id="{DD98AC7E-5987-E68B-0756-17156B94E04C}"/>
              </a:ext>
            </a:extLst>
          </p:cNvPr>
          <p:cNvSpPr>
            <a:spLocks noGrp="1"/>
          </p:cNvSpPr>
          <p:nvPr>
            <p:ph sz="quarter" idx="12"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6" name="Graphic 18">
            <a:extLst>
              <a:ext uri="{FF2B5EF4-FFF2-40B4-BE49-F238E27FC236}">
                <a16:creationId xmlns:a16="http://schemas.microsoft.com/office/drawing/2014/main" id="{F1512F32-29BE-971E-5DE8-0AD84D30B49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3431088024"/>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Otsikkodia 2">
    <p:bg>
      <p:bgPr>
        <a:solidFill>
          <a:srgbClr val="D9D9D6"/>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2ED7F50-CE03-9349-8981-A5880E6CA020}"/>
              </a:ext>
            </a:extLst>
          </p:cNvPr>
          <p:cNvSpPr>
            <a:spLocks noGrp="1"/>
          </p:cNvSpPr>
          <p:nvPr>
            <p:ph type="ctrTitle"/>
          </p:nvPr>
        </p:nvSpPr>
        <p:spPr>
          <a:xfrm>
            <a:off x="669235" y="760288"/>
            <a:ext cx="7478172" cy="2978275"/>
          </a:xfrm>
        </p:spPr>
        <p:txBody>
          <a:bodyPr anchor="b">
            <a:noAutofit/>
          </a:bodyPr>
          <a:lstStyle>
            <a:lvl1pPr algn="l">
              <a:defRPr sz="6000" b="1" i="0">
                <a:solidFill>
                  <a:srgbClr val="152A96"/>
                </a:solidFill>
                <a:latin typeface="+mj-lt"/>
                <a:cs typeface="Poppins" pitchFamily="2" charset="77"/>
              </a:defRPr>
            </a:lvl1pPr>
          </a:lstStyle>
          <a:p>
            <a:r>
              <a:rPr lang="fi-FI"/>
              <a:t>Muokkaa ots. perustyyl. napsautt.</a:t>
            </a:r>
          </a:p>
        </p:txBody>
      </p:sp>
      <p:sp>
        <p:nvSpPr>
          <p:cNvPr id="9" name="Subtitle 2">
            <a:extLst>
              <a:ext uri="{FF2B5EF4-FFF2-40B4-BE49-F238E27FC236}">
                <a16:creationId xmlns:a16="http://schemas.microsoft.com/office/drawing/2014/main" id="{F51E1657-669A-E24B-0996-55DAAEE4D104}"/>
              </a:ext>
            </a:extLst>
          </p:cNvPr>
          <p:cNvSpPr>
            <a:spLocks noGrp="1"/>
          </p:cNvSpPr>
          <p:nvPr>
            <p:ph type="subTitle" idx="1"/>
          </p:nvPr>
        </p:nvSpPr>
        <p:spPr>
          <a:xfrm>
            <a:off x="669235" y="3830638"/>
            <a:ext cx="6543223" cy="1655762"/>
          </a:xfrm>
        </p:spPr>
        <p:txBody>
          <a:bodyPr>
            <a:noAutofit/>
          </a:bodyPr>
          <a:lstStyle>
            <a:lvl1pPr marL="0" indent="0" algn="l">
              <a:buNone/>
              <a:defRPr sz="2400">
                <a:solidFill>
                  <a:sysClr val="windowText" lastClr="000000"/>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11" name="Graphic 9">
            <a:extLst>
              <a:ext uri="{FF2B5EF4-FFF2-40B4-BE49-F238E27FC236}">
                <a16:creationId xmlns:a16="http://schemas.microsoft.com/office/drawing/2014/main" id="{28E008F9-00C3-EF67-09C3-D1EB023E2B7E}"/>
              </a:ext>
            </a:extLst>
          </p:cNvPr>
          <p:cNvSpPr/>
          <p:nvPr/>
        </p:nvSpPr>
        <p:spPr>
          <a:xfrm rot="21135918">
            <a:off x="4040731" y="4616912"/>
            <a:ext cx="4110538" cy="2559747"/>
          </a:xfrm>
          <a:custGeom>
            <a:avLst/>
            <a:gdLst>
              <a:gd name="connsiteX0" fmla="*/ 4110539 w 4110538"/>
              <a:gd name="connsiteY0" fmla="*/ 130872 h 2559747"/>
              <a:gd name="connsiteX1" fmla="*/ 2844860 w 4110538"/>
              <a:gd name="connsiteY1" fmla="*/ 418813 h 2559747"/>
              <a:gd name="connsiteX2" fmla="*/ 2968698 w 4110538"/>
              <a:gd name="connsiteY2" fmla="*/ 828864 h 2559747"/>
              <a:gd name="connsiteX3" fmla="*/ 1190167 w 4110538"/>
              <a:gd name="connsiteY3" fmla="*/ 570641 h 2559747"/>
              <a:gd name="connsiteX4" fmla="*/ 1158589 w 4110538"/>
              <a:gd name="connsiteY4" fmla="*/ 1768029 h 2559747"/>
              <a:gd name="connsiteX5" fmla="*/ 72295 w 4110538"/>
              <a:gd name="connsiteY5" fmla="*/ 2086831 h 2559747"/>
              <a:gd name="connsiteX6" fmla="*/ 7808 w 4110538"/>
              <a:gd name="connsiteY6" fmla="*/ 2559747 h 255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0538" h="2559747">
                <a:moveTo>
                  <a:pt x="4110539" y="130872"/>
                </a:moveTo>
                <a:cubicBezTo>
                  <a:pt x="3684334" y="-104110"/>
                  <a:pt x="3128870" y="-31148"/>
                  <a:pt x="2844860" y="418813"/>
                </a:cubicBezTo>
                <a:cubicBezTo>
                  <a:pt x="2257723" y="1349120"/>
                  <a:pt x="3283905" y="1328355"/>
                  <a:pt x="2968698" y="828864"/>
                </a:cubicBezTo>
                <a:cubicBezTo>
                  <a:pt x="2585200" y="221074"/>
                  <a:pt x="1552930" y="165829"/>
                  <a:pt x="1190167" y="570641"/>
                </a:cubicBezTo>
                <a:cubicBezTo>
                  <a:pt x="793352" y="1013458"/>
                  <a:pt x="1158589" y="1768029"/>
                  <a:pt x="1158589" y="1768029"/>
                </a:cubicBezTo>
                <a:cubicBezTo>
                  <a:pt x="1158589" y="1768029"/>
                  <a:pt x="415750" y="1306638"/>
                  <a:pt x="72295" y="2086831"/>
                </a:cubicBezTo>
                <a:cubicBezTo>
                  <a:pt x="6476" y="2236278"/>
                  <a:pt x="-12642" y="2399346"/>
                  <a:pt x="7808" y="2559747"/>
                </a:cubicBezTo>
              </a:path>
            </a:pathLst>
          </a:custGeom>
          <a:noFill/>
          <a:ln w="38100" cap="rnd">
            <a:solidFill>
              <a:srgbClr val="152A96"/>
            </a:solidFill>
            <a:prstDash val="solid"/>
            <a:round/>
          </a:ln>
        </p:spPr>
        <p:txBody>
          <a:bodyPr rtlCol="0" anchor="ctr"/>
          <a:lstStyle/>
          <a:p>
            <a:endParaRPr lang="fi-FI"/>
          </a:p>
        </p:txBody>
      </p:sp>
      <p:pic>
        <p:nvPicPr>
          <p:cNvPr id="12" name="Graphic 3">
            <a:extLst>
              <a:ext uri="{FF2B5EF4-FFF2-40B4-BE49-F238E27FC236}">
                <a16:creationId xmlns:a16="http://schemas.microsoft.com/office/drawing/2014/main" id="{33AD5061-37E8-E415-BBE8-A902CFE41B5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087556" y="2111326"/>
            <a:ext cx="5446395" cy="5460728"/>
          </a:xfrm>
          <a:prstGeom prst="rect">
            <a:avLst/>
          </a:prstGeom>
        </p:spPr>
      </p:pic>
      <p:sp>
        <p:nvSpPr>
          <p:cNvPr id="3" name="Graphic 9">
            <a:extLst>
              <a:ext uri="{FF2B5EF4-FFF2-40B4-BE49-F238E27FC236}">
                <a16:creationId xmlns:a16="http://schemas.microsoft.com/office/drawing/2014/main" id="{50498FFC-1A3C-34F6-08C8-419440951753}"/>
              </a:ext>
            </a:extLst>
          </p:cNvPr>
          <p:cNvSpPr/>
          <p:nvPr/>
        </p:nvSpPr>
        <p:spPr>
          <a:xfrm rot="21135918">
            <a:off x="4040731" y="4616912"/>
            <a:ext cx="4110538" cy="2559747"/>
          </a:xfrm>
          <a:custGeom>
            <a:avLst/>
            <a:gdLst>
              <a:gd name="connsiteX0" fmla="*/ 4110539 w 4110538"/>
              <a:gd name="connsiteY0" fmla="*/ 130872 h 2559747"/>
              <a:gd name="connsiteX1" fmla="*/ 2844860 w 4110538"/>
              <a:gd name="connsiteY1" fmla="*/ 418813 h 2559747"/>
              <a:gd name="connsiteX2" fmla="*/ 2968698 w 4110538"/>
              <a:gd name="connsiteY2" fmla="*/ 828864 h 2559747"/>
              <a:gd name="connsiteX3" fmla="*/ 1190167 w 4110538"/>
              <a:gd name="connsiteY3" fmla="*/ 570641 h 2559747"/>
              <a:gd name="connsiteX4" fmla="*/ 1158589 w 4110538"/>
              <a:gd name="connsiteY4" fmla="*/ 1768029 h 2559747"/>
              <a:gd name="connsiteX5" fmla="*/ 72295 w 4110538"/>
              <a:gd name="connsiteY5" fmla="*/ 2086831 h 2559747"/>
              <a:gd name="connsiteX6" fmla="*/ 7808 w 4110538"/>
              <a:gd name="connsiteY6" fmla="*/ 2559747 h 255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0538" h="2559747">
                <a:moveTo>
                  <a:pt x="4110539" y="130872"/>
                </a:moveTo>
                <a:cubicBezTo>
                  <a:pt x="3684334" y="-104110"/>
                  <a:pt x="3128870" y="-31148"/>
                  <a:pt x="2844860" y="418813"/>
                </a:cubicBezTo>
                <a:cubicBezTo>
                  <a:pt x="2257723" y="1349120"/>
                  <a:pt x="3283905" y="1328355"/>
                  <a:pt x="2968698" y="828864"/>
                </a:cubicBezTo>
                <a:cubicBezTo>
                  <a:pt x="2585200" y="221074"/>
                  <a:pt x="1552930" y="165829"/>
                  <a:pt x="1190167" y="570641"/>
                </a:cubicBezTo>
                <a:cubicBezTo>
                  <a:pt x="793352" y="1013458"/>
                  <a:pt x="1158589" y="1768029"/>
                  <a:pt x="1158589" y="1768029"/>
                </a:cubicBezTo>
                <a:cubicBezTo>
                  <a:pt x="1158589" y="1768029"/>
                  <a:pt x="415750" y="1306638"/>
                  <a:pt x="72295" y="2086831"/>
                </a:cubicBezTo>
                <a:cubicBezTo>
                  <a:pt x="6476" y="2236278"/>
                  <a:pt x="-12642" y="2399346"/>
                  <a:pt x="7808" y="2559747"/>
                </a:cubicBezTo>
              </a:path>
            </a:pathLst>
          </a:custGeom>
          <a:noFill/>
          <a:ln w="38100" cap="rnd">
            <a:solidFill>
              <a:srgbClr val="152A96"/>
            </a:solidFill>
            <a:prstDash val="solid"/>
            <a:round/>
          </a:ln>
        </p:spPr>
        <p:txBody>
          <a:bodyPr rtlCol="0" anchor="ctr"/>
          <a:lstStyle/>
          <a:p>
            <a:endParaRPr lang="fi-FI"/>
          </a:p>
        </p:txBody>
      </p:sp>
      <p:pic>
        <p:nvPicPr>
          <p:cNvPr id="4" name="Graphic 3">
            <a:extLst>
              <a:ext uri="{FF2B5EF4-FFF2-40B4-BE49-F238E27FC236}">
                <a16:creationId xmlns:a16="http://schemas.microsoft.com/office/drawing/2014/main" id="{569B8536-80ED-8E6F-37D5-A1EF60BC8FD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087556" y="2111326"/>
            <a:ext cx="5446395" cy="5460728"/>
          </a:xfrm>
          <a:prstGeom prst="rect">
            <a:avLst/>
          </a:prstGeom>
        </p:spPr>
      </p:pic>
      <p:sp>
        <p:nvSpPr>
          <p:cNvPr id="13" name="Picture Placeholder 12">
            <a:extLst>
              <a:ext uri="{FF2B5EF4-FFF2-40B4-BE49-F238E27FC236}">
                <a16:creationId xmlns:a16="http://schemas.microsoft.com/office/drawing/2014/main" id="{0343804D-FDB2-8BB1-F896-29608630C550}"/>
              </a:ext>
            </a:extLst>
          </p:cNvPr>
          <p:cNvSpPr>
            <a:spLocks noGrp="1"/>
          </p:cNvSpPr>
          <p:nvPr>
            <p:ph type="pic" sz="quarter" idx="13"/>
          </p:nvPr>
        </p:nvSpPr>
        <p:spPr>
          <a:xfrm>
            <a:off x="7428216" y="2215608"/>
            <a:ext cx="5105735" cy="5185702"/>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pic>
        <p:nvPicPr>
          <p:cNvPr id="8" name="Graphic 18">
            <a:extLst>
              <a:ext uri="{FF2B5EF4-FFF2-40B4-BE49-F238E27FC236}">
                <a16:creationId xmlns:a16="http://schemas.microsoft.com/office/drawing/2014/main" id="{6BF5B017-3C8E-9764-94FF-DFF2A333312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6200000">
            <a:off x="10405322" y="1288658"/>
            <a:ext cx="2243871" cy="493762"/>
          </a:xfrm>
          <a:prstGeom prst="rect">
            <a:avLst/>
          </a:prstGeom>
        </p:spPr>
      </p:pic>
    </p:spTree>
    <p:extLst>
      <p:ext uri="{BB962C8B-B14F-4D97-AF65-F5344CB8AC3E}">
        <p14:creationId xmlns:p14="http://schemas.microsoft.com/office/powerpoint/2010/main" val="2734718704"/>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Sisältödia 4">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9D63C6B-DF9D-FE42-E0C4-60331949A846}"/>
              </a:ext>
            </a:extLst>
          </p:cNvPr>
          <p:cNvSpPr>
            <a:spLocks noGrp="1"/>
          </p:cNvSpPr>
          <p:nvPr>
            <p:ph type="title"/>
          </p:nvPr>
        </p:nvSpPr>
        <p:spPr>
          <a:xfrm>
            <a:off x="838200" y="681037"/>
            <a:ext cx="10515600" cy="1009651"/>
          </a:xfrm>
          <a:noFill/>
        </p:spPr>
        <p:txBody>
          <a:bodyPr>
            <a:noAutofit/>
          </a:bodyPr>
          <a:lstStyle>
            <a:lvl1pPr>
              <a:lnSpc>
                <a:spcPct val="100000"/>
              </a:lnSpc>
              <a:defRPr b="1" i="0">
                <a:solidFill>
                  <a:srgbClr val="152A96"/>
                </a:solidFill>
                <a:latin typeface="Poppins" pitchFamily="2" charset="77"/>
                <a:cs typeface="Poppins" pitchFamily="2" charset="77"/>
              </a:defRPr>
            </a:lvl1pPr>
          </a:lstStyle>
          <a:p>
            <a:r>
              <a:rPr lang="fi-FI"/>
              <a:t>Muokkaa ots. perustyyl. napsautt.</a:t>
            </a:r>
          </a:p>
        </p:txBody>
      </p:sp>
      <p:sp>
        <p:nvSpPr>
          <p:cNvPr id="7" name="Päivämäärän paikkamerkki 6">
            <a:extLst>
              <a:ext uri="{FF2B5EF4-FFF2-40B4-BE49-F238E27FC236}">
                <a16:creationId xmlns:a16="http://schemas.microsoft.com/office/drawing/2014/main" id="{4DC844F6-044F-E83C-16A4-275057CB9EBB}"/>
              </a:ext>
            </a:extLst>
          </p:cNvPr>
          <p:cNvSpPr>
            <a:spLocks noGrp="1"/>
          </p:cNvSpPr>
          <p:nvPr>
            <p:ph type="dt" sz="half" idx="10"/>
          </p:nvPr>
        </p:nvSpPr>
        <p:spPr/>
        <p:txBody>
          <a:bodyPr/>
          <a:lstStyle/>
          <a:p>
            <a:endParaRPr lang="fi-FI" dirty="0"/>
          </a:p>
        </p:txBody>
      </p:sp>
      <p:sp>
        <p:nvSpPr>
          <p:cNvPr id="8" name="Alatunnisteen paikkamerkki 7">
            <a:extLst>
              <a:ext uri="{FF2B5EF4-FFF2-40B4-BE49-F238E27FC236}">
                <a16:creationId xmlns:a16="http://schemas.microsoft.com/office/drawing/2014/main" id="{A30528E9-3A22-D5E3-359D-354FE8217869}"/>
              </a:ext>
            </a:extLst>
          </p:cNvPr>
          <p:cNvSpPr>
            <a:spLocks noGrp="1"/>
          </p:cNvSpPr>
          <p:nvPr>
            <p:ph type="ftr" sz="quarter" idx="11"/>
          </p:nvPr>
        </p:nvSpPr>
        <p:spPr/>
        <p:txBody>
          <a:bodyPr/>
          <a:lstStyle/>
          <a:p>
            <a:r>
              <a:rPr lang="fi-FI"/>
              <a:t>7</a:t>
            </a:r>
          </a:p>
        </p:txBody>
      </p:sp>
      <p:sp>
        <p:nvSpPr>
          <p:cNvPr id="3" name="Sisällön paikkamerkki 10">
            <a:extLst>
              <a:ext uri="{FF2B5EF4-FFF2-40B4-BE49-F238E27FC236}">
                <a16:creationId xmlns:a16="http://schemas.microsoft.com/office/drawing/2014/main" id="{E634F185-533E-956B-5CDE-534E63399E2F}"/>
              </a:ext>
            </a:extLst>
          </p:cNvPr>
          <p:cNvSpPr>
            <a:spLocks noGrp="1"/>
          </p:cNvSpPr>
          <p:nvPr>
            <p:ph sz="quarter" idx="12"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14944830"/>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isältödia 5">
    <p:bg>
      <p:bgPr>
        <a:solidFill>
          <a:srgbClr val="F9EB61">
            <a:alpha val="90000"/>
          </a:srgbClr>
        </a:solidFill>
        <a:effectLst/>
      </p:bgPr>
    </p:bg>
    <p:spTree>
      <p:nvGrpSpPr>
        <p:cNvPr id="1" name=""/>
        <p:cNvGrpSpPr/>
        <p:nvPr/>
      </p:nvGrpSpPr>
      <p:grpSpPr>
        <a:xfrm>
          <a:off x="0" y="0"/>
          <a:ext cx="0" cy="0"/>
          <a:chOff x="0" y="0"/>
          <a:chExt cx="0" cy="0"/>
        </a:xfrm>
      </p:grpSpPr>
      <p:sp>
        <p:nvSpPr>
          <p:cNvPr id="3" name="Päivämäärän paikkamerkki 6">
            <a:extLst>
              <a:ext uri="{FF2B5EF4-FFF2-40B4-BE49-F238E27FC236}">
                <a16:creationId xmlns:a16="http://schemas.microsoft.com/office/drawing/2014/main" id="{87AF1911-44F3-48F7-1B6A-1BB0F4FFE174}"/>
              </a:ext>
            </a:extLst>
          </p:cNvPr>
          <p:cNvSpPr>
            <a:spLocks noGrp="1"/>
          </p:cNvSpPr>
          <p:nvPr>
            <p:ph type="dt" sz="half" idx="10"/>
          </p:nvPr>
        </p:nvSpPr>
        <p:spPr>
          <a:xfrm>
            <a:off x="838200" y="6356350"/>
            <a:ext cx="2743200" cy="365125"/>
          </a:xfrm>
        </p:spPr>
        <p:txBody>
          <a:bodyPr/>
          <a:lstStyle/>
          <a:p>
            <a:endParaRPr lang="fi-FI" dirty="0"/>
          </a:p>
        </p:txBody>
      </p:sp>
      <p:sp>
        <p:nvSpPr>
          <p:cNvPr id="4" name="Alatunnisteen paikkamerkki 7">
            <a:extLst>
              <a:ext uri="{FF2B5EF4-FFF2-40B4-BE49-F238E27FC236}">
                <a16:creationId xmlns:a16="http://schemas.microsoft.com/office/drawing/2014/main" id="{C29CBDD8-E996-0924-7F11-0A0D18B4FCBB}"/>
              </a:ext>
            </a:extLst>
          </p:cNvPr>
          <p:cNvSpPr>
            <a:spLocks noGrp="1"/>
          </p:cNvSpPr>
          <p:nvPr>
            <p:ph type="ftr" sz="quarter" idx="11"/>
          </p:nvPr>
        </p:nvSpPr>
        <p:spPr>
          <a:xfrm>
            <a:off x="4038600" y="6356350"/>
            <a:ext cx="4114800" cy="365125"/>
          </a:xfrm>
        </p:spPr>
        <p:txBody>
          <a:bodyPr/>
          <a:lstStyle/>
          <a:p>
            <a:r>
              <a:rPr lang="fi-FI"/>
              <a:t>7</a:t>
            </a:r>
          </a:p>
        </p:txBody>
      </p:sp>
      <p:sp>
        <p:nvSpPr>
          <p:cNvPr id="7" name="Title 1">
            <a:extLst>
              <a:ext uri="{FF2B5EF4-FFF2-40B4-BE49-F238E27FC236}">
                <a16:creationId xmlns:a16="http://schemas.microsoft.com/office/drawing/2014/main" id="{5332DD20-E211-9976-22EB-46EE6B0264A6}"/>
              </a:ext>
            </a:extLst>
          </p:cNvPr>
          <p:cNvSpPr>
            <a:spLocks noGrp="1"/>
          </p:cNvSpPr>
          <p:nvPr>
            <p:ph type="title"/>
          </p:nvPr>
        </p:nvSpPr>
        <p:spPr>
          <a:xfrm>
            <a:off x="838200" y="681037"/>
            <a:ext cx="10515600" cy="1009651"/>
          </a:xfrm>
        </p:spPr>
        <p:txBody>
          <a:bodyPr>
            <a:noAutofit/>
          </a:bodyPr>
          <a:lstStyle>
            <a:lvl1pPr>
              <a:lnSpc>
                <a:spcPct val="100000"/>
              </a:lnSpc>
              <a:defRPr b="1" i="0">
                <a:solidFill>
                  <a:srgbClr val="006173"/>
                </a:solidFill>
                <a:latin typeface="Poppins" pitchFamily="2" charset="77"/>
                <a:cs typeface="Poppins" pitchFamily="2" charset="77"/>
              </a:defRPr>
            </a:lvl1pPr>
          </a:lstStyle>
          <a:p>
            <a:r>
              <a:rPr lang="fi-FI"/>
              <a:t>Muokkaa ots. perustyyl. napsautt.</a:t>
            </a:r>
          </a:p>
        </p:txBody>
      </p:sp>
      <p:sp>
        <p:nvSpPr>
          <p:cNvPr id="5" name="Sisällön paikkamerkki 10">
            <a:extLst>
              <a:ext uri="{FF2B5EF4-FFF2-40B4-BE49-F238E27FC236}">
                <a16:creationId xmlns:a16="http://schemas.microsoft.com/office/drawing/2014/main" id="{31E20E5B-89F3-ACB6-F04E-924F8BC19EA2}"/>
              </a:ext>
            </a:extLst>
          </p:cNvPr>
          <p:cNvSpPr>
            <a:spLocks noGrp="1"/>
          </p:cNvSpPr>
          <p:nvPr>
            <p:ph sz="quarter" idx="12"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6" name="Graphic 18">
            <a:extLst>
              <a:ext uri="{FF2B5EF4-FFF2-40B4-BE49-F238E27FC236}">
                <a16:creationId xmlns:a16="http://schemas.microsoft.com/office/drawing/2014/main" id="{3C63373A-7329-92D0-C066-F0B3F3EE6FA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378267080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isältödia 6">
    <p:bg>
      <p:bgPr>
        <a:solidFill>
          <a:srgbClr val="A2E4B8">
            <a:alpha val="90000"/>
          </a:srgbClr>
        </a:solidFill>
        <a:effectLst/>
      </p:bgPr>
    </p:bg>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04BF437-682C-8403-7980-4B00516BA82C}"/>
              </a:ext>
            </a:extLst>
          </p:cNvPr>
          <p:cNvSpPr>
            <a:spLocks noGrp="1"/>
          </p:cNvSpPr>
          <p:nvPr>
            <p:ph sz="quarter" idx="10" hasCustomPrompt="1"/>
          </p:nvPr>
        </p:nvSpPr>
        <p:spPr>
          <a:xfrm>
            <a:off x="838200" y="351676"/>
            <a:ext cx="10515600" cy="417513"/>
          </a:xfrm>
        </p:spPr>
        <p:txBody>
          <a:bodyPr anchor="b"/>
          <a:lstStyle>
            <a:lvl1pPr>
              <a:buNone/>
              <a:defRPr sz="1800" b="1">
                <a:solidFill>
                  <a:srgbClr val="152B96"/>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2" name="Päivämäärän paikkamerkki 6">
            <a:extLst>
              <a:ext uri="{FF2B5EF4-FFF2-40B4-BE49-F238E27FC236}">
                <a16:creationId xmlns:a16="http://schemas.microsoft.com/office/drawing/2014/main" id="{A95F503F-BA76-AE23-E239-A82BD364D548}"/>
              </a:ext>
            </a:extLst>
          </p:cNvPr>
          <p:cNvSpPr>
            <a:spLocks noGrp="1"/>
          </p:cNvSpPr>
          <p:nvPr>
            <p:ph type="dt" sz="half" idx="11"/>
          </p:nvPr>
        </p:nvSpPr>
        <p:spPr>
          <a:xfrm>
            <a:off x="838200" y="6356350"/>
            <a:ext cx="2743200" cy="365125"/>
          </a:xfrm>
        </p:spPr>
        <p:txBody>
          <a:bodyPr/>
          <a:lstStyle/>
          <a:p>
            <a:endParaRPr lang="fi-FI" dirty="0"/>
          </a:p>
        </p:txBody>
      </p:sp>
      <p:sp>
        <p:nvSpPr>
          <p:cNvPr id="3" name="Alatunnisteen paikkamerkki 7">
            <a:extLst>
              <a:ext uri="{FF2B5EF4-FFF2-40B4-BE49-F238E27FC236}">
                <a16:creationId xmlns:a16="http://schemas.microsoft.com/office/drawing/2014/main" id="{C597FD88-F26B-FC5E-97A9-416CDAA985C0}"/>
              </a:ext>
            </a:extLst>
          </p:cNvPr>
          <p:cNvSpPr>
            <a:spLocks noGrp="1"/>
          </p:cNvSpPr>
          <p:nvPr>
            <p:ph type="ftr" sz="quarter" idx="12"/>
          </p:nvPr>
        </p:nvSpPr>
        <p:spPr>
          <a:xfrm>
            <a:off x="4038600" y="6356350"/>
            <a:ext cx="4114800" cy="365125"/>
          </a:xfrm>
        </p:spPr>
        <p:txBody>
          <a:bodyPr/>
          <a:lstStyle/>
          <a:p>
            <a:r>
              <a:rPr lang="fi-FI"/>
              <a:t>7</a:t>
            </a:r>
          </a:p>
        </p:txBody>
      </p:sp>
      <p:sp>
        <p:nvSpPr>
          <p:cNvPr id="7" name="Title 1">
            <a:extLst>
              <a:ext uri="{FF2B5EF4-FFF2-40B4-BE49-F238E27FC236}">
                <a16:creationId xmlns:a16="http://schemas.microsoft.com/office/drawing/2014/main" id="{4E0CCE1F-2579-1D67-5F03-5D59CF8F4C3D}"/>
              </a:ext>
            </a:extLst>
          </p:cNvPr>
          <p:cNvSpPr>
            <a:spLocks noGrp="1"/>
          </p:cNvSpPr>
          <p:nvPr>
            <p:ph type="title"/>
          </p:nvPr>
        </p:nvSpPr>
        <p:spPr>
          <a:xfrm>
            <a:off x="838200" y="769189"/>
            <a:ext cx="10515600" cy="921499"/>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sp>
        <p:nvSpPr>
          <p:cNvPr id="5" name="Sisällön paikkamerkki 10">
            <a:extLst>
              <a:ext uri="{FF2B5EF4-FFF2-40B4-BE49-F238E27FC236}">
                <a16:creationId xmlns:a16="http://schemas.microsoft.com/office/drawing/2014/main" id="{A4A60374-5E28-220E-0A91-8253E26BCDC1}"/>
              </a:ext>
            </a:extLst>
          </p:cNvPr>
          <p:cNvSpPr>
            <a:spLocks noGrp="1"/>
          </p:cNvSpPr>
          <p:nvPr>
            <p:ph sz="quarter" idx="13"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6" name="Graphic 18">
            <a:extLst>
              <a:ext uri="{FF2B5EF4-FFF2-40B4-BE49-F238E27FC236}">
                <a16:creationId xmlns:a16="http://schemas.microsoft.com/office/drawing/2014/main" id="{0BFC8ADF-5592-FD74-FA18-F9B8F5695D7D}"/>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3003583597"/>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isältödia 7">
    <p:bg>
      <p:bgPr>
        <a:solidFill>
          <a:srgbClr val="B8CDFF">
            <a:alpha val="89804"/>
          </a:srgbClr>
        </a:solidFill>
        <a:effectLst/>
      </p:bgPr>
    </p:bg>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04BF437-682C-8403-7980-4B00516BA82C}"/>
              </a:ext>
            </a:extLst>
          </p:cNvPr>
          <p:cNvSpPr>
            <a:spLocks noGrp="1"/>
          </p:cNvSpPr>
          <p:nvPr>
            <p:ph sz="quarter" idx="10" hasCustomPrompt="1"/>
          </p:nvPr>
        </p:nvSpPr>
        <p:spPr>
          <a:xfrm>
            <a:off x="838200" y="351676"/>
            <a:ext cx="10515600" cy="417513"/>
          </a:xfrm>
        </p:spPr>
        <p:txBody>
          <a:bodyPr anchor="b"/>
          <a:lstStyle>
            <a:lvl1pPr>
              <a:buNone/>
              <a:defRPr sz="1800" b="1">
                <a:solidFill>
                  <a:srgbClr val="152B96"/>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2" name="Päivämäärän paikkamerkki 6">
            <a:extLst>
              <a:ext uri="{FF2B5EF4-FFF2-40B4-BE49-F238E27FC236}">
                <a16:creationId xmlns:a16="http://schemas.microsoft.com/office/drawing/2014/main" id="{0A0CE2DD-C036-3AB7-D636-25CF815053A6}"/>
              </a:ext>
            </a:extLst>
          </p:cNvPr>
          <p:cNvSpPr>
            <a:spLocks noGrp="1"/>
          </p:cNvSpPr>
          <p:nvPr>
            <p:ph type="dt" sz="half" idx="11"/>
          </p:nvPr>
        </p:nvSpPr>
        <p:spPr>
          <a:xfrm>
            <a:off x="838200" y="6356350"/>
            <a:ext cx="2743200" cy="365125"/>
          </a:xfrm>
        </p:spPr>
        <p:txBody>
          <a:bodyPr/>
          <a:lstStyle/>
          <a:p>
            <a:endParaRPr lang="fi-FI" dirty="0"/>
          </a:p>
        </p:txBody>
      </p:sp>
      <p:sp>
        <p:nvSpPr>
          <p:cNvPr id="3" name="Alatunnisteen paikkamerkki 7">
            <a:extLst>
              <a:ext uri="{FF2B5EF4-FFF2-40B4-BE49-F238E27FC236}">
                <a16:creationId xmlns:a16="http://schemas.microsoft.com/office/drawing/2014/main" id="{F8B95D0C-95AF-63A6-AEE7-B536EB57953F}"/>
              </a:ext>
            </a:extLst>
          </p:cNvPr>
          <p:cNvSpPr>
            <a:spLocks noGrp="1"/>
          </p:cNvSpPr>
          <p:nvPr>
            <p:ph type="ftr" sz="quarter" idx="12"/>
          </p:nvPr>
        </p:nvSpPr>
        <p:spPr>
          <a:xfrm>
            <a:off x="4038600" y="6356350"/>
            <a:ext cx="4114800" cy="365125"/>
          </a:xfrm>
        </p:spPr>
        <p:txBody>
          <a:bodyPr/>
          <a:lstStyle/>
          <a:p>
            <a:r>
              <a:rPr lang="fi-FI"/>
              <a:t>7</a:t>
            </a:r>
          </a:p>
        </p:txBody>
      </p:sp>
      <p:sp>
        <p:nvSpPr>
          <p:cNvPr id="7" name="Title 1">
            <a:extLst>
              <a:ext uri="{FF2B5EF4-FFF2-40B4-BE49-F238E27FC236}">
                <a16:creationId xmlns:a16="http://schemas.microsoft.com/office/drawing/2014/main" id="{897308FA-A7AA-EA18-FC8F-8FEEEB87621C}"/>
              </a:ext>
            </a:extLst>
          </p:cNvPr>
          <p:cNvSpPr>
            <a:spLocks noGrp="1"/>
          </p:cNvSpPr>
          <p:nvPr>
            <p:ph type="title"/>
          </p:nvPr>
        </p:nvSpPr>
        <p:spPr>
          <a:xfrm>
            <a:off x="838200" y="769189"/>
            <a:ext cx="10515600" cy="921499"/>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sp>
        <p:nvSpPr>
          <p:cNvPr id="4" name="Sisällön paikkamerkki 10">
            <a:extLst>
              <a:ext uri="{FF2B5EF4-FFF2-40B4-BE49-F238E27FC236}">
                <a16:creationId xmlns:a16="http://schemas.microsoft.com/office/drawing/2014/main" id="{2AA0EE4E-35AA-7AAE-078D-8532B01C778E}"/>
              </a:ext>
            </a:extLst>
          </p:cNvPr>
          <p:cNvSpPr>
            <a:spLocks noGrp="1"/>
          </p:cNvSpPr>
          <p:nvPr>
            <p:ph sz="quarter" idx="13"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5" name="Graphic 18">
            <a:extLst>
              <a:ext uri="{FF2B5EF4-FFF2-40B4-BE49-F238E27FC236}">
                <a16:creationId xmlns:a16="http://schemas.microsoft.com/office/drawing/2014/main" id="{8B3236DE-76CD-CEA2-E758-2261AD2EBC3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860242534"/>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isältödia 8">
    <p:bg>
      <p:bgPr>
        <a:solidFill>
          <a:srgbClr val="F2A6DB">
            <a:alpha val="90000"/>
          </a:srgbClr>
        </a:solidFill>
        <a:effectLst/>
      </p:bgPr>
    </p:bg>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04BF437-682C-8403-7980-4B00516BA82C}"/>
              </a:ext>
            </a:extLst>
          </p:cNvPr>
          <p:cNvSpPr>
            <a:spLocks noGrp="1"/>
          </p:cNvSpPr>
          <p:nvPr>
            <p:ph sz="quarter" idx="10" hasCustomPrompt="1"/>
          </p:nvPr>
        </p:nvSpPr>
        <p:spPr>
          <a:xfrm>
            <a:off x="838200" y="351676"/>
            <a:ext cx="10515600" cy="417513"/>
          </a:xfrm>
        </p:spPr>
        <p:txBody>
          <a:bodyPr anchor="b"/>
          <a:lstStyle>
            <a:lvl1pPr>
              <a:buNone/>
              <a:defRPr sz="1800" b="1">
                <a:solidFill>
                  <a:srgbClr val="152B96"/>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2" name="Päivämäärän paikkamerkki 6">
            <a:extLst>
              <a:ext uri="{FF2B5EF4-FFF2-40B4-BE49-F238E27FC236}">
                <a16:creationId xmlns:a16="http://schemas.microsoft.com/office/drawing/2014/main" id="{99D3D157-9658-1210-70DE-4448A6C50C2E}"/>
              </a:ext>
            </a:extLst>
          </p:cNvPr>
          <p:cNvSpPr>
            <a:spLocks noGrp="1"/>
          </p:cNvSpPr>
          <p:nvPr>
            <p:ph type="dt" sz="half" idx="11"/>
          </p:nvPr>
        </p:nvSpPr>
        <p:spPr>
          <a:xfrm>
            <a:off x="838200" y="6356350"/>
            <a:ext cx="2743200" cy="365125"/>
          </a:xfrm>
        </p:spPr>
        <p:txBody>
          <a:bodyPr/>
          <a:lstStyle/>
          <a:p>
            <a:endParaRPr lang="fi-FI" dirty="0"/>
          </a:p>
        </p:txBody>
      </p:sp>
      <p:sp>
        <p:nvSpPr>
          <p:cNvPr id="3" name="Alatunnisteen paikkamerkki 7">
            <a:extLst>
              <a:ext uri="{FF2B5EF4-FFF2-40B4-BE49-F238E27FC236}">
                <a16:creationId xmlns:a16="http://schemas.microsoft.com/office/drawing/2014/main" id="{6CBE00B5-F476-579F-3307-3C146018E204}"/>
              </a:ext>
            </a:extLst>
          </p:cNvPr>
          <p:cNvSpPr>
            <a:spLocks noGrp="1"/>
          </p:cNvSpPr>
          <p:nvPr>
            <p:ph type="ftr" sz="quarter" idx="12"/>
          </p:nvPr>
        </p:nvSpPr>
        <p:spPr>
          <a:xfrm>
            <a:off x="4038600" y="6356350"/>
            <a:ext cx="4114800" cy="365125"/>
          </a:xfrm>
        </p:spPr>
        <p:txBody>
          <a:bodyPr/>
          <a:lstStyle/>
          <a:p>
            <a:r>
              <a:rPr lang="fi-FI"/>
              <a:t>7</a:t>
            </a:r>
          </a:p>
        </p:txBody>
      </p:sp>
      <p:sp>
        <p:nvSpPr>
          <p:cNvPr id="7" name="Title 1">
            <a:extLst>
              <a:ext uri="{FF2B5EF4-FFF2-40B4-BE49-F238E27FC236}">
                <a16:creationId xmlns:a16="http://schemas.microsoft.com/office/drawing/2014/main" id="{089DB623-AA78-516A-BB7C-CD251EA9FBC2}"/>
              </a:ext>
            </a:extLst>
          </p:cNvPr>
          <p:cNvSpPr>
            <a:spLocks noGrp="1"/>
          </p:cNvSpPr>
          <p:nvPr>
            <p:ph type="title"/>
          </p:nvPr>
        </p:nvSpPr>
        <p:spPr>
          <a:xfrm>
            <a:off x="838200" y="769189"/>
            <a:ext cx="10515600" cy="921499"/>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sp>
        <p:nvSpPr>
          <p:cNvPr id="5" name="Sisällön paikkamerkki 10">
            <a:extLst>
              <a:ext uri="{FF2B5EF4-FFF2-40B4-BE49-F238E27FC236}">
                <a16:creationId xmlns:a16="http://schemas.microsoft.com/office/drawing/2014/main" id="{FA496B45-5070-8F02-2862-488855CC8C5E}"/>
              </a:ext>
            </a:extLst>
          </p:cNvPr>
          <p:cNvSpPr>
            <a:spLocks noGrp="1"/>
          </p:cNvSpPr>
          <p:nvPr>
            <p:ph sz="quarter" idx="13"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6" name="Graphic 18">
            <a:extLst>
              <a:ext uri="{FF2B5EF4-FFF2-40B4-BE49-F238E27FC236}">
                <a16:creationId xmlns:a16="http://schemas.microsoft.com/office/drawing/2014/main" id="{FF1B65CB-7CC7-4047-4765-FCD1695F93E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798276975"/>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isältödia 9">
    <p:bg>
      <p:bgPr>
        <a:solidFill>
          <a:srgbClr val="D9D9D6"/>
        </a:solidFill>
        <a:effectLst/>
      </p:bgPr>
    </p:bg>
    <p:spTree>
      <p:nvGrpSpPr>
        <p:cNvPr id="1" name=""/>
        <p:cNvGrpSpPr/>
        <p:nvPr/>
      </p:nvGrpSpPr>
      <p:grpSpPr>
        <a:xfrm>
          <a:off x="0" y="0"/>
          <a:ext cx="0" cy="0"/>
          <a:chOff x="0" y="0"/>
          <a:chExt cx="0" cy="0"/>
        </a:xfrm>
      </p:grpSpPr>
      <p:sp>
        <p:nvSpPr>
          <p:cNvPr id="4" name="Content Placeholder 11">
            <a:extLst>
              <a:ext uri="{FF2B5EF4-FFF2-40B4-BE49-F238E27FC236}">
                <a16:creationId xmlns:a16="http://schemas.microsoft.com/office/drawing/2014/main" id="{AE7065A5-5F8A-7861-D763-EF0FD617D9C2}"/>
              </a:ext>
            </a:extLst>
          </p:cNvPr>
          <p:cNvSpPr>
            <a:spLocks noGrp="1"/>
          </p:cNvSpPr>
          <p:nvPr>
            <p:ph sz="quarter" idx="10" hasCustomPrompt="1"/>
          </p:nvPr>
        </p:nvSpPr>
        <p:spPr>
          <a:xfrm>
            <a:off x="838200" y="351676"/>
            <a:ext cx="10515600" cy="417513"/>
          </a:xfrm>
        </p:spPr>
        <p:txBody>
          <a:bodyPr anchor="b"/>
          <a:lstStyle>
            <a:lvl1pPr>
              <a:buNone/>
              <a:defRPr sz="1800" b="1">
                <a:solidFill>
                  <a:srgbClr val="152B96"/>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7" name="Päivämäärän paikkamerkki 6">
            <a:extLst>
              <a:ext uri="{FF2B5EF4-FFF2-40B4-BE49-F238E27FC236}">
                <a16:creationId xmlns:a16="http://schemas.microsoft.com/office/drawing/2014/main" id="{F58BAAA6-90E3-4E1E-C6BA-FEDC6DA244EC}"/>
              </a:ext>
            </a:extLst>
          </p:cNvPr>
          <p:cNvSpPr>
            <a:spLocks noGrp="1"/>
          </p:cNvSpPr>
          <p:nvPr>
            <p:ph type="dt" sz="half" idx="11"/>
          </p:nvPr>
        </p:nvSpPr>
        <p:spPr>
          <a:xfrm>
            <a:off x="838200" y="6356350"/>
            <a:ext cx="2743200" cy="365125"/>
          </a:xfrm>
        </p:spPr>
        <p:txBody>
          <a:bodyPr/>
          <a:lstStyle/>
          <a:p>
            <a:endParaRPr lang="fi-FI" dirty="0"/>
          </a:p>
        </p:txBody>
      </p:sp>
      <p:sp>
        <p:nvSpPr>
          <p:cNvPr id="8" name="Alatunnisteen paikkamerkki 7">
            <a:extLst>
              <a:ext uri="{FF2B5EF4-FFF2-40B4-BE49-F238E27FC236}">
                <a16:creationId xmlns:a16="http://schemas.microsoft.com/office/drawing/2014/main" id="{EAFF1303-994B-42A0-DD95-94DF5264AD32}"/>
              </a:ext>
            </a:extLst>
          </p:cNvPr>
          <p:cNvSpPr>
            <a:spLocks noGrp="1"/>
          </p:cNvSpPr>
          <p:nvPr>
            <p:ph type="ftr" sz="quarter" idx="12"/>
          </p:nvPr>
        </p:nvSpPr>
        <p:spPr>
          <a:xfrm>
            <a:off x="4038600" y="6356350"/>
            <a:ext cx="4114800" cy="365125"/>
          </a:xfrm>
        </p:spPr>
        <p:txBody>
          <a:bodyPr/>
          <a:lstStyle/>
          <a:p>
            <a:r>
              <a:rPr lang="fi-FI"/>
              <a:t>7</a:t>
            </a:r>
          </a:p>
        </p:txBody>
      </p:sp>
      <p:sp>
        <p:nvSpPr>
          <p:cNvPr id="10" name="Title 1">
            <a:extLst>
              <a:ext uri="{FF2B5EF4-FFF2-40B4-BE49-F238E27FC236}">
                <a16:creationId xmlns:a16="http://schemas.microsoft.com/office/drawing/2014/main" id="{EFDD50D8-0537-7593-E038-5EC7B0A96DB6}"/>
              </a:ext>
            </a:extLst>
          </p:cNvPr>
          <p:cNvSpPr>
            <a:spLocks noGrp="1"/>
          </p:cNvSpPr>
          <p:nvPr>
            <p:ph type="title"/>
          </p:nvPr>
        </p:nvSpPr>
        <p:spPr>
          <a:xfrm>
            <a:off x="838200" y="769189"/>
            <a:ext cx="10515600" cy="921499"/>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sp>
        <p:nvSpPr>
          <p:cNvPr id="2" name="Sisällön paikkamerkki 10">
            <a:extLst>
              <a:ext uri="{FF2B5EF4-FFF2-40B4-BE49-F238E27FC236}">
                <a16:creationId xmlns:a16="http://schemas.microsoft.com/office/drawing/2014/main" id="{AAAFDE2A-79F0-2E27-CC6C-4AD9729F1062}"/>
              </a:ext>
            </a:extLst>
          </p:cNvPr>
          <p:cNvSpPr>
            <a:spLocks noGrp="1"/>
          </p:cNvSpPr>
          <p:nvPr>
            <p:ph sz="quarter" idx="13"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3" name="Graphic 18">
            <a:extLst>
              <a:ext uri="{FF2B5EF4-FFF2-40B4-BE49-F238E27FC236}">
                <a16:creationId xmlns:a16="http://schemas.microsoft.com/office/drawing/2014/main" id="{A44688B5-A8E5-A337-70F9-197D99BB229D}"/>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496466195"/>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isältödia 10">
    <p:bg>
      <p:bgPr>
        <a:solidFill>
          <a:schemeClr val="bg1">
            <a:alpha val="90000"/>
          </a:schemeClr>
        </a:solidFill>
        <a:effectLst/>
      </p:bgPr>
    </p:bg>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04BF437-682C-8403-7980-4B00516BA82C}"/>
              </a:ext>
            </a:extLst>
          </p:cNvPr>
          <p:cNvSpPr>
            <a:spLocks noGrp="1"/>
          </p:cNvSpPr>
          <p:nvPr>
            <p:ph sz="quarter" idx="10" hasCustomPrompt="1"/>
          </p:nvPr>
        </p:nvSpPr>
        <p:spPr>
          <a:xfrm>
            <a:off x="838200" y="351676"/>
            <a:ext cx="10515600" cy="417513"/>
          </a:xfrm>
        </p:spPr>
        <p:txBody>
          <a:bodyPr anchor="b"/>
          <a:lstStyle>
            <a:lvl1pPr>
              <a:buNone/>
              <a:defRPr sz="1800" b="1">
                <a:solidFill>
                  <a:srgbClr val="152B96"/>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2" name="Päivämäärän paikkamerkki 6">
            <a:extLst>
              <a:ext uri="{FF2B5EF4-FFF2-40B4-BE49-F238E27FC236}">
                <a16:creationId xmlns:a16="http://schemas.microsoft.com/office/drawing/2014/main" id="{0253F5C1-A6C8-B4C4-8BE8-AB459AAF0935}"/>
              </a:ext>
            </a:extLst>
          </p:cNvPr>
          <p:cNvSpPr>
            <a:spLocks noGrp="1"/>
          </p:cNvSpPr>
          <p:nvPr>
            <p:ph type="dt" sz="half" idx="11"/>
          </p:nvPr>
        </p:nvSpPr>
        <p:spPr>
          <a:xfrm>
            <a:off x="838200" y="6356350"/>
            <a:ext cx="2743200" cy="365125"/>
          </a:xfrm>
        </p:spPr>
        <p:txBody>
          <a:bodyPr/>
          <a:lstStyle/>
          <a:p>
            <a:endParaRPr lang="fi-FI" dirty="0"/>
          </a:p>
        </p:txBody>
      </p:sp>
      <p:sp>
        <p:nvSpPr>
          <p:cNvPr id="3" name="Alatunnisteen paikkamerkki 7">
            <a:extLst>
              <a:ext uri="{FF2B5EF4-FFF2-40B4-BE49-F238E27FC236}">
                <a16:creationId xmlns:a16="http://schemas.microsoft.com/office/drawing/2014/main" id="{0B097E2D-0E0E-F74C-84CB-E5EAD019293D}"/>
              </a:ext>
            </a:extLst>
          </p:cNvPr>
          <p:cNvSpPr>
            <a:spLocks noGrp="1"/>
          </p:cNvSpPr>
          <p:nvPr>
            <p:ph type="ftr" sz="quarter" idx="12"/>
          </p:nvPr>
        </p:nvSpPr>
        <p:spPr>
          <a:xfrm>
            <a:off x="4038600" y="6356350"/>
            <a:ext cx="4114800" cy="365125"/>
          </a:xfrm>
        </p:spPr>
        <p:txBody>
          <a:bodyPr/>
          <a:lstStyle/>
          <a:p>
            <a:r>
              <a:rPr lang="fi-FI"/>
              <a:t>7</a:t>
            </a:r>
          </a:p>
        </p:txBody>
      </p:sp>
      <p:sp>
        <p:nvSpPr>
          <p:cNvPr id="7" name="Title 1">
            <a:extLst>
              <a:ext uri="{FF2B5EF4-FFF2-40B4-BE49-F238E27FC236}">
                <a16:creationId xmlns:a16="http://schemas.microsoft.com/office/drawing/2014/main" id="{02D3E4BB-53F4-B4FC-D57C-45B4AEC78AA9}"/>
              </a:ext>
            </a:extLst>
          </p:cNvPr>
          <p:cNvSpPr>
            <a:spLocks noGrp="1"/>
          </p:cNvSpPr>
          <p:nvPr>
            <p:ph type="title"/>
          </p:nvPr>
        </p:nvSpPr>
        <p:spPr>
          <a:xfrm>
            <a:off x="838200" y="769189"/>
            <a:ext cx="10515600" cy="921499"/>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sp>
        <p:nvSpPr>
          <p:cNvPr id="4" name="Sisällön paikkamerkki 10">
            <a:extLst>
              <a:ext uri="{FF2B5EF4-FFF2-40B4-BE49-F238E27FC236}">
                <a16:creationId xmlns:a16="http://schemas.microsoft.com/office/drawing/2014/main" id="{8A6BBD6D-85A0-5333-853C-64C5E24A9CB9}"/>
              </a:ext>
            </a:extLst>
          </p:cNvPr>
          <p:cNvSpPr>
            <a:spLocks noGrp="1"/>
          </p:cNvSpPr>
          <p:nvPr>
            <p:ph sz="quarter" idx="13" hasCustomPrompt="1"/>
          </p:nvPr>
        </p:nvSpPr>
        <p:spPr>
          <a:xfrm>
            <a:off x="838200" y="2079625"/>
            <a:ext cx="10515600" cy="4097338"/>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5" name="Graphic 18">
            <a:extLst>
              <a:ext uri="{FF2B5EF4-FFF2-40B4-BE49-F238E27FC236}">
                <a16:creationId xmlns:a16="http://schemas.microsoft.com/office/drawing/2014/main" id="{F3B2E8B2-791A-CF8E-E919-6DA06CC03CB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1970835803"/>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isältödia 11">
    <p:bg>
      <p:bgPr>
        <a:solidFill>
          <a:srgbClr val="F2A6DB">
            <a:alpha val="70000"/>
          </a:srgbClr>
        </a:solidFill>
        <a:effectLst/>
      </p:bgPr>
    </p:bg>
    <p:spTree>
      <p:nvGrpSpPr>
        <p:cNvPr id="1" name=""/>
        <p:cNvGrpSpPr/>
        <p:nvPr/>
      </p:nvGrpSpPr>
      <p:grpSpPr>
        <a:xfrm>
          <a:off x="0" y="0"/>
          <a:ext cx="0" cy="0"/>
          <a:chOff x="0" y="0"/>
          <a:chExt cx="0" cy="0"/>
        </a:xfrm>
      </p:grpSpPr>
      <p:sp>
        <p:nvSpPr>
          <p:cNvPr id="7" name="Date Placeholder 4">
            <a:extLst>
              <a:ext uri="{FF2B5EF4-FFF2-40B4-BE49-F238E27FC236}">
                <a16:creationId xmlns:a16="http://schemas.microsoft.com/office/drawing/2014/main" id="{B3D41585-E66D-74A8-5585-718B0C2050E3}"/>
              </a:ext>
            </a:extLst>
          </p:cNvPr>
          <p:cNvSpPr>
            <a:spLocks noGrp="1"/>
          </p:cNvSpPr>
          <p:nvPr>
            <p:ph type="dt" sz="half" idx="10"/>
          </p:nvPr>
        </p:nvSpPr>
        <p:spPr>
          <a:xfrm>
            <a:off x="838200" y="6356350"/>
            <a:ext cx="2743200" cy="365125"/>
          </a:xfrm>
        </p:spPr>
        <p:txBody>
          <a:bodyPr/>
          <a:lstStyle/>
          <a:p>
            <a:endParaRPr lang="fi-FI" dirty="0"/>
          </a:p>
        </p:txBody>
      </p:sp>
      <p:sp>
        <p:nvSpPr>
          <p:cNvPr id="8" name="Footer Placeholder 5">
            <a:extLst>
              <a:ext uri="{FF2B5EF4-FFF2-40B4-BE49-F238E27FC236}">
                <a16:creationId xmlns:a16="http://schemas.microsoft.com/office/drawing/2014/main" id="{5E76AC38-657A-3766-6F95-1977C0F9DDFB}"/>
              </a:ext>
            </a:extLst>
          </p:cNvPr>
          <p:cNvSpPr>
            <a:spLocks noGrp="1"/>
          </p:cNvSpPr>
          <p:nvPr>
            <p:ph type="ftr" sz="quarter" idx="11"/>
          </p:nvPr>
        </p:nvSpPr>
        <p:spPr>
          <a:xfrm>
            <a:off x="4038600" y="6356350"/>
            <a:ext cx="4114800" cy="365125"/>
          </a:xfrm>
        </p:spPr>
        <p:txBody>
          <a:bodyPr/>
          <a:lstStyle/>
          <a:p>
            <a:r>
              <a:rPr lang="fi-FI"/>
              <a:t>7</a:t>
            </a:r>
          </a:p>
        </p:txBody>
      </p:sp>
      <p:sp>
        <p:nvSpPr>
          <p:cNvPr id="10" name="Title 1">
            <a:extLst>
              <a:ext uri="{FF2B5EF4-FFF2-40B4-BE49-F238E27FC236}">
                <a16:creationId xmlns:a16="http://schemas.microsoft.com/office/drawing/2014/main" id="{A53A4F00-013F-5EB8-F020-92A235EA3C0C}"/>
              </a:ext>
            </a:extLst>
          </p:cNvPr>
          <p:cNvSpPr>
            <a:spLocks noGrp="1"/>
          </p:cNvSpPr>
          <p:nvPr>
            <p:ph type="title"/>
          </p:nvPr>
        </p:nvSpPr>
        <p:spPr>
          <a:xfrm>
            <a:off x="838200" y="681037"/>
            <a:ext cx="10515600" cy="1009651"/>
          </a:xfrm>
        </p:spPr>
        <p:txBody>
          <a:bodyPr>
            <a:noAutofit/>
          </a:bodyPr>
          <a:lstStyle>
            <a:lvl1pPr>
              <a:lnSpc>
                <a:spcPct val="100000"/>
              </a:lnSpc>
              <a:defRPr b="1" i="0">
                <a:solidFill>
                  <a:srgbClr val="152B96"/>
                </a:solidFill>
                <a:latin typeface="Poppins" pitchFamily="2" charset="77"/>
                <a:cs typeface="Poppins" pitchFamily="2" charset="77"/>
              </a:defRPr>
            </a:lvl1pPr>
          </a:lstStyle>
          <a:p>
            <a:r>
              <a:rPr lang="fi-FI"/>
              <a:t>Muokkaa ots. perustyyl. napsautt.</a:t>
            </a:r>
          </a:p>
        </p:txBody>
      </p:sp>
      <p:sp>
        <p:nvSpPr>
          <p:cNvPr id="14" name="Content Placeholder 14">
            <a:extLst>
              <a:ext uri="{FF2B5EF4-FFF2-40B4-BE49-F238E27FC236}">
                <a16:creationId xmlns:a16="http://schemas.microsoft.com/office/drawing/2014/main" id="{F4BB7DB4-4626-58EF-08A3-E9BE5C3B0561}"/>
              </a:ext>
            </a:extLst>
          </p:cNvPr>
          <p:cNvSpPr>
            <a:spLocks noGrp="1"/>
          </p:cNvSpPr>
          <p:nvPr>
            <p:ph sz="quarter" idx="15" hasCustomPrompt="1"/>
          </p:nvPr>
        </p:nvSpPr>
        <p:spPr>
          <a:xfrm>
            <a:off x="838200" y="1831469"/>
            <a:ext cx="5146366" cy="4450706"/>
          </a:xfrm>
        </p:spPr>
        <p:txBody>
          <a:bodyPr>
            <a:noAutofit/>
          </a:bodyPr>
          <a:lstStyle/>
          <a:p>
            <a:pPr lvl="0"/>
            <a:r>
              <a:rPr lang="fi-FI" noProof="0"/>
              <a:t>Teksti</a:t>
            </a:r>
          </a:p>
        </p:txBody>
      </p:sp>
      <p:sp>
        <p:nvSpPr>
          <p:cNvPr id="15" name="Content Placeholder 14">
            <a:extLst>
              <a:ext uri="{FF2B5EF4-FFF2-40B4-BE49-F238E27FC236}">
                <a16:creationId xmlns:a16="http://schemas.microsoft.com/office/drawing/2014/main" id="{0DA4058A-3B5B-5770-214B-89FD2FFB2AB3}"/>
              </a:ext>
            </a:extLst>
          </p:cNvPr>
          <p:cNvSpPr>
            <a:spLocks noGrp="1"/>
          </p:cNvSpPr>
          <p:nvPr>
            <p:ph sz="quarter" idx="16" hasCustomPrompt="1"/>
          </p:nvPr>
        </p:nvSpPr>
        <p:spPr>
          <a:xfrm>
            <a:off x="6195391" y="1831469"/>
            <a:ext cx="5146366" cy="4487794"/>
          </a:xfrm>
        </p:spPr>
        <p:txBody>
          <a:bodyPr>
            <a:noAutofit/>
          </a:bodyPr>
          <a:lstStyle/>
          <a:p>
            <a:pPr lvl="0"/>
            <a:r>
              <a:rPr lang="fi-FI" noProof="0"/>
              <a:t>Teksti</a:t>
            </a:r>
          </a:p>
        </p:txBody>
      </p:sp>
      <p:pic>
        <p:nvPicPr>
          <p:cNvPr id="2" name="Graphic 18">
            <a:extLst>
              <a:ext uri="{FF2B5EF4-FFF2-40B4-BE49-F238E27FC236}">
                <a16:creationId xmlns:a16="http://schemas.microsoft.com/office/drawing/2014/main" id="{03257A3B-35B9-8E5C-91F7-8F3F34B9C56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1528370799"/>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isältödia 12">
    <p:bg>
      <p:bgPr>
        <a:solidFill>
          <a:srgbClr val="FFCC99">
            <a:alpha val="90000"/>
          </a:srgbClr>
        </a:solidFill>
        <a:effectLst/>
      </p:bgPr>
    </p:bg>
    <p:spTree>
      <p:nvGrpSpPr>
        <p:cNvPr id="1" name=""/>
        <p:cNvGrpSpPr/>
        <p:nvPr/>
      </p:nvGrpSpPr>
      <p:grpSpPr>
        <a:xfrm>
          <a:off x="0" y="0"/>
          <a:ext cx="0" cy="0"/>
          <a:chOff x="0" y="0"/>
          <a:chExt cx="0" cy="0"/>
        </a:xfrm>
      </p:grpSpPr>
      <p:sp>
        <p:nvSpPr>
          <p:cNvPr id="7" name="Date Placeholder 4">
            <a:extLst>
              <a:ext uri="{FF2B5EF4-FFF2-40B4-BE49-F238E27FC236}">
                <a16:creationId xmlns:a16="http://schemas.microsoft.com/office/drawing/2014/main" id="{C38F4339-CEFA-F5A3-A4D7-B4A610D0C36E}"/>
              </a:ext>
            </a:extLst>
          </p:cNvPr>
          <p:cNvSpPr>
            <a:spLocks noGrp="1"/>
          </p:cNvSpPr>
          <p:nvPr>
            <p:ph type="dt" sz="half" idx="10"/>
          </p:nvPr>
        </p:nvSpPr>
        <p:spPr>
          <a:xfrm>
            <a:off x="838200" y="6356350"/>
            <a:ext cx="2743200" cy="365125"/>
          </a:xfrm>
        </p:spPr>
        <p:txBody>
          <a:bodyPr/>
          <a:lstStyle/>
          <a:p>
            <a:endParaRPr lang="fi-FI" dirty="0"/>
          </a:p>
        </p:txBody>
      </p:sp>
      <p:sp>
        <p:nvSpPr>
          <p:cNvPr id="8" name="Footer Placeholder 5">
            <a:extLst>
              <a:ext uri="{FF2B5EF4-FFF2-40B4-BE49-F238E27FC236}">
                <a16:creationId xmlns:a16="http://schemas.microsoft.com/office/drawing/2014/main" id="{FDF049C1-B632-708F-DA10-71C464328DBA}"/>
              </a:ext>
            </a:extLst>
          </p:cNvPr>
          <p:cNvSpPr>
            <a:spLocks noGrp="1"/>
          </p:cNvSpPr>
          <p:nvPr>
            <p:ph type="ftr" sz="quarter" idx="11"/>
          </p:nvPr>
        </p:nvSpPr>
        <p:spPr>
          <a:xfrm>
            <a:off x="4038600" y="6356350"/>
            <a:ext cx="4114800" cy="365125"/>
          </a:xfrm>
        </p:spPr>
        <p:txBody>
          <a:bodyPr/>
          <a:lstStyle/>
          <a:p>
            <a:r>
              <a:rPr lang="fi-FI"/>
              <a:t>7</a:t>
            </a:r>
          </a:p>
        </p:txBody>
      </p:sp>
      <p:sp>
        <p:nvSpPr>
          <p:cNvPr id="10" name="Title 1">
            <a:extLst>
              <a:ext uri="{FF2B5EF4-FFF2-40B4-BE49-F238E27FC236}">
                <a16:creationId xmlns:a16="http://schemas.microsoft.com/office/drawing/2014/main" id="{86EF381B-B692-B1DF-C001-2E085E9C6BBA}"/>
              </a:ext>
            </a:extLst>
          </p:cNvPr>
          <p:cNvSpPr>
            <a:spLocks noGrp="1"/>
          </p:cNvSpPr>
          <p:nvPr>
            <p:ph type="title"/>
          </p:nvPr>
        </p:nvSpPr>
        <p:spPr>
          <a:xfrm>
            <a:off x="838200" y="681037"/>
            <a:ext cx="10515600" cy="1009651"/>
          </a:xfrm>
        </p:spPr>
        <p:txBody>
          <a:bodyPr>
            <a:noAutofit/>
          </a:bodyPr>
          <a:lstStyle>
            <a:lvl1pPr>
              <a:lnSpc>
                <a:spcPct val="100000"/>
              </a:lnSpc>
              <a:defRPr b="1" i="0">
                <a:solidFill>
                  <a:srgbClr val="450099"/>
                </a:solidFill>
                <a:latin typeface="Poppins" pitchFamily="2" charset="77"/>
                <a:cs typeface="Poppins" pitchFamily="2" charset="77"/>
              </a:defRPr>
            </a:lvl1pPr>
          </a:lstStyle>
          <a:p>
            <a:r>
              <a:rPr lang="fi-FI"/>
              <a:t>Muokkaa ots. perustyyl. napsautt.</a:t>
            </a:r>
          </a:p>
        </p:txBody>
      </p:sp>
      <p:sp>
        <p:nvSpPr>
          <p:cNvPr id="3" name="Content Placeholder 14">
            <a:extLst>
              <a:ext uri="{FF2B5EF4-FFF2-40B4-BE49-F238E27FC236}">
                <a16:creationId xmlns:a16="http://schemas.microsoft.com/office/drawing/2014/main" id="{16F31723-6F67-9217-1E31-507BDBB2CC6E}"/>
              </a:ext>
            </a:extLst>
          </p:cNvPr>
          <p:cNvSpPr>
            <a:spLocks noGrp="1"/>
          </p:cNvSpPr>
          <p:nvPr>
            <p:ph sz="quarter" idx="15" hasCustomPrompt="1"/>
          </p:nvPr>
        </p:nvSpPr>
        <p:spPr>
          <a:xfrm>
            <a:off x="838200" y="1831469"/>
            <a:ext cx="5146366" cy="4450706"/>
          </a:xfrm>
        </p:spPr>
        <p:txBody>
          <a:bodyPr>
            <a:noAutofit/>
          </a:bodyPr>
          <a:lstStyle/>
          <a:p>
            <a:pPr lvl="0"/>
            <a:r>
              <a:rPr lang="fi-FI" noProof="0"/>
              <a:t>Teksti</a:t>
            </a:r>
          </a:p>
        </p:txBody>
      </p:sp>
      <p:sp>
        <p:nvSpPr>
          <p:cNvPr id="4" name="Content Placeholder 14">
            <a:extLst>
              <a:ext uri="{FF2B5EF4-FFF2-40B4-BE49-F238E27FC236}">
                <a16:creationId xmlns:a16="http://schemas.microsoft.com/office/drawing/2014/main" id="{AA90D73A-4410-0A28-90C7-8BBC869160C5}"/>
              </a:ext>
            </a:extLst>
          </p:cNvPr>
          <p:cNvSpPr>
            <a:spLocks noGrp="1"/>
          </p:cNvSpPr>
          <p:nvPr>
            <p:ph sz="quarter" idx="16" hasCustomPrompt="1"/>
          </p:nvPr>
        </p:nvSpPr>
        <p:spPr>
          <a:xfrm>
            <a:off x="6195391" y="1831469"/>
            <a:ext cx="5146366" cy="4487794"/>
          </a:xfrm>
        </p:spPr>
        <p:txBody>
          <a:bodyPr>
            <a:noAutofit/>
          </a:bodyPr>
          <a:lstStyle/>
          <a:p>
            <a:pPr lvl="0"/>
            <a:r>
              <a:rPr lang="fi-FI" noProof="0"/>
              <a:t>Teksti</a:t>
            </a:r>
          </a:p>
        </p:txBody>
      </p:sp>
      <p:pic>
        <p:nvPicPr>
          <p:cNvPr id="5" name="Graphic 18">
            <a:extLst>
              <a:ext uri="{FF2B5EF4-FFF2-40B4-BE49-F238E27FC236}">
                <a16:creationId xmlns:a16="http://schemas.microsoft.com/office/drawing/2014/main" id="{DFB3DBB6-CDB5-2FB0-41EE-69A237BB503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3830826577"/>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isältödia 13">
    <p:bg>
      <p:bgPr>
        <a:solidFill>
          <a:srgbClr val="D9D9D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F231C-6192-12B0-9738-31A2E12AFA59}"/>
              </a:ext>
            </a:extLst>
          </p:cNvPr>
          <p:cNvSpPr>
            <a:spLocks noGrp="1"/>
          </p:cNvSpPr>
          <p:nvPr>
            <p:ph type="title"/>
          </p:nvPr>
        </p:nvSpPr>
        <p:spPr>
          <a:xfrm>
            <a:off x="839788" y="365125"/>
            <a:ext cx="10515600" cy="1325563"/>
          </a:xfrm>
        </p:spPr>
        <p:txBody>
          <a:bodyPr>
            <a:noAutofit/>
          </a:bodyPr>
          <a:lstStyle>
            <a:lvl1pPr>
              <a:defRPr>
                <a:solidFill>
                  <a:srgbClr val="006173"/>
                </a:solidFill>
              </a:defRPr>
            </a:lvl1pPr>
          </a:lstStyle>
          <a:p>
            <a:r>
              <a:rPr lang="fi-FI"/>
              <a:t>Muokkaa ots. perustyyl. napsautt.</a:t>
            </a:r>
          </a:p>
        </p:txBody>
      </p:sp>
      <p:sp>
        <p:nvSpPr>
          <p:cNvPr id="3" name="Text Placeholder 2">
            <a:extLst>
              <a:ext uri="{FF2B5EF4-FFF2-40B4-BE49-F238E27FC236}">
                <a16:creationId xmlns:a16="http://schemas.microsoft.com/office/drawing/2014/main" id="{C54E2D8D-BE22-3425-6520-2FAE0AFF6556}"/>
              </a:ext>
            </a:extLst>
          </p:cNvPr>
          <p:cNvSpPr>
            <a:spLocks noGrp="1"/>
          </p:cNvSpPr>
          <p:nvPr>
            <p:ph type="body" idx="1"/>
          </p:nvPr>
        </p:nvSpPr>
        <p:spPr>
          <a:xfrm>
            <a:off x="839788" y="1764863"/>
            <a:ext cx="5097185" cy="740212"/>
          </a:xfrm>
        </p:spPr>
        <p:txBody>
          <a:bodyPr anchor="b">
            <a:noAutofit/>
          </a:bodyPr>
          <a:lstStyle>
            <a:lvl1pPr marL="0" indent="0">
              <a:buNone/>
              <a:defRPr sz="2400" b="1">
                <a:solidFill>
                  <a:srgbClr val="00617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5" name="Text Placeholder 4">
            <a:extLst>
              <a:ext uri="{FF2B5EF4-FFF2-40B4-BE49-F238E27FC236}">
                <a16:creationId xmlns:a16="http://schemas.microsoft.com/office/drawing/2014/main" id="{344192AE-67F2-10CD-1476-F2DD7BC9F024}"/>
              </a:ext>
            </a:extLst>
          </p:cNvPr>
          <p:cNvSpPr>
            <a:spLocks noGrp="1"/>
          </p:cNvSpPr>
          <p:nvPr>
            <p:ph type="body" sz="quarter" idx="3"/>
          </p:nvPr>
        </p:nvSpPr>
        <p:spPr>
          <a:xfrm>
            <a:off x="6172200" y="1764863"/>
            <a:ext cx="5183188" cy="740212"/>
          </a:xfrm>
        </p:spPr>
        <p:txBody>
          <a:bodyPr anchor="b">
            <a:noAutofit/>
          </a:bodyPr>
          <a:lstStyle>
            <a:lvl1pPr marL="0" indent="0">
              <a:buNone/>
              <a:defRPr sz="2400" b="1">
                <a:solidFill>
                  <a:srgbClr val="00617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7" name="Date Placeholder 6">
            <a:extLst>
              <a:ext uri="{FF2B5EF4-FFF2-40B4-BE49-F238E27FC236}">
                <a16:creationId xmlns:a16="http://schemas.microsoft.com/office/drawing/2014/main" id="{FE2B5E1E-769E-4086-E55A-F556FDF0B96D}"/>
              </a:ext>
            </a:extLst>
          </p:cNvPr>
          <p:cNvSpPr>
            <a:spLocks noGrp="1"/>
          </p:cNvSpPr>
          <p:nvPr>
            <p:ph type="dt" sz="half" idx="10"/>
          </p:nvPr>
        </p:nvSpPr>
        <p:spPr/>
        <p:txBody>
          <a:bodyPr/>
          <a:lstStyle>
            <a:lvl1pPr>
              <a:defRPr>
                <a:solidFill>
                  <a:schemeClr val="tx1"/>
                </a:solidFill>
              </a:defRPr>
            </a:lvl1pPr>
          </a:lstStyle>
          <a:p>
            <a:endParaRPr lang="fi-FI" dirty="0"/>
          </a:p>
        </p:txBody>
      </p:sp>
      <p:sp>
        <p:nvSpPr>
          <p:cNvPr id="8" name="Footer Placeholder 7">
            <a:extLst>
              <a:ext uri="{FF2B5EF4-FFF2-40B4-BE49-F238E27FC236}">
                <a16:creationId xmlns:a16="http://schemas.microsoft.com/office/drawing/2014/main" id="{9142A70B-DFB4-2A7D-7E72-2B8E019BEE1A}"/>
              </a:ext>
            </a:extLst>
          </p:cNvPr>
          <p:cNvSpPr>
            <a:spLocks noGrp="1"/>
          </p:cNvSpPr>
          <p:nvPr>
            <p:ph type="ftr" sz="quarter" idx="11"/>
          </p:nvPr>
        </p:nvSpPr>
        <p:spPr/>
        <p:txBody>
          <a:bodyPr/>
          <a:lstStyle>
            <a:lvl1pPr>
              <a:defRPr>
                <a:solidFill>
                  <a:schemeClr val="tx1"/>
                </a:solidFill>
              </a:defRPr>
            </a:lvl1pPr>
          </a:lstStyle>
          <a:p>
            <a:r>
              <a:rPr lang="fi-FI"/>
              <a:t>7</a:t>
            </a:r>
          </a:p>
        </p:txBody>
      </p:sp>
      <p:sp>
        <p:nvSpPr>
          <p:cNvPr id="4" name="Content Placeholder 14">
            <a:extLst>
              <a:ext uri="{FF2B5EF4-FFF2-40B4-BE49-F238E27FC236}">
                <a16:creationId xmlns:a16="http://schemas.microsoft.com/office/drawing/2014/main" id="{B0D912AB-4806-F903-07B3-C76CB6B64F2A}"/>
              </a:ext>
            </a:extLst>
          </p:cNvPr>
          <p:cNvSpPr>
            <a:spLocks noGrp="1"/>
          </p:cNvSpPr>
          <p:nvPr>
            <p:ph sz="quarter" idx="15" hasCustomPrompt="1"/>
          </p:nvPr>
        </p:nvSpPr>
        <p:spPr>
          <a:xfrm>
            <a:off x="838200" y="2644877"/>
            <a:ext cx="5146366" cy="3637298"/>
          </a:xfrm>
        </p:spPr>
        <p:txBody>
          <a:bodyPr>
            <a:noAutofit/>
          </a:bodyPr>
          <a:lstStyle/>
          <a:p>
            <a:pPr lvl="0"/>
            <a:r>
              <a:rPr lang="fi-FI" noProof="0"/>
              <a:t>Teksti</a:t>
            </a:r>
          </a:p>
        </p:txBody>
      </p:sp>
      <p:sp>
        <p:nvSpPr>
          <p:cNvPr id="6" name="Content Placeholder 14">
            <a:extLst>
              <a:ext uri="{FF2B5EF4-FFF2-40B4-BE49-F238E27FC236}">
                <a16:creationId xmlns:a16="http://schemas.microsoft.com/office/drawing/2014/main" id="{E0601105-0C21-F620-9B63-44D697C41673}"/>
              </a:ext>
            </a:extLst>
          </p:cNvPr>
          <p:cNvSpPr>
            <a:spLocks noGrp="1"/>
          </p:cNvSpPr>
          <p:nvPr>
            <p:ph sz="quarter" idx="16" hasCustomPrompt="1"/>
          </p:nvPr>
        </p:nvSpPr>
        <p:spPr>
          <a:xfrm>
            <a:off x="6195391" y="2651655"/>
            <a:ext cx="5146366" cy="3667608"/>
          </a:xfrm>
        </p:spPr>
        <p:txBody>
          <a:bodyPr>
            <a:noAutofit/>
          </a:bodyPr>
          <a:lstStyle/>
          <a:p>
            <a:pPr lvl="0"/>
            <a:r>
              <a:rPr lang="fi-FI" noProof="0"/>
              <a:t>Teksti</a:t>
            </a:r>
          </a:p>
        </p:txBody>
      </p:sp>
      <p:pic>
        <p:nvPicPr>
          <p:cNvPr id="10" name="Graphic 18">
            <a:extLst>
              <a:ext uri="{FF2B5EF4-FFF2-40B4-BE49-F238E27FC236}">
                <a16:creationId xmlns:a16="http://schemas.microsoft.com/office/drawing/2014/main" id="{8BB96D67-F547-749A-6AE9-5CAF3D31339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273549035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Otsikkodia 3">
    <p:bg>
      <p:bgPr>
        <a:solidFill>
          <a:srgbClr val="F3AFDE"/>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20F7E95-CB23-88F6-3FF2-3EEC0FF7479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087556" y="2111326"/>
            <a:ext cx="5446395" cy="5460728"/>
          </a:xfrm>
          <a:prstGeom prst="rect">
            <a:avLst/>
          </a:prstGeom>
        </p:spPr>
      </p:pic>
      <p:sp>
        <p:nvSpPr>
          <p:cNvPr id="7" name="Title 1">
            <a:extLst>
              <a:ext uri="{FF2B5EF4-FFF2-40B4-BE49-F238E27FC236}">
                <a16:creationId xmlns:a16="http://schemas.microsoft.com/office/drawing/2014/main" id="{CFA0D210-97AB-22FA-EA96-B7A9DBA579FE}"/>
              </a:ext>
            </a:extLst>
          </p:cNvPr>
          <p:cNvSpPr>
            <a:spLocks noGrp="1"/>
          </p:cNvSpPr>
          <p:nvPr>
            <p:ph type="ctrTitle"/>
          </p:nvPr>
        </p:nvSpPr>
        <p:spPr>
          <a:xfrm>
            <a:off x="669235" y="760288"/>
            <a:ext cx="7478172" cy="2978275"/>
          </a:xfrm>
        </p:spPr>
        <p:txBody>
          <a:bodyPr anchor="b">
            <a:noAutofit/>
          </a:bodyPr>
          <a:lstStyle>
            <a:lvl1pPr algn="l">
              <a:defRPr sz="6000" b="1" i="0">
                <a:solidFill>
                  <a:srgbClr val="152A96"/>
                </a:solidFill>
                <a:latin typeface="+mj-lt"/>
                <a:cs typeface="Poppins" pitchFamily="2" charset="77"/>
              </a:defRPr>
            </a:lvl1pPr>
          </a:lstStyle>
          <a:p>
            <a:r>
              <a:rPr lang="fi-FI"/>
              <a:t>Muokkaa ots. perustyyl. napsautt.</a:t>
            </a:r>
          </a:p>
        </p:txBody>
      </p:sp>
      <p:sp>
        <p:nvSpPr>
          <p:cNvPr id="9" name="Subtitle 2">
            <a:extLst>
              <a:ext uri="{FF2B5EF4-FFF2-40B4-BE49-F238E27FC236}">
                <a16:creationId xmlns:a16="http://schemas.microsoft.com/office/drawing/2014/main" id="{7537A3C9-7E81-240C-11BC-BC95D32F97A5}"/>
              </a:ext>
            </a:extLst>
          </p:cNvPr>
          <p:cNvSpPr>
            <a:spLocks noGrp="1"/>
          </p:cNvSpPr>
          <p:nvPr>
            <p:ph type="subTitle" idx="1"/>
          </p:nvPr>
        </p:nvSpPr>
        <p:spPr>
          <a:xfrm>
            <a:off x="669235" y="3830638"/>
            <a:ext cx="6543223" cy="1655762"/>
          </a:xfrm>
        </p:spPr>
        <p:txBody>
          <a:bodyPr>
            <a:noAutofit/>
          </a:bodyPr>
          <a:lstStyle>
            <a:lvl1pPr marL="0" indent="0" algn="l">
              <a:buNone/>
              <a:defRPr sz="2400">
                <a:solidFill>
                  <a:sysClr val="windowText" lastClr="000000"/>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11" name="Graphic 9">
            <a:extLst>
              <a:ext uri="{FF2B5EF4-FFF2-40B4-BE49-F238E27FC236}">
                <a16:creationId xmlns:a16="http://schemas.microsoft.com/office/drawing/2014/main" id="{3093D60C-2370-CD36-FB39-A80171F5F16A}"/>
              </a:ext>
            </a:extLst>
          </p:cNvPr>
          <p:cNvSpPr/>
          <p:nvPr/>
        </p:nvSpPr>
        <p:spPr>
          <a:xfrm rot="21135918">
            <a:off x="4040731" y="4616912"/>
            <a:ext cx="4110538" cy="2559747"/>
          </a:xfrm>
          <a:custGeom>
            <a:avLst/>
            <a:gdLst>
              <a:gd name="connsiteX0" fmla="*/ 4110539 w 4110538"/>
              <a:gd name="connsiteY0" fmla="*/ 130872 h 2559747"/>
              <a:gd name="connsiteX1" fmla="*/ 2844860 w 4110538"/>
              <a:gd name="connsiteY1" fmla="*/ 418813 h 2559747"/>
              <a:gd name="connsiteX2" fmla="*/ 2968698 w 4110538"/>
              <a:gd name="connsiteY2" fmla="*/ 828864 h 2559747"/>
              <a:gd name="connsiteX3" fmla="*/ 1190167 w 4110538"/>
              <a:gd name="connsiteY3" fmla="*/ 570641 h 2559747"/>
              <a:gd name="connsiteX4" fmla="*/ 1158589 w 4110538"/>
              <a:gd name="connsiteY4" fmla="*/ 1768029 h 2559747"/>
              <a:gd name="connsiteX5" fmla="*/ 72295 w 4110538"/>
              <a:gd name="connsiteY5" fmla="*/ 2086831 h 2559747"/>
              <a:gd name="connsiteX6" fmla="*/ 7808 w 4110538"/>
              <a:gd name="connsiteY6" fmla="*/ 2559747 h 255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0538" h="2559747">
                <a:moveTo>
                  <a:pt x="4110539" y="130872"/>
                </a:moveTo>
                <a:cubicBezTo>
                  <a:pt x="3684334" y="-104110"/>
                  <a:pt x="3128870" y="-31148"/>
                  <a:pt x="2844860" y="418813"/>
                </a:cubicBezTo>
                <a:cubicBezTo>
                  <a:pt x="2257723" y="1349120"/>
                  <a:pt x="3283905" y="1328355"/>
                  <a:pt x="2968698" y="828864"/>
                </a:cubicBezTo>
                <a:cubicBezTo>
                  <a:pt x="2585200" y="221074"/>
                  <a:pt x="1552930" y="165829"/>
                  <a:pt x="1190167" y="570641"/>
                </a:cubicBezTo>
                <a:cubicBezTo>
                  <a:pt x="793352" y="1013458"/>
                  <a:pt x="1158589" y="1768029"/>
                  <a:pt x="1158589" y="1768029"/>
                </a:cubicBezTo>
                <a:cubicBezTo>
                  <a:pt x="1158589" y="1768029"/>
                  <a:pt x="415750" y="1306638"/>
                  <a:pt x="72295" y="2086831"/>
                </a:cubicBezTo>
                <a:cubicBezTo>
                  <a:pt x="6476" y="2236278"/>
                  <a:pt x="-12642" y="2399346"/>
                  <a:pt x="7808" y="2559747"/>
                </a:cubicBezTo>
              </a:path>
            </a:pathLst>
          </a:custGeom>
          <a:noFill/>
          <a:ln w="38100" cap="rnd">
            <a:solidFill>
              <a:srgbClr val="152A96"/>
            </a:solidFill>
            <a:prstDash val="solid"/>
            <a:round/>
          </a:ln>
        </p:spPr>
        <p:txBody>
          <a:bodyPr rtlCol="0" anchor="ctr"/>
          <a:lstStyle/>
          <a:p>
            <a:endParaRPr lang="fi-FI"/>
          </a:p>
        </p:txBody>
      </p:sp>
      <p:pic>
        <p:nvPicPr>
          <p:cNvPr id="12" name="Graphic 3">
            <a:extLst>
              <a:ext uri="{FF2B5EF4-FFF2-40B4-BE49-F238E27FC236}">
                <a16:creationId xmlns:a16="http://schemas.microsoft.com/office/drawing/2014/main" id="{5C8B86A8-71A1-A371-249B-BF91882BB69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087556" y="2111326"/>
            <a:ext cx="5446395" cy="5460728"/>
          </a:xfrm>
          <a:prstGeom prst="rect">
            <a:avLst/>
          </a:prstGeom>
        </p:spPr>
      </p:pic>
      <p:sp>
        <p:nvSpPr>
          <p:cNvPr id="13" name="Picture Placeholder 12">
            <a:extLst>
              <a:ext uri="{FF2B5EF4-FFF2-40B4-BE49-F238E27FC236}">
                <a16:creationId xmlns:a16="http://schemas.microsoft.com/office/drawing/2014/main" id="{B5227FE1-C121-0098-EBC8-9545D04D30E3}"/>
              </a:ext>
            </a:extLst>
          </p:cNvPr>
          <p:cNvSpPr>
            <a:spLocks noGrp="1"/>
          </p:cNvSpPr>
          <p:nvPr>
            <p:ph type="pic" sz="quarter" idx="13"/>
          </p:nvPr>
        </p:nvSpPr>
        <p:spPr>
          <a:xfrm>
            <a:off x="7428216" y="2215608"/>
            <a:ext cx="5105735" cy="5185702"/>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sp>
        <p:nvSpPr>
          <p:cNvPr id="3" name="Graphic 9">
            <a:extLst>
              <a:ext uri="{FF2B5EF4-FFF2-40B4-BE49-F238E27FC236}">
                <a16:creationId xmlns:a16="http://schemas.microsoft.com/office/drawing/2014/main" id="{7C0CF70B-7F35-664C-225D-D047B2552BAA}"/>
              </a:ext>
            </a:extLst>
          </p:cNvPr>
          <p:cNvSpPr/>
          <p:nvPr/>
        </p:nvSpPr>
        <p:spPr>
          <a:xfrm rot="21135918">
            <a:off x="4040731" y="4616912"/>
            <a:ext cx="4110538" cy="2559747"/>
          </a:xfrm>
          <a:custGeom>
            <a:avLst/>
            <a:gdLst>
              <a:gd name="connsiteX0" fmla="*/ 4110539 w 4110538"/>
              <a:gd name="connsiteY0" fmla="*/ 130872 h 2559747"/>
              <a:gd name="connsiteX1" fmla="*/ 2844860 w 4110538"/>
              <a:gd name="connsiteY1" fmla="*/ 418813 h 2559747"/>
              <a:gd name="connsiteX2" fmla="*/ 2968698 w 4110538"/>
              <a:gd name="connsiteY2" fmla="*/ 828864 h 2559747"/>
              <a:gd name="connsiteX3" fmla="*/ 1190167 w 4110538"/>
              <a:gd name="connsiteY3" fmla="*/ 570641 h 2559747"/>
              <a:gd name="connsiteX4" fmla="*/ 1158589 w 4110538"/>
              <a:gd name="connsiteY4" fmla="*/ 1768029 h 2559747"/>
              <a:gd name="connsiteX5" fmla="*/ 72295 w 4110538"/>
              <a:gd name="connsiteY5" fmla="*/ 2086831 h 2559747"/>
              <a:gd name="connsiteX6" fmla="*/ 7808 w 4110538"/>
              <a:gd name="connsiteY6" fmla="*/ 2559747 h 255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0538" h="2559747">
                <a:moveTo>
                  <a:pt x="4110539" y="130872"/>
                </a:moveTo>
                <a:cubicBezTo>
                  <a:pt x="3684334" y="-104110"/>
                  <a:pt x="3128870" y="-31148"/>
                  <a:pt x="2844860" y="418813"/>
                </a:cubicBezTo>
                <a:cubicBezTo>
                  <a:pt x="2257723" y="1349120"/>
                  <a:pt x="3283905" y="1328355"/>
                  <a:pt x="2968698" y="828864"/>
                </a:cubicBezTo>
                <a:cubicBezTo>
                  <a:pt x="2585200" y="221074"/>
                  <a:pt x="1552930" y="165829"/>
                  <a:pt x="1190167" y="570641"/>
                </a:cubicBezTo>
                <a:cubicBezTo>
                  <a:pt x="793352" y="1013458"/>
                  <a:pt x="1158589" y="1768029"/>
                  <a:pt x="1158589" y="1768029"/>
                </a:cubicBezTo>
                <a:cubicBezTo>
                  <a:pt x="1158589" y="1768029"/>
                  <a:pt x="415750" y="1306638"/>
                  <a:pt x="72295" y="2086831"/>
                </a:cubicBezTo>
                <a:cubicBezTo>
                  <a:pt x="6476" y="2236278"/>
                  <a:pt x="-12642" y="2399346"/>
                  <a:pt x="7808" y="2559747"/>
                </a:cubicBezTo>
              </a:path>
            </a:pathLst>
          </a:custGeom>
          <a:noFill/>
          <a:ln w="38100" cap="rnd">
            <a:solidFill>
              <a:srgbClr val="152A96"/>
            </a:solidFill>
            <a:prstDash val="solid"/>
            <a:round/>
          </a:ln>
        </p:spPr>
        <p:txBody>
          <a:bodyPr rtlCol="0" anchor="ctr"/>
          <a:lstStyle/>
          <a:p>
            <a:endParaRPr lang="fi-FI"/>
          </a:p>
        </p:txBody>
      </p:sp>
      <p:pic>
        <p:nvPicPr>
          <p:cNvPr id="5" name="Graphic 18">
            <a:extLst>
              <a:ext uri="{FF2B5EF4-FFF2-40B4-BE49-F238E27FC236}">
                <a16:creationId xmlns:a16="http://schemas.microsoft.com/office/drawing/2014/main" id="{509C9434-BF78-0B8B-16C1-18AD28E6735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6200000">
            <a:off x="10405322" y="1288658"/>
            <a:ext cx="2243871" cy="493762"/>
          </a:xfrm>
          <a:prstGeom prst="rect">
            <a:avLst/>
          </a:prstGeom>
        </p:spPr>
      </p:pic>
    </p:spTree>
    <p:extLst>
      <p:ext uri="{BB962C8B-B14F-4D97-AF65-F5344CB8AC3E}">
        <p14:creationId xmlns:p14="http://schemas.microsoft.com/office/powerpoint/2010/main" val="2118348418"/>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ältödia 14">
    <p:bg>
      <p:bgPr>
        <a:solidFill>
          <a:srgbClr val="B8CDFF">
            <a:alpha val="9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F231C-6192-12B0-9738-31A2E12AFA59}"/>
              </a:ext>
            </a:extLst>
          </p:cNvPr>
          <p:cNvSpPr>
            <a:spLocks noGrp="1"/>
          </p:cNvSpPr>
          <p:nvPr>
            <p:ph type="title"/>
          </p:nvPr>
        </p:nvSpPr>
        <p:spPr>
          <a:xfrm>
            <a:off x="839788" y="365125"/>
            <a:ext cx="10515600" cy="1325563"/>
          </a:xfrm>
        </p:spPr>
        <p:txBody>
          <a:bodyPr>
            <a:noAutofit/>
          </a:bodyPr>
          <a:lstStyle>
            <a:lvl1pPr>
              <a:defRPr>
                <a:solidFill>
                  <a:srgbClr val="152B96"/>
                </a:solidFill>
              </a:defRPr>
            </a:lvl1pPr>
          </a:lstStyle>
          <a:p>
            <a:r>
              <a:rPr lang="fi-FI"/>
              <a:t>Muokkaa ots. perustyyl. napsautt.</a:t>
            </a:r>
          </a:p>
        </p:txBody>
      </p:sp>
      <p:sp>
        <p:nvSpPr>
          <p:cNvPr id="7" name="Date Placeholder 6">
            <a:extLst>
              <a:ext uri="{FF2B5EF4-FFF2-40B4-BE49-F238E27FC236}">
                <a16:creationId xmlns:a16="http://schemas.microsoft.com/office/drawing/2014/main" id="{FE2B5E1E-769E-4086-E55A-F556FDF0B96D}"/>
              </a:ext>
            </a:extLst>
          </p:cNvPr>
          <p:cNvSpPr>
            <a:spLocks noGrp="1"/>
          </p:cNvSpPr>
          <p:nvPr>
            <p:ph type="dt" sz="half" idx="10"/>
          </p:nvPr>
        </p:nvSpPr>
        <p:spPr/>
        <p:txBody>
          <a:bodyPr/>
          <a:lstStyle>
            <a:lvl1pPr>
              <a:defRPr>
                <a:solidFill>
                  <a:schemeClr val="tx1"/>
                </a:solidFill>
              </a:defRPr>
            </a:lvl1pPr>
          </a:lstStyle>
          <a:p>
            <a:endParaRPr lang="fi-FI" dirty="0"/>
          </a:p>
        </p:txBody>
      </p:sp>
      <p:sp>
        <p:nvSpPr>
          <p:cNvPr id="8" name="Footer Placeholder 7">
            <a:extLst>
              <a:ext uri="{FF2B5EF4-FFF2-40B4-BE49-F238E27FC236}">
                <a16:creationId xmlns:a16="http://schemas.microsoft.com/office/drawing/2014/main" id="{9142A70B-DFB4-2A7D-7E72-2B8E019BEE1A}"/>
              </a:ext>
            </a:extLst>
          </p:cNvPr>
          <p:cNvSpPr>
            <a:spLocks noGrp="1"/>
          </p:cNvSpPr>
          <p:nvPr>
            <p:ph type="ftr" sz="quarter" idx="11"/>
          </p:nvPr>
        </p:nvSpPr>
        <p:spPr/>
        <p:txBody>
          <a:bodyPr/>
          <a:lstStyle>
            <a:lvl1pPr>
              <a:defRPr>
                <a:solidFill>
                  <a:schemeClr val="tx1"/>
                </a:solidFill>
              </a:defRPr>
            </a:lvl1pPr>
          </a:lstStyle>
          <a:p>
            <a:r>
              <a:rPr lang="fi-FI"/>
              <a:t>7</a:t>
            </a:r>
          </a:p>
        </p:txBody>
      </p:sp>
      <p:sp>
        <p:nvSpPr>
          <p:cNvPr id="4" name="Text Placeholder 2">
            <a:extLst>
              <a:ext uri="{FF2B5EF4-FFF2-40B4-BE49-F238E27FC236}">
                <a16:creationId xmlns:a16="http://schemas.microsoft.com/office/drawing/2014/main" id="{3CE3FFA7-5301-BB6F-5ADC-5EB550C2FF62}"/>
              </a:ext>
            </a:extLst>
          </p:cNvPr>
          <p:cNvSpPr>
            <a:spLocks noGrp="1"/>
          </p:cNvSpPr>
          <p:nvPr>
            <p:ph type="body" idx="1"/>
          </p:nvPr>
        </p:nvSpPr>
        <p:spPr>
          <a:xfrm>
            <a:off x="839788" y="1764863"/>
            <a:ext cx="5097185" cy="740212"/>
          </a:xfrm>
        </p:spPr>
        <p:txBody>
          <a:bodyPr anchor="b">
            <a:noAutofit/>
          </a:bodyPr>
          <a:lstStyle>
            <a:lvl1pPr marL="0" indent="0">
              <a:buNone/>
              <a:defRPr sz="2400" b="1">
                <a:solidFill>
                  <a:srgbClr val="152A9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6" name="Text Placeholder 4">
            <a:extLst>
              <a:ext uri="{FF2B5EF4-FFF2-40B4-BE49-F238E27FC236}">
                <a16:creationId xmlns:a16="http://schemas.microsoft.com/office/drawing/2014/main" id="{CF705532-72EA-34E1-5EB9-50D169591C55}"/>
              </a:ext>
            </a:extLst>
          </p:cNvPr>
          <p:cNvSpPr>
            <a:spLocks noGrp="1"/>
          </p:cNvSpPr>
          <p:nvPr>
            <p:ph type="body" sz="quarter" idx="3"/>
          </p:nvPr>
        </p:nvSpPr>
        <p:spPr>
          <a:xfrm>
            <a:off x="6172200" y="1764863"/>
            <a:ext cx="5183188" cy="740212"/>
          </a:xfrm>
        </p:spPr>
        <p:txBody>
          <a:bodyPr anchor="b">
            <a:noAutofit/>
          </a:bodyPr>
          <a:lstStyle>
            <a:lvl1pPr marL="0" indent="0">
              <a:buNone/>
              <a:defRPr sz="2400" b="1">
                <a:solidFill>
                  <a:srgbClr val="152B9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9" name="Content Placeholder 14">
            <a:extLst>
              <a:ext uri="{FF2B5EF4-FFF2-40B4-BE49-F238E27FC236}">
                <a16:creationId xmlns:a16="http://schemas.microsoft.com/office/drawing/2014/main" id="{12F9DBCF-1C85-D5CC-D1F9-2D0D5ABC347F}"/>
              </a:ext>
            </a:extLst>
          </p:cNvPr>
          <p:cNvSpPr>
            <a:spLocks noGrp="1"/>
          </p:cNvSpPr>
          <p:nvPr>
            <p:ph sz="quarter" idx="15" hasCustomPrompt="1"/>
          </p:nvPr>
        </p:nvSpPr>
        <p:spPr>
          <a:xfrm>
            <a:off x="838200" y="2644877"/>
            <a:ext cx="5146366" cy="3637298"/>
          </a:xfrm>
        </p:spPr>
        <p:txBody>
          <a:bodyPr>
            <a:noAutofit/>
          </a:bodyPr>
          <a:lstStyle/>
          <a:p>
            <a:pPr lvl="0"/>
            <a:r>
              <a:rPr lang="fi-FI" noProof="0"/>
              <a:t>Teksti</a:t>
            </a:r>
          </a:p>
        </p:txBody>
      </p:sp>
      <p:sp>
        <p:nvSpPr>
          <p:cNvPr id="10" name="Content Placeholder 14">
            <a:extLst>
              <a:ext uri="{FF2B5EF4-FFF2-40B4-BE49-F238E27FC236}">
                <a16:creationId xmlns:a16="http://schemas.microsoft.com/office/drawing/2014/main" id="{D581017C-6209-3B61-CAD1-8424589FA314}"/>
              </a:ext>
            </a:extLst>
          </p:cNvPr>
          <p:cNvSpPr>
            <a:spLocks noGrp="1"/>
          </p:cNvSpPr>
          <p:nvPr>
            <p:ph sz="quarter" idx="16" hasCustomPrompt="1"/>
          </p:nvPr>
        </p:nvSpPr>
        <p:spPr>
          <a:xfrm>
            <a:off x="6195391" y="2651655"/>
            <a:ext cx="5146366" cy="3667608"/>
          </a:xfrm>
        </p:spPr>
        <p:txBody>
          <a:bodyPr>
            <a:noAutofit/>
          </a:bodyPr>
          <a:lstStyle/>
          <a:p>
            <a:pPr lvl="0"/>
            <a:r>
              <a:rPr lang="fi-FI" noProof="0"/>
              <a:t>Teksti</a:t>
            </a:r>
          </a:p>
        </p:txBody>
      </p:sp>
      <p:pic>
        <p:nvPicPr>
          <p:cNvPr id="3" name="Graphic 18">
            <a:extLst>
              <a:ext uri="{FF2B5EF4-FFF2-40B4-BE49-F238E27FC236}">
                <a16:creationId xmlns:a16="http://schemas.microsoft.com/office/drawing/2014/main" id="{B21FB6B4-B8C3-0EF0-D762-C0E421055F9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564217920"/>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Kuvapaikka oikea 1">
    <p:bg>
      <p:bgPr>
        <a:solidFill>
          <a:srgbClr val="A2E3B8">
            <a:alpha val="90000"/>
          </a:srgbClr>
        </a:solidFill>
        <a:effectLst/>
      </p:bgPr>
    </p:bg>
    <p:spTree>
      <p:nvGrpSpPr>
        <p:cNvPr id="1" name=""/>
        <p:cNvGrpSpPr/>
        <p:nvPr/>
      </p:nvGrpSpPr>
      <p:grpSpPr>
        <a:xfrm>
          <a:off x="0" y="0"/>
          <a:ext cx="0" cy="0"/>
          <a:chOff x="0" y="0"/>
          <a:chExt cx="0" cy="0"/>
        </a:xfrm>
      </p:grpSpPr>
      <p:sp>
        <p:nvSpPr>
          <p:cNvPr id="5" name="Rectangle 8">
            <a:extLst>
              <a:ext uri="{FF2B5EF4-FFF2-40B4-BE49-F238E27FC236}">
                <a16:creationId xmlns:a16="http://schemas.microsoft.com/office/drawing/2014/main" id="{67984458-D7CF-59CB-BA1B-9344F380569C}"/>
              </a:ext>
            </a:extLst>
          </p:cNvPr>
          <p:cNvSpPr/>
          <p:nvPr/>
        </p:nvSpPr>
        <p:spPr>
          <a:xfrm>
            <a:off x="6531430" y="-57358"/>
            <a:ext cx="5849020" cy="7137425"/>
          </a:xfrm>
          <a:custGeom>
            <a:avLst/>
            <a:gdLst>
              <a:gd name="connsiteX0" fmla="*/ 0 w 6295292"/>
              <a:gd name="connsiteY0" fmla="*/ 0 h 6588857"/>
              <a:gd name="connsiteX1" fmla="*/ 6295292 w 6295292"/>
              <a:gd name="connsiteY1" fmla="*/ 0 h 6588857"/>
              <a:gd name="connsiteX2" fmla="*/ 6295292 w 6295292"/>
              <a:gd name="connsiteY2" fmla="*/ 6588857 h 6588857"/>
              <a:gd name="connsiteX3" fmla="*/ 0 w 6295292"/>
              <a:gd name="connsiteY3" fmla="*/ 6588857 h 6588857"/>
              <a:gd name="connsiteX4" fmla="*/ 0 w 6295292"/>
              <a:gd name="connsiteY4" fmla="*/ 0 h 6588857"/>
              <a:gd name="connsiteX0" fmla="*/ 0 w 6295292"/>
              <a:gd name="connsiteY0" fmla="*/ 0 h 6588857"/>
              <a:gd name="connsiteX1" fmla="*/ 6295292 w 6295292"/>
              <a:gd name="connsiteY1" fmla="*/ 0 h 6588857"/>
              <a:gd name="connsiteX2" fmla="*/ 6295292 w 6295292"/>
              <a:gd name="connsiteY2" fmla="*/ 6588857 h 6588857"/>
              <a:gd name="connsiteX3" fmla="*/ 35169 w 6295292"/>
              <a:gd name="connsiteY3" fmla="*/ 5064857 h 6588857"/>
              <a:gd name="connsiteX4" fmla="*/ 0 w 6295292"/>
              <a:gd name="connsiteY4" fmla="*/ 0 h 6588857"/>
              <a:gd name="connsiteX0" fmla="*/ 246185 w 6260123"/>
              <a:gd name="connsiteY0" fmla="*/ 1148861 h 6588857"/>
              <a:gd name="connsiteX1" fmla="*/ 6260123 w 6260123"/>
              <a:gd name="connsiteY1" fmla="*/ 0 h 6588857"/>
              <a:gd name="connsiteX2" fmla="*/ 6260123 w 6260123"/>
              <a:gd name="connsiteY2" fmla="*/ 6588857 h 6588857"/>
              <a:gd name="connsiteX3" fmla="*/ 0 w 6260123"/>
              <a:gd name="connsiteY3" fmla="*/ 5064857 h 6588857"/>
              <a:gd name="connsiteX4" fmla="*/ 246185 w 6260123"/>
              <a:gd name="connsiteY4"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0 w 6353907"/>
              <a:gd name="connsiteY3" fmla="*/ 4924180 h 6588857"/>
              <a:gd name="connsiteX4" fmla="*/ 339969 w 6353907"/>
              <a:gd name="connsiteY4" fmla="*/ 1148861 h 6588857"/>
              <a:gd name="connsiteX0" fmla="*/ 339969 w 6353907"/>
              <a:gd name="connsiteY0" fmla="*/ 1148861 h 6713770"/>
              <a:gd name="connsiteX1" fmla="*/ 6353907 w 6353907"/>
              <a:gd name="connsiteY1" fmla="*/ 0 h 6713770"/>
              <a:gd name="connsiteX2" fmla="*/ 6353907 w 6353907"/>
              <a:gd name="connsiteY2" fmla="*/ 6588857 h 6713770"/>
              <a:gd name="connsiteX3" fmla="*/ 1078523 w 6353907"/>
              <a:gd name="connsiteY3" fmla="*/ 6571273 h 6713770"/>
              <a:gd name="connsiteX4" fmla="*/ 0 w 6353907"/>
              <a:gd name="connsiteY4" fmla="*/ 4924180 h 6713770"/>
              <a:gd name="connsiteX5" fmla="*/ 339969 w 6353907"/>
              <a:gd name="connsiteY5" fmla="*/ 1148861 h 6713770"/>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492369 w 6353907"/>
              <a:gd name="connsiteY0" fmla="*/ 410307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492369 w 6353907"/>
              <a:gd name="connsiteY5" fmla="*/ 410307 h 6588857"/>
              <a:gd name="connsiteX0" fmla="*/ 398585 w 6260123"/>
              <a:gd name="connsiteY0" fmla="*/ 410307 h 6588857"/>
              <a:gd name="connsiteX1" fmla="*/ 6260123 w 6260123"/>
              <a:gd name="connsiteY1" fmla="*/ 0 h 6588857"/>
              <a:gd name="connsiteX2" fmla="*/ 6260123 w 6260123"/>
              <a:gd name="connsiteY2" fmla="*/ 6588857 h 6588857"/>
              <a:gd name="connsiteX3" fmla="*/ 984739 w 6260123"/>
              <a:gd name="connsiteY3" fmla="*/ 6571273 h 6588857"/>
              <a:gd name="connsiteX4" fmla="*/ 0 w 6260123"/>
              <a:gd name="connsiteY4" fmla="*/ 4982796 h 6588857"/>
              <a:gd name="connsiteX5" fmla="*/ 398585 w 6260123"/>
              <a:gd name="connsiteY5" fmla="*/ 410307 h 6588857"/>
              <a:gd name="connsiteX0" fmla="*/ 398585 w 6260123"/>
              <a:gd name="connsiteY0" fmla="*/ 410307 h 6594719"/>
              <a:gd name="connsiteX1" fmla="*/ 6260123 w 6260123"/>
              <a:gd name="connsiteY1" fmla="*/ 0 h 6594719"/>
              <a:gd name="connsiteX2" fmla="*/ 6260123 w 6260123"/>
              <a:gd name="connsiteY2" fmla="*/ 6588857 h 6594719"/>
              <a:gd name="connsiteX3" fmla="*/ 1137139 w 6260123"/>
              <a:gd name="connsiteY3" fmla="*/ 6594719 h 6594719"/>
              <a:gd name="connsiteX4" fmla="*/ 0 w 6260123"/>
              <a:gd name="connsiteY4" fmla="*/ 4982796 h 6594719"/>
              <a:gd name="connsiteX5" fmla="*/ 398585 w 6260123"/>
              <a:gd name="connsiteY5" fmla="*/ 410307 h 6594719"/>
              <a:gd name="connsiteX0" fmla="*/ 167107 w 6028645"/>
              <a:gd name="connsiteY0" fmla="*/ 410307 h 6801552"/>
              <a:gd name="connsiteX1" fmla="*/ 6028645 w 6028645"/>
              <a:gd name="connsiteY1" fmla="*/ 0 h 6801552"/>
              <a:gd name="connsiteX2" fmla="*/ 6028645 w 6028645"/>
              <a:gd name="connsiteY2" fmla="*/ 6588857 h 6801552"/>
              <a:gd name="connsiteX3" fmla="*/ 905661 w 6028645"/>
              <a:gd name="connsiteY3" fmla="*/ 6594719 h 6801552"/>
              <a:gd name="connsiteX4" fmla="*/ 0 w 6028645"/>
              <a:gd name="connsiteY4" fmla="*/ 6801552 h 6801552"/>
              <a:gd name="connsiteX5" fmla="*/ 167107 w 6028645"/>
              <a:gd name="connsiteY5" fmla="*/ 410307 h 6801552"/>
              <a:gd name="connsiteX0" fmla="*/ 167107 w 6028645"/>
              <a:gd name="connsiteY0" fmla="*/ 410307 h 6801552"/>
              <a:gd name="connsiteX1" fmla="*/ 6028645 w 6028645"/>
              <a:gd name="connsiteY1" fmla="*/ 0 h 6801552"/>
              <a:gd name="connsiteX2" fmla="*/ 6028645 w 6028645"/>
              <a:gd name="connsiteY2" fmla="*/ 6588857 h 6801552"/>
              <a:gd name="connsiteX3" fmla="*/ 3402317 w 6028645"/>
              <a:gd name="connsiteY3" fmla="*/ 6264036 h 6801552"/>
              <a:gd name="connsiteX4" fmla="*/ 0 w 6028645"/>
              <a:gd name="connsiteY4" fmla="*/ 6801552 h 6801552"/>
              <a:gd name="connsiteX5" fmla="*/ 167107 w 6028645"/>
              <a:gd name="connsiteY5" fmla="*/ 410307 h 6801552"/>
              <a:gd name="connsiteX0" fmla="*/ 167107 w 6028645"/>
              <a:gd name="connsiteY0" fmla="*/ 410307 h 7239551"/>
              <a:gd name="connsiteX1" fmla="*/ 6028645 w 6028645"/>
              <a:gd name="connsiteY1" fmla="*/ 0 h 7239551"/>
              <a:gd name="connsiteX2" fmla="*/ 6028645 w 6028645"/>
              <a:gd name="connsiteY2" fmla="*/ 6588857 h 7239551"/>
              <a:gd name="connsiteX3" fmla="*/ 1765437 w 6028645"/>
              <a:gd name="connsiteY3" fmla="*/ 7239551 h 7239551"/>
              <a:gd name="connsiteX4" fmla="*/ 0 w 6028645"/>
              <a:gd name="connsiteY4" fmla="*/ 6801552 h 7239551"/>
              <a:gd name="connsiteX5" fmla="*/ 167107 w 6028645"/>
              <a:gd name="connsiteY5" fmla="*/ 410307 h 7239551"/>
              <a:gd name="connsiteX0" fmla="*/ 167107 w 6028645"/>
              <a:gd name="connsiteY0" fmla="*/ 410307 h 7239551"/>
              <a:gd name="connsiteX1" fmla="*/ 6028645 w 6028645"/>
              <a:gd name="connsiteY1" fmla="*/ 0 h 7239551"/>
              <a:gd name="connsiteX2" fmla="*/ 6012111 w 6028645"/>
              <a:gd name="connsiteY2" fmla="*/ 7167553 h 7239551"/>
              <a:gd name="connsiteX3" fmla="*/ 1765437 w 6028645"/>
              <a:gd name="connsiteY3" fmla="*/ 7239551 h 7239551"/>
              <a:gd name="connsiteX4" fmla="*/ 0 w 6028645"/>
              <a:gd name="connsiteY4" fmla="*/ 6801552 h 7239551"/>
              <a:gd name="connsiteX5" fmla="*/ 167107 w 6028645"/>
              <a:gd name="connsiteY5" fmla="*/ 410307 h 7239551"/>
              <a:gd name="connsiteX0" fmla="*/ 0 w 6291427"/>
              <a:gd name="connsiteY0" fmla="*/ 0 h 7738622"/>
              <a:gd name="connsiteX1" fmla="*/ 6291427 w 6291427"/>
              <a:gd name="connsiteY1" fmla="*/ 499071 h 7738622"/>
              <a:gd name="connsiteX2" fmla="*/ 6274893 w 6291427"/>
              <a:gd name="connsiteY2" fmla="*/ 7666624 h 7738622"/>
              <a:gd name="connsiteX3" fmla="*/ 2028219 w 6291427"/>
              <a:gd name="connsiteY3" fmla="*/ 7738622 h 7738622"/>
              <a:gd name="connsiteX4" fmla="*/ 262782 w 6291427"/>
              <a:gd name="connsiteY4" fmla="*/ 7300623 h 7738622"/>
              <a:gd name="connsiteX5" fmla="*/ 0 w 6291427"/>
              <a:gd name="connsiteY5" fmla="*/ 0 h 7738622"/>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62782 w 6275019"/>
              <a:gd name="connsiteY4" fmla="*/ 7314110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428754 w 6275019"/>
              <a:gd name="connsiteY4" fmla="*/ 6933826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0 w 6275019"/>
              <a:gd name="connsiteY4" fmla="*/ 13487 h 7752109"/>
              <a:gd name="connsiteX0" fmla="*/ 0 w 6275019"/>
              <a:gd name="connsiteY0" fmla="*/ 13487 h 7680111"/>
              <a:gd name="connsiteX1" fmla="*/ 6109551 w 6275019"/>
              <a:gd name="connsiteY1" fmla="*/ 0 h 7680111"/>
              <a:gd name="connsiteX2" fmla="*/ 6274893 w 6275019"/>
              <a:gd name="connsiteY2" fmla="*/ 7680111 h 7680111"/>
              <a:gd name="connsiteX3" fmla="*/ 1780207 w 6275019"/>
              <a:gd name="connsiteY3" fmla="*/ 7669438 h 7680111"/>
              <a:gd name="connsiteX4" fmla="*/ 0 w 6275019"/>
              <a:gd name="connsiteY4" fmla="*/ 13487 h 768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5019" h="7680111">
                <a:moveTo>
                  <a:pt x="0" y="13487"/>
                </a:moveTo>
                <a:lnTo>
                  <a:pt x="6109551" y="0"/>
                </a:lnTo>
                <a:cubicBezTo>
                  <a:pt x="6104040" y="2389184"/>
                  <a:pt x="6280404" y="5290927"/>
                  <a:pt x="6274893" y="7680111"/>
                </a:cubicBezTo>
                <a:lnTo>
                  <a:pt x="1780207" y="7669438"/>
                </a:lnTo>
                <a:lnTo>
                  <a:pt x="0" y="13487"/>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9" name="Rectangle 8">
            <a:extLst>
              <a:ext uri="{FF2B5EF4-FFF2-40B4-BE49-F238E27FC236}">
                <a16:creationId xmlns:a16="http://schemas.microsoft.com/office/drawing/2014/main" id="{5E1D0E87-623B-5D50-D50D-E438031EC66E}"/>
              </a:ext>
            </a:extLst>
          </p:cNvPr>
          <p:cNvSpPr/>
          <p:nvPr/>
        </p:nvSpPr>
        <p:spPr>
          <a:xfrm>
            <a:off x="6531430" y="-57358"/>
            <a:ext cx="5849020" cy="7137425"/>
          </a:xfrm>
          <a:custGeom>
            <a:avLst/>
            <a:gdLst>
              <a:gd name="connsiteX0" fmla="*/ 0 w 6295292"/>
              <a:gd name="connsiteY0" fmla="*/ 0 h 6588857"/>
              <a:gd name="connsiteX1" fmla="*/ 6295292 w 6295292"/>
              <a:gd name="connsiteY1" fmla="*/ 0 h 6588857"/>
              <a:gd name="connsiteX2" fmla="*/ 6295292 w 6295292"/>
              <a:gd name="connsiteY2" fmla="*/ 6588857 h 6588857"/>
              <a:gd name="connsiteX3" fmla="*/ 0 w 6295292"/>
              <a:gd name="connsiteY3" fmla="*/ 6588857 h 6588857"/>
              <a:gd name="connsiteX4" fmla="*/ 0 w 6295292"/>
              <a:gd name="connsiteY4" fmla="*/ 0 h 6588857"/>
              <a:gd name="connsiteX0" fmla="*/ 0 w 6295292"/>
              <a:gd name="connsiteY0" fmla="*/ 0 h 6588857"/>
              <a:gd name="connsiteX1" fmla="*/ 6295292 w 6295292"/>
              <a:gd name="connsiteY1" fmla="*/ 0 h 6588857"/>
              <a:gd name="connsiteX2" fmla="*/ 6295292 w 6295292"/>
              <a:gd name="connsiteY2" fmla="*/ 6588857 h 6588857"/>
              <a:gd name="connsiteX3" fmla="*/ 35169 w 6295292"/>
              <a:gd name="connsiteY3" fmla="*/ 5064857 h 6588857"/>
              <a:gd name="connsiteX4" fmla="*/ 0 w 6295292"/>
              <a:gd name="connsiteY4" fmla="*/ 0 h 6588857"/>
              <a:gd name="connsiteX0" fmla="*/ 246185 w 6260123"/>
              <a:gd name="connsiteY0" fmla="*/ 1148861 h 6588857"/>
              <a:gd name="connsiteX1" fmla="*/ 6260123 w 6260123"/>
              <a:gd name="connsiteY1" fmla="*/ 0 h 6588857"/>
              <a:gd name="connsiteX2" fmla="*/ 6260123 w 6260123"/>
              <a:gd name="connsiteY2" fmla="*/ 6588857 h 6588857"/>
              <a:gd name="connsiteX3" fmla="*/ 0 w 6260123"/>
              <a:gd name="connsiteY3" fmla="*/ 5064857 h 6588857"/>
              <a:gd name="connsiteX4" fmla="*/ 246185 w 6260123"/>
              <a:gd name="connsiteY4"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0 w 6353907"/>
              <a:gd name="connsiteY3" fmla="*/ 4924180 h 6588857"/>
              <a:gd name="connsiteX4" fmla="*/ 339969 w 6353907"/>
              <a:gd name="connsiteY4" fmla="*/ 1148861 h 6588857"/>
              <a:gd name="connsiteX0" fmla="*/ 339969 w 6353907"/>
              <a:gd name="connsiteY0" fmla="*/ 1148861 h 6713770"/>
              <a:gd name="connsiteX1" fmla="*/ 6353907 w 6353907"/>
              <a:gd name="connsiteY1" fmla="*/ 0 h 6713770"/>
              <a:gd name="connsiteX2" fmla="*/ 6353907 w 6353907"/>
              <a:gd name="connsiteY2" fmla="*/ 6588857 h 6713770"/>
              <a:gd name="connsiteX3" fmla="*/ 1078523 w 6353907"/>
              <a:gd name="connsiteY3" fmla="*/ 6571273 h 6713770"/>
              <a:gd name="connsiteX4" fmla="*/ 0 w 6353907"/>
              <a:gd name="connsiteY4" fmla="*/ 4924180 h 6713770"/>
              <a:gd name="connsiteX5" fmla="*/ 339969 w 6353907"/>
              <a:gd name="connsiteY5" fmla="*/ 1148861 h 6713770"/>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492369 w 6353907"/>
              <a:gd name="connsiteY0" fmla="*/ 410307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492369 w 6353907"/>
              <a:gd name="connsiteY5" fmla="*/ 410307 h 6588857"/>
              <a:gd name="connsiteX0" fmla="*/ 398585 w 6260123"/>
              <a:gd name="connsiteY0" fmla="*/ 410307 h 6588857"/>
              <a:gd name="connsiteX1" fmla="*/ 6260123 w 6260123"/>
              <a:gd name="connsiteY1" fmla="*/ 0 h 6588857"/>
              <a:gd name="connsiteX2" fmla="*/ 6260123 w 6260123"/>
              <a:gd name="connsiteY2" fmla="*/ 6588857 h 6588857"/>
              <a:gd name="connsiteX3" fmla="*/ 984739 w 6260123"/>
              <a:gd name="connsiteY3" fmla="*/ 6571273 h 6588857"/>
              <a:gd name="connsiteX4" fmla="*/ 0 w 6260123"/>
              <a:gd name="connsiteY4" fmla="*/ 4982796 h 6588857"/>
              <a:gd name="connsiteX5" fmla="*/ 398585 w 6260123"/>
              <a:gd name="connsiteY5" fmla="*/ 410307 h 6588857"/>
              <a:gd name="connsiteX0" fmla="*/ 398585 w 6260123"/>
              <a:gd name="connsiteY0" fmla="*/ 410307 h 6594719"/>
              <a:gd name="connsiteX1" fmla="*/ 6260123 w 6260123"/>
              <a:gd name="connsiteY1" fmla="*/ 0 h 6594719"/>
              <a:gd name="connsiteX2" fmla="*/ 6260123 w 6260123"/>
              <a:gd name="connsiteY2" fmla="*/ 6588857 h 6594719"/>
              <a:gd name="connsiteX3" fmla="*/ 1137139 w 6260123"/>
              <a:gd name="connsiteY3" fmla="*/ 6594719 h 6594719"/>
              <a:gd name="connsiteX4" fmla="*/ 0 w 6260123"/>
              <a:gd name="connsiteY4" fmla="*/ 4982796 h 6594719"/>
              <a:gd name="connsiteX5" fmla="*/ 398585 w 6260123"/>
              <a:gd name="connsiteY5" fmla="*/ 410307 h 6594719"/>
              <a:gd name="connsiteX0" fmla="*/ 167107 w 6028645"/>
              <a:gd name="connsiteY0" fmla="*/ 410307 h 6801552"/>
              <a:gd name="connsiteX1" fmla="*/ 6028645 w 6028645"/>
              <a:gd name="connsiteY1" fmla="*/ 0 h 6801552"/>
              <a:gd name="connsiteX2" fmla="*/ 6028645 w 6028645"/>
              <a:gd name="connsiteY2" fmla="*/ 6588857 h 6801552"/>
              <a:gd name="connsiteX3" fmla="*/ 905661 w 6028645"/>
              <a:gd name="connsiteY3" fmla="*/ 6594719 h 6801552"/>
              <a:gd name="connsiteX4" fmla="*/ 0 w 6028645"/>
              <a:gd name="connsiteY4" fmla="*/ 6801552 h 6801552"/>
              <a:gd name="connsiteX5" fmla="*/ 167107 w 6028645"/>
              <a:gd name="connsiteY5" fmla="*/ 410307 h 6801552"/>
              <a:gd name="connsiteX0" fmla="*/ 167107 w 6028645"/>
              <a:gd name="connsiteY0" fmla="*/ 410307 h 6801552"/>
              <a:gd name="connsiteX1" fmla="*/ 6028645 w 6028645"/>
              <a:gd name="connsiteY1" fmla="*/ 0 h 6801552"/>
              <a:gd name="connsiteX2" fmla="*/ 6028645 w 6028645"/>
              <a:gd name="connsiteY2" fmla="*/ 6588857 h 6801552"/>
              <a:gd name="connsiteX3" fmla="*/ 3402317 w 6028645"/>
              <a:gd name="connsiteY3" fmla="*/ 6264036 h 6801552"/>
              <a:gd name="connsiteX4" fmla="*/ 0 w 6028645"/>
              <a:gd name="connsiteY4" fmla="*/ 6801552 h 6801552"/>
              <a:gd name="connsiteX5" fmla="*/ 167107 w 6028645"/>
              <a:gd name="connsiteY5" fmla="*/ 410307 h 6801552"/>
              <a:gd name="connsiteX0" fmla="*/ 167107 w 6028645"/>
              <a:gd name="connsiteY0" fmla="*/ 410307 h 7239551"/>
              <a:gd name="connsiteX1" fmla="*/ 6028645 w 6028645"/>
              <a:gd name="connsiteY1" fmla="*/ 0 h 7239551"/>
              <a:gd name="connsiteX2" fmla="*/ 6028645 w 6028645"/>
              <a:gd name="connsiteY2" fmla="*/ 6588857 h 7239551"/>
              <a:gd name="connsiteX3" fmla="*/ 1765437 w 6028645"/>
              <a:gd name="connsiteY3" fmla="*/ 7239551 h 7239551"/>
              <a:gd name="connsiteX4" fmla="*/ 0 w 6028645"/>
              <a:gd name="connsiteY4" fmla="*/ 6801552 h 7239551"/>
              <a:gd name="connsiteX5" fmla="*/ 167107 w 6028645"/>
              <a:gd name="connsiteY5" fmla="*/ 410307 h 7239551"/>
              <a:gd name="connsiteX0" fmla="*/ 167107 w 6028645"/>
              <a:gd name="connsiteY0" fmla="*/ 410307 h 7239551"/>
              <a:gd name="connsiteX1" fmla="*/ 6028645 w 6028645"/>
              <a:gd name="connsiteY1" fmla="*/ 0 h 7239551"/>
              <a:gd name="connsiteX2" fmla="*/ 6012111 w 6028645"/>
              <a:gd name="connsiteY2" fmla="*/ 7167553 h 7239551"/>
              <a:gd name="connsiteX3" fmla="*/ 1765437 w 6028645"/>
              <a:gd name="connsiteY3" fmla="*/ 7239551 h 7239551"/>
              <a:gd name="connsiteX4" fmla="*/ 0 w 6028645"/>
              <a:gd name="connsiteY4" fmla="*/ 6801552 h 7239551"/>
              <a:gd name="connsiteX5" fmla="*/ 167107 w 6028645"/>
              <a:gd name="connsiteY5" fmla="*/ 410307 h 7239551"/>
              <a:gd name="connsiteX0" fmla="*/ 0 w 6291427"/>
              <a:gd name="connsiteY0" fmla="*/ 0 h 7738622"/>
              <a:gd name="connsiteX1" fmla="*/ 6291427 w 6291427"/>
              <a:gd name="connsiteY1" fmla="*/ 499071 h 7738622"/>
              <a:gd name="connsiteX2" fmla="*/ 6274893 w 6291427"/>
              <a:gd name="connsiteY2" fmla="*/ 7666624 h 7738622"/>
              <a:gd name="connsiteX3" fmla="*/ 2028219 w 6291427"/>
              <a:gd name="connsiteY3" fmla="*/ 7738622 h 7738622"/>
              <a:gd name="connsiteX4" fmla="*/ 262782 w 6291427"/>
              <a:gd name="connsiteY4" fmla="*/ 7300623 h 7738622"/>
              <a:gd name="connsiteX5" fmla="*/ 0 w 6291427"/>
              <a:gd name="connsiteY5" fmla="*/ 0 h 7738622"/>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62782 w 6275019"/>
              <a:gd name="connsiteY4" fmla="*/ 7314110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428754 w 6275019"/>
              <a:gd name="connsiteY4" fmla="*/ 6933826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0 w 6275019"/>
              <a:gd name="connsiteY4" fmla="*/ 13487 h 7752109"/>
              <a:gd name="connsiteX0" fmla="*/ 0 w 6275019"/>
              <a:gd name="connsiteY0" fmla="*/ 13487 h 7680111"/>
              <a:gd name="connsiteX1" fmla="*/ 6109551 w 6275019"/>
              <a:gd name="connsiteY1" fmla="*/ 0 h 7680111"/>
              <a:gd name="connsiteX2" fmla="*/ 6274893 w 6275019"/>
              <a:gd name="connsiteY2" fmla="*/ 7680111 h 7680111"/>
              <a:gd name="connsiteX3" fmla="*/ 1780207 w 6275019"/>
              <a:gd name="connsiteY3" fmla="*/ 7669438 h 7680111"/>
              <a:gd name="connsiteX4" fmla="*/ 0 w 6275019"/>
              <a:gd name="connsiteY4" fmla="*/ 13487 h 768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5019" h="7680111">
                <a:moveTo>
                  <a:pt x="0" y="13487"/>
                </a:moveTo>
                <a:lnTo>
                  <a:pt x="6109551" y="0"/>
                </a:lnTo>
                <a:cubicBezTo>
                  <a:pt x="6104040" y="2389184"/>
                  <a:pt x="6280404" y="5290927"/>
                  <a:pt x="6274893" y="7680111"/>
                </a:cubicBezTo>
                <a:lnTo>
                  <a:pt x="1780207" y="7669438"/>
                </a:lnTo>
                <a:lnTo>
                  <a:pt x="0" y="13487"/>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8" name="Picture Placeholder 7">
            <a:extLst>
              <a:ext uri="{FF2B5EF4-FFF2-40B4-BE49-F238E27FC236}">
                <a16:creationId xmlns:a16="http://schemas.microsoft.com/office/drawing/2014/main" id="{FAE12E07-70C4-0DBB-251E-EDA6D5378E3E}"/>
              </a:ext>
            </a:extLst>
          </p:cNvPr>
          <p:cNvSpPr>
            <a:spLocks noGrp="1"/>
          </p:cNvSpPr>
          <p:nvPr>
            <p:ph type="pic" sz="quarter" idx="10"/>
          </p:nvPr>
        </p:nvSpPr>
        <p:spPr>
          <a:xfrm>
            <a:off x="6096000" y="-15594"/>
            <a:ext cx="6173016" cy="7036880"/>
          </a:xfrm>
          <a:custGeom>
            <a:avLst/>
            <a:gdLst>
              <a:gd name="connsiteX0" fmla="*/ 0 w 5919787"/>
              <a:gd name="connsiteY0" fmla="*/ 0 h 5264150"/>
              <a:gd name="connsiteX1" fmla="*/ 5919787 w 5919787"/>
              <a:gd name="connsiteY1" fmla="*/ 0 h 5264150"/>
              <a:gd name="connsiteX2" fmla="*/ 5919787 w 5919787"/>
              <a:gd name="connsiteY2" fmla="*/ 5264150 h 5264150"/>
              <a:gd name="connsiteX3" fmla="*/ 0 w 5919787"/>
              <a:gd name="connsiteY3" fmla="*/ 5264150 h 5264150"/>
              <a:gd name="connsiteX4" fmla="*/ 0 w 5919787"/>
              <a:gd name="connsiteY4" fmla="*/ 0 h 5264150"/>
              <a:gd name="connsiteX0" fmla="*/ 363416 w 5919787"/>
              <a:gd name="connsiteY0" fmla="*/ 0 h 5779965"/>
              <a:gd name="connsiteX1" fmla="*/ 5919787 w 5919787"/>
              <a:gd name="connsiteY1" fmla="*/ 515815 h 5779965"/>
              <a:gd name="connsiteX2" fmla="*/ 5919787 w 5919787"/>
              <a:gd name="connsiteY2" fmla="*/ 5779965 h 5779965"/>
              <a:gd name="connsiteX3" fmla="*/ 0 w 5919787"/>
              <a:gd name="connsiteY3" fmla="*/ 5779965 h 5779965"/>
              <a:gd name="connsiteX4" fmla="*/ 363416 w 5919787"/>
              <a:gd name="connsiteY4" fmla="*/ 0 h 5779965"/>
              <a:gd name="connsiteX0" fmla="*/ 1630290 w 7186661"/>
              <a:gd name="connsiteY0" fmla="*/ 0 h 5779965"/>
              <a:gd name="connsiteX1" fmla="*/ 7186661 w 7186661"/>
              <a:gd name="connsiteY1" fmla="*/ 515815 h 5779965"/>
              <a:gd name="connsiteX2" fmla="*/ 7186661 w 7186661"/>
              <a:gd name="connsiteY2" fmla="*/ 5779965 h 5779965"/>
              <a:gd name="connsiteX3" fmla="*/ 1266874 w 7186661"/>
              <a:gd name="connsiteY3" fmla="*/ 5779965 h 5779965"/>
              <a:gd name="connsiteX4" fmla="*/ 415 w 7186661"/>
              <a:gd name="connsiteY4" fmla="*/ 2403720 h 5779965"/>
              <a:gd name="connsiteX5" fmla="*/ 1630290 w 7186661"/>
              <a:gd name="connsiteY5" fmla="*/ 0 h 5779965"/>
              <a:gd name="connsiteX0" fmla="*/ 1629875 w 7186246"/>
              <a:gd name="connsiteY0" fmla="*/ 0 h 5779965"/>
              <a:gd name="connsiteX1" fmla="*/ 7186246 w 7186246"/>
              <a:gd name="connsiteY1" fmla="*/ 515815 h 5779965"/>
              <a:gd name="connsiteX2" fmla="*/ 7186246 w 7186246"/>
              <a:gd name="connsiteY2" fmla="*/ 5779965 h 5779965"/>
              <a:gd name="connsiteX3" fmla="*/ 1266459 w 7186246"/>
              <a:gd name="connsiteY3" fmla="*/ 5779965 h 5779965"/>
              <a:gd name="connsiteX4" fmla="*/ 0 w 7186246"/>
              <a:gd name="connsiteY4" fmla="*/ 2403720 h 5779965"/>
              <a:gd name="connsiteX5" fmla="*/ 1629875 w 7186246"/>
              <a:gd name="connsiteY5" fmla="*/ 0 h 5779965"/>
              <a:gd name="connsiteX0" fmla="*/ 1629875 w 7186246"/>
              <a:gd name="connsiteY0" fmla="*/ 0 h 5780086"/>
              <a:gd name="connsiteX1" fmla="*/ 7186246 w 7186246"/>
              <a:gd name="connsiteY1" fmla="*/ 515815 h 5780086"/>
              <a:gd name="connsiteX2" fmla="*/ 7186246 w 7186246"/>
              <a:gd name="connsiteY2" fmla="*/ 5779965 h 5780086"/>
              <a:gd name="connsiteX3" fmla="*/ 1266459 w 7186246"/>
              <a:gd name="connsiteY3" fmla="*/ 5779965 h 5780086"/>
              <a:gd name="connsiteX4" fmla="*/ 0 w 7186246"/>
              <a:gd name="connsiteY4" fmla="*/ 2403720 h 5780086"/>
              <a:gd name="connsiteX5" fmla="*/ 1629875 w 7186246"/>
              <a:gd name="connsiteY5" fmla="*/ 0 h 5780086"/>
              <a:gd name="connsiteX0" fmla="*/ 1782275 w 7186246"/>
              <a:gd name="connsiteY0" fmla="*/ 0 h 6131778"/>
              <a:gd name="connsiteX1" fmla="*/ 7186246 w 7186246"/>
              <a:gd name="connsiteY1" fmla="*/ 867507 h 6131778"/>
              <a:gd name="connsiteX2" fmla="*/ 7186246 w 7186246"/>
              <a:gd name="connsiteY2" fmla="*/ 6131657 h 6131778"/>
              <a:gd name="connsiteX3" fmla="*/ 1266459 w 7186246"/>
              <a:gd name="connsiteY3" fmla="*/ 6131657 h 6131778"/>
              <a:gd name="connsiteX4" fmla="*/ 0 w 7186246"/>
              <a:gd name="connsiteY4" fmla="*/ 2755412 h 6131778"/>
              <a:gd name="connsiteX5" fmla="*/ 1782275 w 7186246"/>
              <a:gd name="connsiteY5" fmla="*/ 0 h 6131778"/>
              <a:gd name="connsiteX0" fmla="*/ 1782275 w 7186246"/>
              <a:gd name="connsiteY0" fmla="*/ 0 h 6143501"/>
              <a:gd name="connsiteX1" fmla="*/ 7186246 w 7186246"/>
              <a:gd name="connsiteY1" fmla="*/ 867507 h 6143501"/>
              <a:gd name="connsiteX2" fmla="*/ 7186246 w 7186246"/>
              <a:gd name="connsiteY2" fmla="*/ 6131657 h 6143501"/>
              <a:gd name="connsiteX3" fmla="*/ 2309813 w 7186246"/>
              <a:gd name="connsiteY3" fmla="*/ 6143380 h 6143501"/>
              <a:gd name="connsiteX4" fmla="*/ 0 w 7186246"/>
              <a:gd name="connsiteY4" fmla="*/ 2755412 h 6143501"/>
              <a:gd name="connsiteX5" fmla="*/ 1782275 w 7186246"/>
              <a:gd name="connsiteY5" fmla="*/ 0 h 6143501"/>
              <a:gd name="connsiteX0" fmla="*/ 985106 w 6389077"/>
              <a:gd name="connsiteY0" fmla="*/ 0 h 6143553"/>
              <a:gd name="connsiteX1" fmla="*/ 6389077 w 6389077"/>
              <a:gd name="connsiteY1" fmla="*/ 867507 h 6143553"/>
              <a:gd name="connsiteX2" fmla="*/ 6389077 w 6389077"/>
              <a:gd name="connsiteY2" fmla="*/ 6131657 h 6143553"/>
              <a:gd name="connsiteX3" fmla="*/ 1512644 w 6389077"/>
              <a:gd name="connsiteY3" fmla="*/ 6143380 h 6143553"/>
              <a:gd name="connsiteX4" fmla="*/ 0 w 6389077"/>
              <a:gd name="connsiteY4" fmla="*/ 3787042 h 6143553"/>
              <a:gd name="connsiteX5" fmla="*/ 985106 w 6389077"/>
              <a:gd name="connsiteY5" fmla="*/ 0 h 6143553"/>
              <a:gd name="connsiteX0" fmla="*/ 1207844 w 6389077"/>
              <a:gd name="connsiteY0" fmla="*/ 0 h 6589030"/>
              <a:gd name="connsiteX1" fmla="*/ 6389077 w 6389077"/>
              <a:gd name="connsiteY1" fmla="*/ 1312984 h 6589030"/>
              <a:gd name="connsiteX2" fmla="*/ 6389077 w 6389077"/>
              <a:gd name="connsiteY2" fmla="*/ 6577134 h 6589030"/>
              <a:gd name="connsiteX3" fmla="*/ 1512644 w 6389077"/>
              <a:gd name="connsiteY3" fmla="*/ 6588857 h 6589030"/>
              <a:gd name="connsiteX4" fmla="*/ 0 w 6389077"/>
              <a:gd name="connsiteY4" fmla="*/ 4232519 h 6589030"/>
              <a:gd name="connsiteX5" fmla="*/ 1207844 w 6389077"/>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8857"/>
              <a:gd name="connsiteX1" fmla="*/ 6412523 w 6412523"/>
              <a:gd name="connsiteY1" fmla="*/ 726831 h 6588857"/>
              <a:gd name="connsiteX2" fmla="*/ 6389077 w 6412523"/>
              <a:gd name="connsiteY2" fmla="*/ 6577134 h 6588857"/>
              <a:gd name="connsiteX3" fmla="*/ 1512644 w 6412523"/>
              <a:gd name="connsiteY3" fmla="*/ 6588857 h 6588857"/>
              <a:gd name="connsiteX4" fmla="*/ 0 w 6412523"/>
              <a:gd name="connsiteY4" fmla="*/ 4232519 h 6588857"/>
              <a:gd name="connsiteX5" fmla="*/ 1207844 w 6412523"/>
              <a:gd name="connsiteY5" fmla="*/ 0 h 6588857"/>
              <a:gd name="connsiteX0" fmla="*/ 1207844 w 6412523"/>
              <a:gd name="connsiteY0" fmla="*/ 0 h 7200620"/>
              <a:gd name="connsiteX1" fmla="*/ 6412523 w 6412523"/>
              <a:gd name="connsiteY1" fmla="*/ 726831 h 7200620"/>
              <a:gd name="connsiteX2" fmla="*/ 6389077 w 6412523"/>
              <a:gd name="connsiteY2" fmla="*/ 6577134 h 7200620"/>
              <a:gd name="connsiteX3" fmla="*/ 2157475 w 6412523"/>
              <a:gd name="connsiteY3" fmla="*/ 7200620 h 7200620"/>
              <a:gd name="connsiteX4" fmla="*/ 0 w 6412523"/>
              <a:gd name="connsiteY4" fmla="*/ 4232519 h 7200620"/>
              <a:gd name="connsiteX5" fmla="*/ 1207844 w 6412523"/>
              <a:gd name="connsiteY5" fmla="*/ 0 h 7200620"/>
              <a:gd name="connsiteX0" fmla="*/ 1207844 w 6412523"/>
              <a:gd name="connsiteY0" fmla="*/ 0 h 7200620"/>
              <a:gd name="connsiteX1" fmla="*/ 6412523 w 6412523"/>
              <a:gd name="connsiteY1" fmla="*/ 726831 h 7200620"/>
              <a:gd name="connsiteX2" fmla="*/ 6389078 w 6412523"/>
              <a:gd name="connsiteY2" fmla="*/ 7172363 h 7200620"/>
              <a:gd name="connsiteX3" fmla="*/ 2157475 w 6412523"/>
              <a:gd name="connsiteY3" fmla="*/ 7200620 h 7200620"/>
              <a:gd name="connsiteX4" fmla="*/ 0 w 6412523"/>
              <a:gd name="connsiteY4" fmla="*/ 4232519 h 7200620"/>
              <a:gd name="connsiteX5" fmla="*/ 1207844 w 6412523"/>
              <a:gd name="connsiteY5" fmla="*/ 0 h 7200620"/>
              <a:gd name="connsiteX0" fmla="*/ 744888 w 6412523"/>
              <a:gd name="connsiteY0" fmla="*/ 0 h 7746246"/>
              <a:gd name="connsiteX1" fmla="*/ 6412523 w 6412523"/>
              <a:gd name="connsiteY1" fmla="*/ 1272457 h 7746246"/>
              <a:gd name="connsiteX2" fmla="*/ 6389078 w 6412523"/>
              <a:gd name="connsiteY2" fmla="*/ 7717989 h 7746246"/>
              <a:gd name="connsiteX3" fmla="*/ 2157475 w 6412523"/>
              <a:gd name="connsiteY3" fmla="*/ 7746246 h 7746246"/>
              <a:gd name="connsiteX4" fmla="*/ 0 w 6412523"/>
              <a:gd name="connsiteY4" fmla="*/ 4778145 h 7746246"/>
              <a:gd name="connsiteX5" fmla="*/ 744888 w 6412523"/>
              <a:gd name="connsiteY5" fmla="*/ 0 h 7746246"/>
              <a:gd name="connsiteX0" fmla="*/ 744888 w 6389113"/>
              <a:gd name="connsiteY0" fmla="*/ 672 h 7746918"/>
              <a:gd name="connsiteX1" fmla="*/ 5106325 w 6389113"/>
              <a:gd name="connsiteY1" fmla="*/ 0 h 7746918"/>
              <a:gd name="connsiteX2" fmla="*/ 6389078 w 6389113"/>
              <a:gd name="connsiteY2" fmla="*/ 7718661 h 7746918"/>
              <a:gd name="connsiteX3" fmla="*/ 2157475 w 6389113"/>
              <a:gd name="connsiteY3" fmla="*/ 7746918 h 7746918"/>
              <a:gd name="connsiteX4" fmla="*/ 0 w 6389113"/>
              <a:gd name="connsiteY4" fmla="*/ 4778817 h 7746918"/>
              <a:gd name="connsiteX5" fmla="*/ 744888 w 6389113"/>
              <a:gd name="connsiteY5" fmla="*/ 672 h 7746918"/>
              <a:gd name="connsiteX0" fmla="*/ 744888 w 6389114"/>
              <a:gd name="connsiteY0" fmla="*/ 672 h 7746918"/>
              <a:gd name="connsiteX1" fmla="*/ 5106325 w 6389114"/>
              <a:gd name="connsiteY1" fmla="*/ 0 h 7746918"/>
              <a:gd name="connsiteX2" fmla="*/ 6389078 w 6389114"/>
              <a:gd name="connsiteY2" fmla="*/ 7718661 h 7746918"/>
              <a:gd name="connsiteX3" fmla="*/ 2157475 w 6389114"/>
              <a:gd name="connsiteY3" fmla="*/ 7746918 h 7746918"/>
              <a:gd name="connsiteX4" fmla="*/ 0 w 6389114"/>
              <a:gd name="connsiteY4" fmla="*/ 4778817 h 7746918"/>
              <a:gd name="connsiteX5" fmla="*/ 744888 w 6389114"/>
              <a:gd name="connsiteY5" fmla="*/ 672 h 7746918"/>
              <a:gd name="connsiteX0" fmla="*/ 1323583 w 6967809"/>
              <a:gd name="connsiteY0" fmla="*/ 672 h 7746918"/>
              <a:gd name="connsiteX1" fmla="*/ 5685020 w 6967809"/>
              <a:gd name="connsiteY1" fmla="*/ 0 h 7746918"/>
              <a:gd name="connsiteX2" fmla="*/ 6967773 w 6967809"/>
              <a:gd name="connsiteY2" fmla="*/ 7718661 h 7746918"/>
              <a:gd name="connsiteX3" fmla="*/ 2736170 w 6967809"/>
              <a:gd name="connsiteY3" fmla="*/ 7746918 h 7746918"/>
              <a:gd name="connsiteX4" fmla="*/ 0 w 6967809"/>
              <a:gd name="connsiteY4" fmla="*/ 7622690 h 7746918"/>
              <a:gd name="connsiteX5" fmla="*/ 1323583 w 6967809"/>
              <a:gd name="connsiteY5" fmla="*/ 672 h 7746918"/>
              <a:gd name="connsiteX0" fmla="*/ 1323583 w 6967809"/>
              <a:gd name="connsiteY0" fmla="*/ 672 h 7718661"/>
              <a:gd name="connsiteX1" fmla="*/ 5685020 w 6967809"/>
              <a:gd name="connsiteY1" fmla="*/ 0 h 7718661"/>
              <a:gd name="connsiteX2" fmla="*/ 6967773 w 6967809"/>
              <a:gd name="connsiteY2" fmla="*/ 7718661 h 7718661"/>
              <a:gd name="connsiteX3" fmla="*/ 6704365 w 6967809"/>
              <a:gd name="connsiteY3" fmla="*/ 6672198 h 7718661"/>
              <a:gd name="connsiteX4" fmla="*/ 0 w 6967809"/>
              <a:gd name="connsiteY4" fmla="*/ 7622690 h 7718661"/>
              <a:gd name="connsiteX5" fmla="*/ 1323583 w 6967809"/>
              <a:gd name="connsiteY5" fmla="*/ 672 h 7718661"/>
              <a:gd name="connsiteX0" fmla="*/ 1323583 w 6719805"/>
              <a:gd name="connsiteY0" fmla="*/ 83834 h 7706253"/>
              <a:gd name="connsiteX1" fmla="*/ 5685020 w 6719805"/>
              <a:gd name="connsiteY1" fmla="*/ 83162 h 7706253"/>
              <a:gd name="connsiteX2" fmla="*/ 6719761 w 6719805"/>
              <a:gd name="connsiteY2" fmla="*/ 1403109 h 7706253"/>
              <a:gd name="connsiteX3" fmla="*/ 6704365 w 6719805"/>
              <a:gd name="connsiteY3" fmla="*/ 6755360 h 7706253"/>
              <a:gd name="connsiteX4" fmla="*/ 0 w 6719805"/>
              <a:gd name="connsiteY4" fmla="*/ 7705852 h 7706253"/>
              <a:gd name="connsiteX5" fmla="*/ 1323583 w 6719805"/>
              <a:gd name="connsiteY5" fmla="*/ 83834 h 7706253"/>
              <a:gd name="connsiteX0" fmla="*/ 1323583 w 6719761"/>
              <a:gd name="connsiteY0" fmla="*/ 672 h 7623092"/>
              <a:gd name="connsiteX1" fmla="*/ 5685020 w 6719761"/>
              <a:gd name="connsiteY1" fmla="*/ 0 h 7623092"/>
              <a:gd name="connsiteX2" fmla="*/ 6719761 w 6719761"/>
              <a:gd name="connsiteY2" fmla="*/ 1319947 h 7623092"/>
              <a:gd name="connsiteX3" fmla="*/ 6704365 w 6719761"/>
              <a:gd name="connsiteY3" fmla="*/ 6672198 h 7623092"/>
              <a:gd name="connsiteX4" fmla="*/ 0 w 6719761"/>
              <a:gd name="connsiteY4" fmla="*/ 7622690 h 7623092"/>
              <a:gd name="connsiteX5" fmla="*/ 1323583 w 6719761"/>
              <a:gd name="connsiteY5" fmla="*/ 672 h 7623092"/>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96403"/>
              <a:gd name="connsiteX1" fmla="*/ 5685020 w 6719761"/>
              <a:gd name="connsiteY1" fmla="*/ 0 h 8196403"/>
              <a:gd name="connsiteX2" fmla="*/ 6719761 w 6719761"/>
              <a:gd name="connsiteY2" fmla="*/ 1319947 h 8196403"/>
              <a:gd name="connsiteX3" fmla="*/ 6704365 w 6719761"/>
              <a:gd name="connsiteY3" fmla="*/ 6672198 h 8196403"/>
              <a:gd name="connsiteX4" fmla="*/ 2139330 w 6719761"/>
              <a:gd name="connsiteY4" fmla="*/ 7594960 h 8196403"/>
              <a:gd name="connsiteX5" fmla="*/ 0 w 6719761"/>
              <a:gd name="connsiteY5" fmla="*/ 7622690 h 8196403"/>
              <a:gd name="connsiteX6" fmla="*/ 1323583 w 6719761"/>
              <a:gd name="connsiteY6" fmla="*/ 672 h 8196403"/>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7622689"/>
              <a:gd name="connsiteX1" fmla="*/ 5685020 w 6719761"/>
              <a:gd name="connsiteY1" fmla="*/ 0 h 7622689"/>
              <a:gd name="connsiteX2" fmla="*/ 6719761 w 6719761"/>
              <a:gd name="connsiteY2" fmla="*/ 1319947 h 7622689"/>
              <a:gd name="connsiteX3" fmla="*/ 6704365 w 6719761"/>
              <a:gd name="connsiteY3" fmla="*/ 6672198 h 7622689"/>
              <a:gd name="connsiteX4" fmla="*/ 2139330 w 6719761"/>
              <a:gd name="connsiteY4" fmla="*/ 7594960 h 7622689"/>
              <a:gd name="connsiteX5" fmla="*/ 0 w 6719761"/>
              <a:gd name="connsiteY5" fmla="*/ 7622690 h 7622689"/>
              <a:gd name="connsiteX6" fmla="*/ 1323583 w 6719761"/>
              <a:gd name="connsiteY6" fmla="*/ 672 h 7622689"/>
              <a:gd name="connsiteX0" fmla="*/ 1323583 w 6719761"/>
              <a:gd name="connsiteY0" fmla="*/ 672 h 7622690"/>
              <a:gd name="connsiteX1" fmla="*/ 5685020 w 6719761"/>
              <a:gd name="connsiteY1" fmla="*/ 0 h 7622690"/>
              <a:gd name="connsiteX2" fmla="*/ 6719761 w 6719761"/>
              <a:gd name="connsiteY2" fmla="*/ 1319947 h 7622690"/>
              <a:gd name="connsiteX3" fmla="*/ 6704365 w 6719761"/>
              <a:gd name="connsiteY3" fmla="*/ 6672198 h 7622690"/>
              <a:gd name="connsiteX4" fmla="*/ 2139330 w 6719761"/>
              <a:gd name="connsiteY4" fmla="*/ 7594960 h 7622690"/>
              <a:gd name="connsiteX5" fmla="*/ 0 w 6719761"/>
              <a:gd name="connsiteY5" fmla="*/ 7622690 h 7622690"/>
              <a:gd name="connsiteX6" fmla="*/ 1323583 w 6719761"/>
              <a:gd name="connsiteY6" fmla="*/ 672 h 762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761" h="7622690">
                <a:moveTo>
                  <a:pt x="1323583" y="672"/>
                </a:moveTo>
                <a:lnTo>
                  <a:pt x="5685020" y="0"/>
                </a:lnTo>
                <a:lnTo>
                  <a:pt x="6719761" y="1319947"/>
                </a:lnTo>
                <a:lnTo>
                  <a:pt x="6704365" y="6672198"/>
                </a:lnTo>
                <a:lnTo>
                  <a:pt x="2139330" y="7594960"/>
                </a:lnTo>
                <a:cubicBezTo>
                  <a:pt x="2164402" y="7592716"/>
                  <a:pt x="1126691" y="7616519"/>
                  <a:pt x="0" y="7622690"/>
                </a:cubicBezTo>
                <a:lnTo>
                  <a:pt x="1323583" y="672"/>
                </a:lnTo>
                <a:close/>
              </a:path>
            </a:pathLst>
          </a:custGeom>
        </p:spPr>
        <p:txBody>
          <a:bodyPr/>
          <a:lstStyle/>
          <a:p>
            <a:r>
              <a:rPr lang="fi-FI"/>
              <a:t>Lisää kuva napsauttamalla kuvaketta</a:t>
            </a:r>
            <a:endParaRPr lang="en-FI"/>
          </a:p>
        </p:txBody>
      </p:sp>
      <p:sp>
        <p:nvSpPr>
          <p:cNvPr id="12" name="Title Placeholder 1">
            <a:extLst>
              <a:ext uri="{FF2B5EF4-FFF2-40B4-BE49-F238E27FC236}">
                <a16:creationId xmlns:a16="http://schemas.microsoft.com/office/drawing/2014/main" id="{BBC48ACE-9E4E-C9C3-6C9E-B0B9B7265109}"/>
              </a:ext>
            </a:extLst>
          </p:cNvPr>
          <p:cNvSpPr>
            <a:spLocks noGrp="1"/>
          </p:cNvSpPr>
          <p:nvPr>
            <p:ph type="title"/>
          </p:nvPr>
        </p:nvSpPr>
        <p:spPr>
          <a:xfrm>
            <a:off x="838200" y="604219"/>
            <a:ext cx="5146366" cy="1325563"/>
          </a:xfrm>
          <a:prstGeom prst="rect">
            <a:avLst/>
          </a:prstGeom>
        </p:spPr>
        <p:txBody>
          <a:bodyPr vert="horz" lIns="90000" tIns="45720" rIns="91440" bIns="45720" rtlCol="0" anchor="t" anchorCtr="0">
            <a:noAutofit/>
          </a:bodyPr>
          <a:lstStyle>
            <a:lvl1pPr>
              <a:defRPr sz="4400" b="1">
                <a:solidFill>
                  <a:srgbClr val="152B96"/>
                </a:solidFill>
              </a:defRPr>
            </a:lvl1pPr>
          </a:lstStyle>
          <a:p>
            <a:r>
              <a:rPr lang="fi-FI"/>
              <a:t>Muokkaa ots. perustyyl. napsautt.</a:t>
            </a:r>
            <a:endParaRPr lang="en-FI"/>
          </a:p>
        </p:txBody>
      </p:sp>
      <p:sp>
        <p:nvSpPr>
          <p:cNvPr id="2" name="Päivämäärän paikkamerkki 1">
            <a:extLst>
              <a:ext uri="{FF2B5EF4-FFF2-40B4-BE49-F238E27FC236}">
                <a16:creationId xmlns:a16="http://schemas.microsoft.com/office/drawing/2014/main" id="{98135F16-A954-D03B-51AA-4C527AEAA097}"/>
              </a:ext>
            </a:extLst>
          </p:cNvPr>
          <p:cNvSpPr>
            <a:spLocks noGrp="1"/>
          </p:cNvSpPr>
          <p:nvPr>
            <p:ph type="dt" sz="half" idx="12"/>
          </p:nvPr>
        </p:nvSpPr>
        <p:spPr/>
        <p:txBody>
          <a:bodyPr/>
          <a:lstStyle/>
          <a:p>
            <a:endParaRPr lang="fi-FI" dirty="0"/>
          </a:p>
        </p:txBody>
      </p:sp>
      <p:sp>
        <p:nvSpPr>
          <p:cNvPr id="3" name="Alatunnisteen paikkamerkki 2">
            <a:extLst>
              <a:ext uri="{FF2B5EF4-FFF2-40B4-BE49-F238E27FC236}">
                <a16:creationId xmlns:a16="http://schemas.microsoft.com/office/drawing/2014/main" id="{67AD0866-A42A-10B2-0329-155054603265}"/>
              </a:ext>
            </a:extLst>
          </p:cNvPr>
          <p:cNvSpPr>
            <a:spLocks noGrp="1"/>
          </p:cNvSpPr>
          <p:nvPr>
            <p:ph type="ftr" sz="quarter" idx="13"/>
          </p:nvPr>
        </p:nvSpPr>
        <p:spPr/>
        <p:txBody>
          <a:bodyPr/>
          <a:lstStyle/>
          <a:p>
            <a:r>
              <a:rPr lang="fi-FI"/>
              <a:t>7</a:t>
            </a:r>
          </a:p>
        </p:txBody>
      </p:sp>
      <p:sp>
        <p:nvSpPr>
          <p:cNvPr id="4" name="Sisällön paikkamerkki 10">
            <a:extLst>
              <a:ext uri="{FF2B5EF4-FFF2-40B4-BE49-F238E27FC236}">
                <a16:creationId xmlns:a16="http://schemas.microsoft.com/office/drawing/2014/main" id="{1C83A7B3-610F-A51D-B99C-5D64C8CAD2C2}"/>
              </a:ext>
            </a:extLst>
          </p:cNvPr>
          <p:cNvSpPr>
            <a:spLocks noGrp="1"/>
          </p:cNvSpPr>
          <p:nvPr>
            <p:ph sz="quarter" idx="14" hasCustomPrompt="1"/>
          </p:nvPr>
        </p:nvSpPr>
        <p:spPr>
          <a:xfrm>
            <a:off x="838200" y="2113935"/>
            <a:ext cx="5146366" cy="4063028"/>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3274881236"/>
      </p:ext>
    </p:extLst>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Kuvapaikka oikea 2">
    <p:bg>
      <p:bgPr>
        <a:solidFill>
          <a:srgbClr val="D9D9D6">
            <a:alpha val="90000"/>
          </a:srgbClr>
        </a:solidFill>
        <a:effectLst/>
      </p:bgPr>
    </p:bg>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915FF7E2-D7E9-E334-70D0-575753278F70}"/>
              </a:ext>
            </a:extLst>
          </p:cNvPr>
          <p:cNvSpPr/>
          <p:nvPr/>
        </p:nvSpPr>
        <p:spPr>
          <a:xfrm>
            <a:off x="6531430" y="-57358"/>
            <a:ext cx="5849020" cy="7137425"/>
          </a:xfrm>
          <a:custGeom>
            <a:avLst/>
            <a:gdLst>
              <a:gd name="connsiteX0" fmla="*/ 0 w 6295292"/>
              <a:gd name="connsiteY0" fmla="*/ 0 h 6588857"/>
              <a:gd name="connsiteX1" fmla="*/ 6295292 w 6295292"/>
              <a:gd name="connsiteY1" fmla="*/ 0 h 6588857"/>
              <a:gd name="connsiteX2" fmla="*/ 6295292 w 6295292"/>
              <a:gd name="connsiteY2" fmla="*/ 6588857 h 6588857"/>
              <a:gd name="connsiteX3" fmla="*/ 0 w 6295292"/>
              <a:gd name="connsiteY3" fmla="*/ 6588857 h 6588857"/>
              <a:gd name="connsiteX4" fmla="*/ 0 w 6295292"/>
              <a:gd name="connsiteY4" fmla="*/ 0 h 6588857"/>
              <a:gd name="connsiteX0" fmla="*/ 0 w 6295292"/>
              <a:gd name="connsiteY0" fmla="*/ 0 h 6588857"/>
              <a:gd name="connsiteX1" fmla="*/ 6295292 w 6295292"/>
              <a:gd name="connsiteY1" fmla="*/ 0 h 6588857"/>
              <a:gd name="connsiteX2" fmla="*/ 6295292 w 6295292"/>
              <a:gd name="connsiteY2" fmla="*/ 6588857 h 6588857"/>
              <a:gd name="connsiteX3" fmla="*/ 35169 w 6295292"/>
              <a:gd name="connsiteY3" fmla="*/ 5064857 h 6588857"/>
              <a:gd name="connsiteX4" fmla="*/ 0 w 6295292"/>
              <a:gd name="connsiteY4" fmla="*/ 0 h 6588857"/>
              <a:gd name="connsiteX0" fmla="*/ 246185 w 6260123"/>
              <a:gd name="connsiteY0" fmla="*/ 1148861 h 6588857"/>
              <a:gd name="connsiteX1" fmla="*/ 6260123 w 6260123"/>
              <a:gd name="connsiteY1" fmla="*/ 0 h 6588857"/>
              <a:gd name="connsiteX2" fmla="*/ 6260123 w 6260123"/>
              <a:gd name="connsiteY2" fmla="*/ 6588857 h 6588857"/>
              <a:gd name="connsiteX3" fmla="*/ 0 w 6260123"/>
              <a:gd name="connsiteY3" fmla="*/ 5064857 h 6588857"/>
              <a:gd name="connsiteX4" fmla="*/ 246185 w 6260123"/>
              <a:gd name="connsiteY4"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0 w 6353907"/>
              <a:gd name="connsiteY3" fmla="*/ 4924180 h 6588857"/>
              <a:gd name="connsiteX4" fmla="*/ 339969 w 6353907"/>
              <a:gd name="connsiteY4" fmla="*/ 1148861 h 6588857"/>
              <a:gd name="connsiteX0" fmla="*/ 339969 w 6353907"/>
              <a:gd name="connsiteY0" fmla="*/ 1148861 h 6713770"/>
              <a:gd name="connsiteX1" fmla="*/ 6353907 w 6353907"/>
              <a:gd name="connsiteY1" fmla="*/ 0 h 6713770"/>
              <a:gd name="connsiteX2" fmla="*/ 6353907 w 6353907"/>
              <a:gd name="connsiteY2" fmla="*/ 6588857 h 6713770"/>
              <a:gd name="connsiteX3" fmla="*/ 1078523 w 6353907"/>
              <a:gd name="connsiteY3" fmla="*/ 6571273 h 6713770"/>
              <a:gd name="connsiteX4" fmla="*/ 0 w 6353907"/>
              <a:gd name="connsiteY4" fmla="*/ 4924180 h 6713770"/>
              <a:gd name="connsiteX5" fmla="*/ 339969 w 6353907"/>
              <a:gd name="connsiteY5" fmla="*/ 1148861 h 6713770"/>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492369 w 6353907"/>
              <a:gd name="connsiteY0" fmla="*/ 410307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492369 w 6353907"/>
              <a:gd name="connsiteY5" fmla="*/ 410307 h 6588857"/>
              <a:gd name="connsiteX0" fmla="*/ 398585 w 6260123"/>
              <a:gd name="connsiteY0" fmla="*/ 410307 h 6588857"/>
              <a:gd name="connsiteX1" fmla="*/ 6260123 w 6260123"/>
              <a:gd name="connsiteY1" fmla="*/ 0 h 6588857"/>
              <a:gd name="connsiteX2" fmla="*/ 6260123 w 6260123"/>
              <a:gd name="connsiteY2" fmla="*/ 6588857 h 6588857"/>
              <a:gd name="connsiteX3" fmla="*/ 984739 w 6260123"/>
              <a:gd name="connsiteY3" fmla="*/ 6571273 h 6588857"/>
              <a:gd name="connsiteX4" fmla="*/ 0 w 6260123"/>
              <a:gd name="connsiteY4" fmla="*/ 4982796 h 6588857"/>
              <a:gd name="connsiteX5" fmla="*/ 398585 w 6260123"/>
              <a:gd name="connsiteY5" fmla="*/ 410307 h 6588857"/>
              <a:gd name="connsiteX0" fmla="*/ 398585 w 6260123"/>
              <a:gd name="connsiteY0" fmla="*/ 410307 h 6594719"/>
              <a:gd name="connsiteX1" fmla="*/ 6260123 w 6260123"/>
              <a:gd name="connsiteY1" fmla="*/ 0 h 6594719"/>
              <a:gd name="connsiteX2" fmla="*/ 6260123 w 6260123"/>
              <a:gd name="connsiteY2" fmla="*/ 6588857 h 6594719"/>
              <a:gd name="connsiteX3" fmla="*/ 1137139 w 6260123"/>
              <a:gd name="connsiteY3" fmla="*/ 6594719 h 6594719"/>
              <a:gd name="connsiteX4" fmla="*/ 0 w 6260123"/>
              <a:gd name="connsiteY4" fmla="*/ 4982796 h 6594719"/>
              <a:gd name="connsiteX5" fmla="*/ 398585 w 6260123"/>
              <a:gd name="connsiteY5" fmla="*/ 410307 h 6594719"/>
              <a:gd name="connsiteX0" fmla="*/ 167107 w 6028645"/>
              <a:gd name="connsiteY0" fmla="*/ 410307 h 6801552"/>
              <a:gd name="connsiteX1" fmla="*/ 6028645 w 6028645"/>
              <a:gd name="connsiteY1" fmla="*/ 0 h 6801552"/>
              <a:gd name="connsiteX2" fmla="*/ 6028645 w 6028645"/>
              <a:gd name="connsiteY2" fmla="*/ 6588857 h 6801552"/>
              <a:gd name="connsiteX3" fmla="*/ 905661 w 6028645"/>
              <a:gd name="connsiteY3" fmla="*/ 6594719 h 6801552"/>
              <a:gd name="connsiteX4" fmla="*/ 0 w 6028645"/>
              <a:gd name="connsiteY4" fmla="*/ 6801552 h 6801552"/>
              <a:gd name="connsiteX5" fmla="*/ 167107 w 6028645"/>
              <a:gd name="connsiteY5" fmla="*/ 410307 h 6801552"/>
              <a:gd name="connsiteX0" fmla="*/ 167107 w 6028645"/>
              <a:gd name="connsiteY0" fmla="*/ 410307 h 6801552"/>
              <a:gd name="connsiteX1" fmla="*/ 6028645 w 6028645"/>
              <a:gd name="connsiteY1" fmla="*/ 0 h 6801552"/>
              <a:gd name="connsiteX2" fmla="*/ 6028645 w 6028645"/>
              <a:gd name="connsiteY2" fmla="*/ 6588857 h 6801552"/>
              <a:gd name="connsiteX3" fmla="*/ 3402317 w 6028645"/>
              <a:gd name="connsiteY3" fmla="*/ 6264036 h 6801552"/>
              <a:gd name="connsiteX4" fmla="*/ 0 w 6028645"/>
              <a:gd name="connsiteY4" fmla="*/ 6801552 h 6801552"/>
              <a:gd name="connsiteX5" fmla="*/ 167107 w 6028645"/>
              <a:gd name="connsiteY5" fmla="*/ 410307 h 6801552"/>
              <a:gd name="connsiteX0" fmla="*/ 167107 w 6028645"/>
              <a:gd name="connsiteY0" fmla="*/ 410307 h 7239551"/>
              <a:gd name="connsiteX1" fmla="*/ 6028645 w 6028645"/>
              <a:gd name="connsiteY1" fmla="*/ 0 h 7239551"/>
              <a:gd name="connsiteX2" fmla="*/ 6028645 w 6028645"/>
              <a:gd name="connsiteY2" fmla="*/ 6588857 h 7239551"/>
              <a:gd name="connsiteX3" fmla="*/ 1765437 w 6028645"/>
              <a:gd name="connsiteY3" fmla="*/ 7239551 h 7239551"/>
              <a:gd name="connsiteX4" fmla="*/ 0 w 6028645"/>
              <a:gd name="connsiteY4" fmla="*/ 6801552 h 7239551"/>
              <a:gd name="connsiteX5" fmla="*/ 167107 w 6028645"/>
              <a:gd name="connsiteY5" fmla="*/ 410307 h 7239551"/>
              <a:gd name="connsiteX0" fmla="*/ 167107 w 6028645"/>
              <a:gd name="connsiteY0" fmla="*/ 410307 h 7239551"/>
              <a:gd name="connsiteX1" fmla="*/ 6028645 w 6028645"/>
              <a:gd name="connsiteY1" fmla="*/ 0 h 7239551"/>
              <a:gd name="connsiteX2" fmla="*/ 6012111 w 6028645"/>
              <a:gd name="connsiteY2" fmla="*/ 7167553 h 7239551"/>
              <a:gd name="connsiteX3" fmla="*/ 1765437 w 6028645"/>
              <a:gd name="connsiteY3" fmla="*/ 7239551 h 7239551"/>
              <a:gd name="connsiteX4" fmla="*/ 0 w 6028645"/>
              <a:gd name="connsiteY4" fmla="*/ 6801552 h 7239551"/>
              <a:gd name="connsiteX5" fmla="*/ 167107 w 6028645"/>
              <a:gd name="connsiteY5" fmla="*/ 410307 h 7239551"/>
              <a:gd name="connsiteX0" fmla="*/ 0 w 6291427"/>
              <a:gd name="connsiteY0" fmla="*/ 0 h 7738622"/>
              <a:gd name="connsiteX1" fmla="*/ 6291427 w 6291427"/>
              <a:gd name="connsiteY1" fmla="*/ 499071 h 7738622"/>
              <a:gd name="connsiteX2" fmla="*/ 6274893 w 6291427"/>
              <a:gd name="connsiteY2" fmla="*/ 7666624 h 7738622"/>
              <a:gd name="connsiteX3" fmla="*/ 2028219 w 6291427"/>
              <a:gd name="connsiteY3" fmla="*/ 7738622 h 7738622"/>
              <a:gd name="connsiteX4" fmla="*/ 262782 w 6291427"/>
              <a:gd name="connsiteY4" fmla="*/ 7300623 h 7738622"/>
              <a:gd name="connsiteX5" fmla="*/ 0 w 6291427"/>
              <a:gd name="connsiteY5" fmla="*/ 0 h 7738622"/>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62782 w 6275019"/>
              <a:gd name="connsiteY4" fmla="*/ 7314110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428754 w 6275019"/>
              <a:gd name="connsiteY4" fmla="*/ 6933826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0 w 6275019"/>
              <a:gd name="connsiteY4" fmla="*/ 13487 h 7752109"/>
              <a:gd name="connsiteX0" fmla="*/ 0 w 6275019"/>
              <a:gd name="connsiteY0" fmla="*/ 13487 h 7680111"/>
              <a:gd name="connsiteX1" fmla="*/ 6109551 w 6275019"/>
              <a:gd name="connsiteY1" fmla="*/ 0 h 7680111"/>
              <a:gd name="connsiteX2" fmla="*/ 6274893 w 6275019"/>
              <a:gd name="connsiteY2" fmla="*/ 7680111 h 7680111"/>
              <a:gd name="connsiteX3" fmla="*/ 1780207 w 6275019"/>
              <a:gd name="connsiteY3" fmla="*/ 7669438 h 7680111"/>
              <a:gd name="connsiteX4" fmla="*/ 0 w 6275019"/>
              <a:gd name="connsiteY4" fmla="*/ 13487 h 768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5019" h="7680111">
                <a:moveTo>
                  <a:pt x="0" y="13487"/>
                </a:moveTo>
                <a:lnTo>
                  <a:pt x="6109551" y="0"/>
                </a:lnTo>
                <a:cubicBezTo>
                  <a:pt x="6104040" y="2389184"/>
                  <a:pt x="6280404" y="5290927"/>
                  <a:pt x="6274893" y="7680111"/>
                </a:cubicBezTo>
                <a:lnTo>
                  <a:pt x="1780207" y="7669438"/>
                </a:lnTo>
                <a:lnTo>
                  <a:pt x="0" y="13487"/>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9" name="Rectangle 8">
            <a:extLst>
              <a:ext uri="{FF2B5EF4-FFF2-40B4-BE49-F238E27FC236}">
                <a16:creationId xmlns:a16="http://schemas.microsoft.com/office/drawing/2014/main" id="{5E1D0E87-623B-5D50-D50D-E438031EC66E}"/>
              </a:ext>
            </a:extLst>
          </p:cNvPr>
          <p:cNvSpPr/>
          <p:nvPr/>
        </p:nvSpPr>
        <p:spPr>
          <a:xfrm>
            <a:off x="6531430" y="-57358"/>
            <a:ext cx="5849020" cy="7137425"/>
          </a:xfrm>
          <a:custGeom>
            <a:avLst/>
            <a:gdLst>
              <a:gd name="connsiteX0" fmla="*/ 0 w 6295292"/>
              <a:gd name="connsiteY0" fmla="*/ 0 h 6588857"/>
              <a:gd name="connsiteX1" fmla="*/ 6295292 w 6295292"/>
              <a:gd name="connsiteY1" fmla="*/ 0 h 6588857"/>
              <a:gd name="connsiteX2" fmla="*/ 6295292 w 6295292"/>
              <a:gd name="connsiteY2" fmla="*/ 6588857 h 6588857"/>
              <a:gd name="connsiteX3" fmla="*/ 0 w 6295292"/>
              <a:gd name="connsiteY3" fmla="*/ 6588857 h 6588857"/>
              <a:gd name="connsiteX4" fmla="*/ 0 w 6295292"/>
              <a:gd name="connsiteY4" fmla="*/ 0 h 6588857"/>
              <a:gd name="connsiteX0" fmla="*/ 0 w 6295292"/>
              <a:gd name="connsiteY0" fmla="*/ 0 h 6588857"/>
              <a:gd name="connsiteX1" fmla="*/ 6295292 w 6295292"/>
              <a:gd name="connsiteY1" fmla="*/ 0 h 6588857"/>
              <a:gd name="connsiteX2" fmla="*/ 6295292 w 6295292"/>
              <a:gd name="connsiteY2" fmla="*/ 6588857 h 6588857"/>
              <a:gd name="connsiteX3" fmla="*/ 35169 w 6295292"/>
              <a:gd name="connsiteY3" fmla="*/ 5064857 h 6588857"/>
              <a:gd name="connsiteX4" fmla="*/ 0 w 6295292"/>
              <a:gd name="connsiteY4" fmla="*/ 0 h 6588857"/>
              <a:gd name="connsiteX0" fmla="*/ 246185 w 6260123"/>
              <a:gd name="connsiteY0" fmla="*/ 1148861 h 6588857"/>
              <a:gd name="connsiteX1" fmla="*/ 6260123 w 6260123"/>
              <a:gd name="connsiteY1" fmla="*/ 0 h 6588857"/>
              <a:gd name="connsiteX2" fmla="*/ 6260123 w 6260123"/>
              <a:gd name="connsiteY2" fmla="*/ 6588857 h 6588857"/>
              <a:gd name="connsiteX3" fmla="*/ 0 w 6260123"/>
              <a:gd name="connsiteY3" fmla="*/ 5064857 h 6588857"/>
              <a:gd name="connsiteX4" fmla="*/ 246185 w 6260123"/>
              <a:gd name="connsiteY4"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0 w 6353907"/>
              <a:gd name="connsiteY3" fmla="*/ 4924180 h 6588857"/>
              <a:gd name="connsiteX4" fmla="*/ 339969 w 6353907"/>
              <a:gd name="connsiteY4" fmla="*/ 1148861 h 6588857"/>
              <a:gd name="connsiteX0" fmla="*/ 339969 w 6353907"/>
              <a:gd name="connsiteY0" fmla="*/ 1148861 h 6713770"/>
              <a:gd name="connsiteX1" fmla="*/ 6353907 w 6353907"/>
              <a:gd name="connsiteY1" fmla="*/ 0 h 6713770"/>
              <a:gd name="connsiteX2" fmla="*/ 6353907 w 6353907"/>
              <a:gd name="connsiteY2" fmla="*/ 6588857 h 6713770"/>
              <a:gd name="connsiteX3" fmla="*/ 1078523 w 6353907"/>
              <a:gd name="connsiteY3" fmla="*/ 6571273 h 6713770"/>
              <a:gd name="connsiteX4" fmla="*/ 0 w 6353907"/>
              <a:gd name="connsiteY4" fmla="*/ 4924180 h 6713770"/>
              <a:gd name="connsiteX5" fmla="*/ 339969 w 6353907"/>
              <a:gd name="connsiteY5" fmla="*/ 1148861 h 6713770"/>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492369 w 6353907"/>
              <a:gd name="connsiteY0" fmla="*/ 410307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492369 w 6353907"/>
              <a:gd name="connsiteY5" fmla="*/ 410307 h 6588857"/>
              <a:gd name="connsiteX0" fmla="*/ 398585 w 6260123"/>
              <a:gd name="connsiteY0" fmla="*/ 410307 h 6588857"/>
              <a:gd name="connsiteX1" fmla="*/ 6260123 w 6260123"/>
              <a:gd name="connsiteY1" fmla="*/ 0 h 6588857"/>
              <a:gd name="connsiteX2" fmla="*/ 6260123 w 6260123"/>
              <a:gd name="connsiteY2" fmla="*/ 6588857 h 6588857"/>
              <a:gd name="connsiteX3" fmla="*/ 984739 w 6260123"/>
              <a:gd name="connsiteY3" fmla="*/ 6571273 h 6588857"/>
              <a:gd name="connsiteX4" fmla="*/ 0 w 6260123"/>
              <a:gd name="connsiteY4" fmla="*/ 4982796 h 6588857"/>
              <a:gd name="connsiteX5" fmla="*/ 398585 w 6260123"/>
              <a:gd name="connsiteY5" fmla="*/ 410307 h 6588857"/>
              <a:gd name="connsiteX0" fmla="*/ 398585 w 6260123"/>
              <a:gd name="connsiteY0" fmla="*/ 410307 h 6594719"/>
              <a:gd name="connsiteX1" fmla="*/ 6260123 w 6260123"/>
              <a:gd name="connsiteY1" fmla="*/ 0 h 6594719"/>
              <a:gd name="connsiteX2" fmla="*/ 6260123 w 6260123"/>
              <a:gd name="connsiteY2" fmla="*/ 6588857 h 6594719"/>
              <a:gd name="connsiteX3" fmla="*/ 1137139 w 6260123"/>
              <a:gd name="connsiteY3" fmla="*/ 6594719 h 6594719"/>
              <a:gd name="connsiteX4" fmla="*/ 0 w 6260123"/>
              <a:gd name="connsiteY4" fmla="*/ 4982796 h 6594719"/>
              <a:gd name="connsiteX5" fmla="*/ 398585 w 6260123"/>
              <a:gd name="connsiteY5" fmla="*/ 410307 h 6594719"/>
              <a:gd name="connsiteX0" fmla="*/ 167107 w 6028645"/>
              <a:gd name="connsiteY0" fmla="*/ 410307 h 6801552"/>
              <a:gd name="connsiteX1" fmla="*/ 6028645 w 6028645"/>
              <a:gd name="connsiteY1" fmla="*/ 0 h 6801552"/>
              <a:gd name="connsiteX2" fmla="*/ 6028645 w 6028645"/>
              <a:gd name="connsiteY2" fmla="*/ 6588857 h 6801552"/>
              <a:gd name="connsiteX3" fmla="*/ 905661 w 6028645"/>
              <a:gd name="connsiteY3" fmla="*/ 6594719 h 6801552"/>
              <a:gd name="connsiteX4" fmla="*/ 0 w 6028645"/>
              <a:gd name="connsiteY4" fmla="*/ 6801552 h 6801552"/>
              <a:gd name="connsiteX5" fmla="*/ 167107 w 6028645"/>
              <a:gd name="connsiteY5" fmla="*/ 410307 h 6801552"/>
              <a:gd name="connsiteX0" fmla="*/ 167107 w 6028645"/>
              <a:gd name="connsiteY0" fmla="*/ 410307 h 6801552"/>
              <a:gd name="connsiteX1" fmla="*/ 6028645 w 6028645"/>
              <a:gd name="connsiteY1" fmla="*/ 0 h 6801552"/>
              <a:gd name="connsiteX2" fmla="*/ 6028645 w 6028645"/>
              <a:gd name="connsiteY2" fmla="*/ 6588857 h 6801552"/>
              <a:gd name="connsiteX3" fmla="*/ 3402317 w 6028645"/>
              <a:gd name="connsiteY3" fmla="*/ 6264036 h 6801552"/>
              <a:gd name="connsiteX4" fmla="*/ 0 w 6028645"/>
              <a:gd name="connsiteY4" fmla="*/ 6801552 h 6801552"/>
              <a:gd name="connsiteX5" fmla="*/ 167107 w 6028645"/>
              <a:gd name="connsiteY5" fmla="*/ 410307 h 6801552"/>
              <a:gd name="connsiteX0" fmla="*/ 167107 w 6028645"/>
              <a:gd name="connsiteY0" fmla="*/ 410307 h 7239551"/>
              <a:gd name="connsiteX1" fmla="*/ 6028645 w 6028645"/>
              <a:gd name="connsiteY1" fmla="*/ 0 h 7239551"/>
              <a:gd name="connsiteX2" fmla="*/ 6028645 w 6028645"/>
              <a:gd name="connsiteY2" fmla="*/ 6588857 h 7239551"/>
              <a:gd name="connsiteX3" fmla="*/ 1765437 w 6028645"/>
              <a:gd name="connsiteY3" fmla="*/ 7239551 h 7239551"/>
              <a:gd name="connsiteX4" fmla="*/ 0 w 6028645"/>
              <a:gd name="connsiteY4" fmla="*/ 6801552 h 7239551"/>
              <a:gd name="connsiteX5" fmla="*/ 167107 w 6028645"/>
              <a:gd name="connsiteY5" fmla="*/ 410307 h 7239551"/>
              <a:gd name="connsiteX0" fmla="*/ 167107 w 6028645"/>
              <a:gd name="connsiteY0" fmla="*/ 410307 h 7239551"/>
              <a:gd name="connsiteX1" fmla="*/ 6028645 w 6028645"/>
              <a:gd name="connsiteY1" fmla="*/ 0 h 7239551"/>
              <a:gd name="connsiteX2" fmla="*/ 6012111 w 6028645"/>
              <a:gd name="connsiteY2" fmla="*/ 7167553 h 7239551"/>
              <a:gd name="connsiteX3" fmla="*/ 1765437 w 6028645"/>
              <a:gd name="connsiteY3" fmla="*/ 7239551 h 7239551"/>
              <a:gd name="connsiteX4" fmla="*/ 0 w 6028645"/>
              <a:gd name="connsiteY4" fmla="*/ 6801552 h 7239551"/>
              <a:gd name="connsiteX5" fmla="*/ 167107 w 6028645"/>
              <a:gd name="connsiteY5" fmla="*/ 410307 h 7239551"/>
              <a:gd name="connsiteX0" fmla="*/ 0 w 6291427"/>
              <a:gd name="connsiteY0" fmla="*/ 0 h 7738622"/>
              <a:gd name="connsiteX1" fmla="*/ 6291427 w 6291427"/>
              <a:gd name="connsiteY1" fmla="*/ 499071 h 7738622"/>
              <a:gd name="connsiteX2" fmla="*/ 6274893 w 6291427"/>
              <a:gd name="connsiteY2" fmla="*/ 7666624 h 7738622"/>
              <a:gd name="connsiteX3" fmla="*/ 2028219 w 6291427"/>
              <a:gd name="connsiteY3" fmla="*/ 7738622 h 7738622"/>
              <a:gd name="connsiteX4" fmla="*/ 262782 w 6291427"/>
              <a:gd name="connsiteY4" fmla="*/ 7300623 h 7738622"/>
              <a:gd name="connsiteX5" fmla="*/ 0 w 6291427"/>
              <a:gd name="connsiteY5" fmla="*/ 0 h 7738622"/>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62782 w 6275019"/>
              <a:gd name="connsiteY4" fmla="*/ 7314110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428754 w 6275019"/>
              <a:gd name="connsiteY4" fmla="*/ 6933826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0 w 6275019"/>
              <a:gd name="connsiteY4" fmla="*/ 13487 h 7752109"/>
              <a:gd name="connsiteX0" fmla="*/ 0 w 6275019"/>
              <a:gd name="connsiteY0" fmla="*/ 13487 h 7680111"/>
              <a:gd name="connsiteX1" fmla="*/ 6109551 w 6275019"/>
              <a:gd name="connsiteY1" fmla="*/ 0 h 7680111"/>
              <a:gd name="connsiteX2" fmla="*/ 6274893 w 6275019"/>
              <a:gd name="connsiteY2" fmla="*/ 7680111 h 7680111"/>
              <a:gd name="connsiteX3" fmla="*/ 1780207 w 6275019"/>
              <a:gd name="connsiteY3" fmla="*/ 7669438 h 7680111"/>
              <a:gd name="connsiteX4" fmla="*/ 0 w 6275019"/>
              <a:gd name="connsiteY4" fmla="*/ 13487 h 768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5019" h="7680111">
                <a:moveTo>
                  <a:pt x="0" y="13487"/>
                </a:moveTo>
                <a:lnTo>
                  <a:pt x="6109551" y="0"/>
                </a:lnTo>
                <a:cubicBezTo>
                  <a:pt x="6104040" y="2389184"/>
                  <a:pt x="6280404" y="5290927"/>
                  <a:pt x="6274893" y="7680111"/>
                </a:cubicBezTo>
                <a:lnTo>
                  <a:pt x="1780207" y="7669438"/>
                </a:lnTo>
                <a:lnTo>
                  <a:pt x="0" y="13487"/>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8" name="Picture Placeholder 7">
            <a:extLst>
              <a:ext uri="{FF2B5EF4-FFF2-40B4-BE49-F238E27FC236}">
                <a16:creationId xmlns:a16="http://schemas.microsoft.com/office/drawing/2014/main" id="{FAE12E07-70C4-0DBB-251E-EDA6D5378E3E}"/>
              </a:ext>
            </a:extLst>
          </p:cNvPr>
          <p:cNvSpPr>
            <a:spLocks noGrp="1"/>
          </p:cNvSpPr>
          <p:nvPr>
            <p:ph type="pic" sz="quarter" idx="10"/>
          </p:nvPr>
        </p:nvSpPr>
        <p:spPr>
          <a:xfrm>
            <a:off x="6096000" y="-15594"/>
            <a:ext cx="6173016" cy="7036880"/>
          </a:xfrm>
          <a:custGeom>
            <a:avLst/>
            <a:gdLst>
              <a:gd name="connsiteX0" fmla="*/ 0 w 5919787"/>
              <a:gd name="connsiteY0" fmla="*/ 0 h 5264150"/>
              <a:gd name="connsiteX1" fmla="*/ 5919787 w 5919787"/>
              <a:gd name="connsiteY1" fmla="*/ 0 h 5264150"/>
              <a:gd name="connsiteX2" fmla="*/ 5919787 w 5919787"/>
              <a:gd name="connsiteY2" fmla="*/ 5264150 h 5264150"/>
              <a:gd name="connsiteX3" fmla="*/ 0 w 5919787"/>
              <a:gd name="connsiteY3" fmla="*/ 5264150 h 5264150"/>
              <a:gd name="connsiteX4" fmla="*/ 0 w 5919787"/>
              <a:gd name="connsiteY4" fmla="*/ 0 h 5264150"/>
              <a:gd name="connsiteX0" fmla="*/ 363416 w 5919787"/>
              <a:gd name="connsiteY0" fmla="*/ 0 h 5779965"/>
              <a:gd name="connsiteX1" fmla="*/ 5919787 w 5919787"/>
              <a:gd name="connsiteY1" fmla="*/ 515815 h 5779965"/>
              <a:gd name="connsiteX2" fmla="*/ 5919787 w 5919787"/>
              <a:gd name="connsiteY2" fmla="*/ 5779965 h 5779965"/>
              <a:gd name="connsiteX3" fmla="*/ 0 w 5919787"/>
              <a:gd name="connsiteY3" fmla="*/ 5779965 h 5779965"/>
              <a:gd name="connsiteX4" fmla="*/ 363416 w 5919787"/>
              <a:gd name="connsiteY4" fmla="*/ 0 h 5779965"/>
              <a:gd name="connsiteX0" fmla="*/ 1630290 w 7186661"/>
              <a:gd name="connsiteY0" fmla="*/ 0 h 5779965"/>
              <a:gd name="connsiteX1" fmla="*/ 7186661 w 7186661"/>
              <a:gd name="connsiteY1" fmla="*/ 515815 h 5779965"/>
              <a:gd name="connsiteX2" fmla="*/ 7186661 w 7186661"/>
              <a:gd name="connsiteY2" fmla="*/ 5779965 h 5779965"/>
              <a:gd name="connsiteX3" fmla="*/ 1266874 w 7186661"/>
              <a:gd name="connsiteY3" fmla="*/ 5779965 h 5779965"/>
              <a:gd name="connsiteX4" fmla="*/ 415 w 7186661"/>
              <a:gd name="connsiteY4" fmla="*/ 2403720 h 5779965"/>
              <a:gd name="connsiteX5" fmla="*/ 1630290 w 7186661"/>
              <a:gd name="connsiteY5" fmla="*/ 0 h 5779965"/>
              <a:gd name="connsiteX0" fmla="*/ 1629875 w 7186246"/>
              <a:gd name="connsiteY0" fmla="*/ 0 h 5779965"/>
              <a:gd name="connsiteX1" fmla="*/ 7186246 w 7186246"/>
              <a:gd name="connsiteY1" fmla="*/ 515815 h 5779965"/>
              <a:gd name="connsiteX2" fmla="*/ 7186246 w 7186246"/>
              <a:gd name="connsiteY2" fmla="*/ 5779965 h 5779965"/>
              <a:gd name="connsiteX3" fmla="*/ 1266459 w 7186246"/>
              <a:gd name="connsiteY3" fmla="*/ 5779965 h 5779965"/>
              <a:gd name="connsiteX4" fmla="*/ 0 w 7186246"/>
              <a:gd name="connsiteY4" fmla="*/ 2403720 h 5779965"/>
              <a:gd name="connsiteX5" fmla="*/ 1629875 w 7186246"/>
              <a:gd name="connsiteY5" fmla="*/ 0 h 5779965"/>
              <a:gd name="connsiteX0" fmla="*/ 1629875 w 7186246"/>
              <a:gd name="connsiteY0" fmla="*/ 0 h 5780086"/>
              <a:gd name="connsiteX1" fmla="*/ 7186246 w 7186246"/>
              <a:gd name="connsiteY1" fmla="*/ 515815 h 5780086"/>
              <a:gd name="connsiteX2" fmla="*/ 7186246 w 7186246"/>
              <a:gd name="connsiteY2" fmla="*/ 5779965 h 5780086"/>
              <a:gd name="connsiteX3" fmla="*/ 1266459 w 7186246"/>
              <a:gd name="connsiteY3" fmla="*/ 5779965 h 5780086"/>
              <a:gd name="connsiteX4" fmla="*/ 0 w 7186246"/>
              <a:gd name="connsiteY4" fmla="*/ 2403720 h 5780086"/>
              <a:gd name="connsiteX5" fmla="*/ 1629875 w 7186246"/>
              <a:gd name="connsiteY5" fmla="*/ 0 h 5780086"/>
              <a:gd name="connsiteX0" fmla="*/ 1782275 w 7186246"/>
              <a:gd name="connsiteY0" fmla="*/ 0 h 6131778"/>
              <a:gd name="connsiteX1" fmla="*/ 7186246 w 7186246"/>
              <a:gd name="connsiteY1" fmla="*/ 867507 h 6131778"/>
              <a:gd name="connsiteX2" fmla="*/ 7186246 w 7186246"/>
              <a:gd name="connsiteY2" fmla="*/ 6131657 h 6131778"/>
              <a:gd name="connsiteX3" fmla="*/ 1266459 w 7186246"/>
              <a:gd name="connsiteY3" fmla="*/ 6131657 h 6131778"/>
              <a:gd name="connsiteX4" fmla="*/ 0 w 7186246"/>
              <a:gd name="connsiteY4" fmla="*/ 2755412 h 6131778"/>
              <a:gd name="connsiteX5" fmla="*/ 1782275 w 7186246"/>
              <a:gd name="connsiteY5" fmla="*/ 0 h 6131778"/>
              <a:gd name="connsiteX0" fmla="*/ 1782275 w 7186246"/>
              <a:gd name="connsiteY0" fmla="*/ 0 h 6143501"/>
              <a:gd name="connsiteX1" fmla="*/ 7186246 w 7186246"/>
              <a:gd name="connsiteY1" fmla="*/ 867507 h 6143501"/>
              <a:gd name="connsiteX2" fmla="*/ 7186246 w 7186246"/>
              <a:gd name="connsiteY2" fmla="*/ 6131657 h 6143501"/>
              <a:gd name="connsiteX3" fmla="*/ 2309813 w 7186246"/>
              <a:gd name="connsiteY3" fmla="*/ 6143380 h 6143501"/>
              <a:gd name="connsiteX4" fmla="*/ 0 w 7186246"/>
              <a:gd name="connsiteY4" fmla="*/ 2755412 h 6143501"/>
              <a:gd name="connsiteX5" fmla="*/ 1782275 w 7186246"/>
              <a:gd name="connsiteY5" fmla="*/ 0 h 6143501"/>
              <a:gd name="connsiteX0" fmla="*/ 985106 w 6389077"/>
              <a:gd name="connsiteY0" fmla="*/ 0 h 6143553"/>
              <a:gd name="connsiteX1" fmla="*/ 6389077 w 6389077"/>
              <a:gd name="connsiteY1" fmla="*/ 867507 h 6143553"/>
              <a:gd name="connsiteX2" fmla="*/ 6389077 w 6389077"/>
              <a:gd name="connsiteY2" fmla="*/ 6131657 h 6143553"/>
              <a:gd name="connsiteX3" fmla="*/ 1512644 w 6389077"/>
              <a:gd name="connsiteY3" fmla="*/ 6143380 h 6143553"/>
              <a:gd name="connsiteX4" fmla="*/ 0 w 6389077"/>
              <a:gd name="connsiteY4" fmla="*/ 3787042 h 6143553"/>
              <a:gd name="connsiteX5" fmla="*/ 985106 w 6389077"/>
              <a:gd name="connsiteY5" fmla="*/ 0 h 6143553"/>
              <a:gd name="connsiteX0" fmla="*/ 1207844 w 6389077"/>
              <a:gd name="connsiteY0" fmla="*/ 0 h 6589030"/>
              <a:gd name="connsiteX1" fmla="*/ 6389077 w 6389077"/>
              <a:gd name="connsiteY1" fmla="*/ 1312984 h 6589030"/>
              <a:gd name="connsiteX2" fmla="*/ 6389077 w 6389077"/>
              <a:gd name="connsiteY2" fmla="*/ 6577134 h 6589030"/>
              <a:gd name="connsiteX3" fmla="*/ 1512644 w 6389077"/>
              <a:gd name="connsiteY3" fmla="*/ 6588857 h 6589030"/>
              <a:gd name="connsiteX4" fmla="*/ 0 w 6389077"/>
              <a:gd name="connsiteY4" fmla="*/ 4232519 h 6589030"/>
              <a:gd name="connsiteX5" fmla="*/ 1207844 w 6389077"/>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8857"/>
              <a:gd name="connsiteX1" fmla="*/ 6412523 w 6412523"/>
              <a:gd name="connsiteY1" fmla="*/ 726831 h 6588857"/>
              <a:gd name="connsiteX2" fmla="*/ 6389077 w 6412523"/>
              <a:gd name="connsiteY2" fmla="*/ 6577134 h 6588857"/>
              <a:gd name="connsiteX3" fmla="*/ 1512644 w 6412523"/>
              <a:gd name="connsiteY3" fmla="*/ 6588857 h 6588857"/>
              <a:gd name="connsiteX4" fmla="*/ 0 w 6412523"/>
              <a:gd name="connsiteY4" fmla="*/ 4232519 h 6588857"/>
              <a:gd name="connsiteX5" fmla="*/ 1207844 w 6412523"/>
              <a:gd name="connsiteY5" fmla="*/ 0 h 6588857"/>
              <a:gd name="connsiteX0" fmla="*/ 1207844 w 6412523"/>
              <a:gd name="connsiteY0" fmla="*/ 0 h 7200620"/>
              <a:gd name="connsiteX1" fmla="*/ 6412523 w 6412523"/>
              <a:gd name="connsiteY1" fmla="*/ 726831 h 7200620"/>
              <a:gd name="connsiteX2" fmla="*/ 6389077 w 6412523"/>
              <a:gd name="connsiteY2" fmla="*/ 6577134 h 7200620"/>
              <a:gd name="connsiteX3" fmla="*/ 2157475 w 6412523"/>
              <a:gd name="connsiteY3" fmla="*/ 7200620 h 7200620"/>
              <a:gd name="connsiteX4" fmla="*/ 0 w 6412523"/>
              <a:gd name="connsiteY4" fmla="*/ 4232519 h 7200620"/>
              <a:gd name="connsiteX5" fmla="*/ 1207844 w 6412523"/>
              <a:gd name="connsiteY5" fmla="*/ 0 h 7200620"/>
              <a:gd name="connsiteX0" fmla="*/ 1207844 w 6412523"/>
              <a:gd name="connsiteY0" fmla="*/ 0 h 7200620"/>
              <a:gd name="connsiteX1" fmla="*/ 6412523 w 6412523"/>
              <a:gd name="connsiteY1" fmla="*/ 726831 h 7200620"/>
              <a:gd name="connsiteX2" fmla="*/ 6389078 w 6412523"/>
              <a:gd name="connsiteY2" fmla="*/ 7172363 h 7200620"/>
              <a:gd name="connsiteX3" fmla="*/ 2157475 w 6412523"/>
              <a:gd name="connsiteY3" fmla="*/ 7200620 h 7200620"/>
              <a:gd name="connsiteX4" fmla="*/ 0 w 6412523"/>
              <a:gd name="connsiteY4" fmla="*/ 4232519 h 7200620"/>
              <a:gd name="connsiteX5" fmla="*/ 1207844 w 6412523"/>
              <a:gd name="connsiteY5" fmla="*/ 0 h 7200620"/>
              <a:gd name="connsiteX0" fmla="*/ 744888 w 6412523"/>
              <a:gd name="connsiteY0" fmla="*/ 0 h 7746246"/>
              <a:gd name="connsiteX1" fmla="*/ 6412523 w 6412523"/>
              <a:gd name="connsiteY1" fmla="*/ 1272457 h 7746246"/>
              <a:gd name="connsiteX2" fmla="*/ 6389078 w 6412523"/>
              <a:gd name="connsiteY2" fmla="*/ 7717989 h 7746246"/>
              <a:gd name="connsiteX3" fmla="*/ 2157475 w 6412523"/>
              <a:gd name="connsiteY3" fmla="*/ 7746246 h 7746246"/>
              <a:gd name="connsiteX4" fmla="*/ 0 w 6412523"/>
              <a:gd name="connsiteY4" fmla="*/ 4778145 h 7746246"/>
              <a:gd name="connsiteX5" fmla="*/ 744888 w 6412523"/>
              <a:gd name="connsiteY5" fmla="*/ 0 h 7746246"/>
              <a:gd name="connsiteX0" fmla="*/ 744888 w 6389113"/>
              <a:gd name="connsiteY0" fmla="*/ 672 h 7746918"/>
              <a:gd name="connsiteX1" fmla="*/ 5106325 w 6389113"/>
              <a:gd name="connsiteY1" fmla="*/ 0 h 7746918"/>
              <a:gd name="connsiteX2" fmla="*/ 6389078 w 6389113"/>
              <a:gd name="connsiteY2" fmla="*/ 7718661 h 7746918"/>
              <a:gd name="connsiteX3" fmla="*/ 2157475 w 6389113"/>
              <a:gd name="connsiteY3" fmla="*/ 7746918 h 7746918"/>
              <a:gd name="connsiteX4" fmla="*/ 0 w 6389113"/>
              <a:gd name="connsiteY4" fmla="*/ 4778817 h 7746918"/>
              <a:gd name="connsiteX5" fmla="*/ 744888 w 6389113"/>
              <a:gd name="connsiteY5" fmla="*/ 672 h 7746918"/>
              <a:gd name="connsiteX0" fmla="*/ 744888 w 6389114"/>
              <a:gd name="connsiteY0" fmla="*/ 672 h 7746918"/>
              <a:gd name="connsiteX1" fmla="*/ 5106325 w 6389114"/>
              <a:gd name="connsiteY1" fmla="*/ 0 h 7746918"/>
              <a:gd name="connsiteX2" fmla="*/ 6389078 w 6389114"/>
              <a:gd name="connsiteY2" fmla="*/ 7718661 h 7746918"/>
              <a:gd name="connsiteX3" fmla="*/ 2157475 w 6389114"/>
              <a:gd name="connsiteY3" fmla="*/ 7746918 h 7746918"/>
              <a:gd name="connsiteX4" fmla="*/ 0 w 6389114"/>
              <a:gd name="connsiteY4" fmla="*/ 4778817 h 7746918"/>
              <a:gd name="connsiteX5" fmla="*/ 744888 w 6389114"/>
              <a:gd name="connsiteY5" fmla="*/ 672 h 7746918"/>
              <a:gd name="connsiteX0" fmla="*/ 1323583 w 6967809"/>
              <a:gd name="connsiteY0" fmla="*/ 672 h 7746918"/>
              <a:gd name="connsiteX1" fmla="*/ 5685020 w 6967809"/>
              <a:gd name="connsiteY1" fmla="*/ 0 h 7746918"/>
              <a:gd name="connsiteX2" fmla="*/ 6967773 w 6967809"/>
              <a:gd name="connsiteY2" fmla="*/ 7718661 h 7746918"/>
              <a:gd name="connsiteX3" fmla="*/ 2736170 w 6967809"/>
              <a:gd name="connsiteY3" fmla="*/ 7746918 h 7746918"/>
              <a:gd name="connsiteX4" fmla="*/ 0 w 6967809"/>
              <a:gd name="connsiteY4" fmla="*/ 7622690 h 7746918"/>
              <a:gd name="connsiteX5" fmla="*/ 1323583 w 6967809"/>
              <a:gd name="connsiteY5" fmla="*/ 672 h 7746918"/>
              <a:gd name="connsiteX0" fmla="*/ 1323583 w 6967809"/>
              <a:gd name="connsiteY0" fmla="*/ 672 h 7718661"/>
              <a:gd name="connsiteX1" fmla="*/ 5685020 w 6967809"/>
              <a:gd name="connsiteY1" fmla="*/ 0 h 7718661"/>
              <a:gd name="connsiteX2" fmla="*/ 6967773 w 6967809"/>
              <a:gd name="connsiteY2" fmla="*/ 7718661 h 7718661"/>
              <a:gd name="connsiteX3" fmla="*/ 6704365 w 6967809"/>
              <a:gd name="connsiteY3" fmla="*/ 6672198 h 7718661"/>
              <a:gd name="connsiteX4" fmla="*/ 0 w 6967809"/>
              <a:gd name="connsiteY4" fmla="*/ 7622690 h 7718661"/>
              <a:gd name="connsiteX5" fmla="*/ 1323583 w 6967809"/>
              <a:gd name="connsiteY5" fmla="*/ 672 h 7718661"/>
              <a:gd name="connsiteX0" fmla="*/ 1323583 w 6719805"/>
              <a:gd name="connsiteY0" fmla="*/ 83834 h 7706253"/>
              <a:gd name="connsiteX1" fmla="*/ 5685020 w 6719805"/>
              <a:gd name="connsiteY1" fmla="*/ 83162 h 7706253"/>
              <a:gd name="connsiteX2" fmla="*/ 6719761 w 6719805"/>
              <a:gd name="connsiteY2" fmla="*/ 1403109 h 7706253"/>
              <a:gd name="connsiteX3" fmla="*/ 6704365 w 6719805"/>
              <a:gd name="connsiteY3" fmla="*/ 6755360 h 7706253"/>
              <a:gd name="connsiteX4" fmla="*/ 0 w 6719805"/>
              <a:gd name="connsiteY4" fmla="*/ 7705852 h 7706253"/>
              <a:gd name="connsiteX5" fmla="*/ 1323583 w 6719805"/>
              <a:gd name="connsiteY5" fmla="*/ 83834 h 7706253"/>
              <a:gd name="connsiteX0" fmla="*/ 1323583 w 6719761"/>
              <a:gd name="connsiteY0" fmla="*/ 672 h 7623092"/>
              <a:gd name="connsiteX1" fmla="*/ 5685020 w 6719761"/>
              <a:gd name="connsiteY1" fmla="*/ 0 h 7623092"/>
              <a:gd name="connsiteX2" fmla="*/ 6719761 w 6719761"/>
              <a:gd name="connsiteY2" fmla="*/ 1319947 h 7623092"/>
              <a:gd name="connsiteX3" fmla="*/ 6704365 w 6719761"/>
              <a:gd name="connsiteY3" fmla="*/ 6672198 h 7623092"/>
              <a:gd name="connsiteX4" fmla="*/ 0 w 6719761"/>
              <a:gd name="connsiteY4" fmla="*/ 7622690 h 7623092"/>
              <a:gd name="connsiteX5" fmla="*/ 1323583 w 6719761"/>
              <a:gd name="connsiteY5" fmla="*/ 672 h 7623092"/>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96403"/>
              <a:gd name="connsiteX1" fmla="*/ 5685020 w 6719761"/>
              <a:gd name="connsiteY1" fmla="*/ 0 h 8196403"/>
              <a:gd name="connsiteX2" fmla="*/ 6719761 w 6719761"/>
              <a:gd name="connsiteY2" fmla="*/ 1319947 h 8196403"/>
              <a:gd name="connsiteX3" fmla="*/ 6704365 w 6719761"/>
              <a:gd name="connsiteY3" fmla="*/ 6672198 h 8196403"/>
              <a:gd name="connsiteX4" fmla="*/ 2139330 w 6719761"/>
              <a:gd name="connsiteY4" fmla="*/ 7594960 h 8196403"/>
              <a:gd name="connsiteX5" fmla="*/ 0 w 6719761"/>
              <a:gd name="connsiteY5" fmla="*/ 7622690 h 8196403"/>
              <a:gd name="connsiteX6" fmla="*/ 1323583 w 6719761"/>
              <a:gd name="connsiteY6" fmla="*/ 672 h 8196403"/>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7622689"/>
              <a:gd name="connsiteX1" fmla="*/ 5685020 w 6719761"/>
              <a:gd name="connsiteY1" fmla="*/ 0 h 7622689"/>
              <a:gd name="connsiteX2" fmla="*/ 6719761 w 6719761"/>
              <a:gd name="connsiteY2" fmla="*/ 1319947 h 7622689"/>
              <a:gd name="connsiteX3" fmla="*/ 6704365 w 6719761"/>
              <a:gd name="connsiteY3" fmla="*/ 6672198 h 7622689"/>
              <a:gd name="connsiteX4" fmla="*/ 2139330 w 6719761"/>
              <a:gd name="connsiteY4" fmla="*/ 7594960 h 7622689"/>
              <a:gd name="connsiteX5" fmla="*/ 0 w 6719761"/>
              <a:gd name="connsiteY5" fmla="*/ 7622690 h 7622689"/>
              <a:gd name="connsiteX6" fmla="*/ 1323583 w 6719761"/>
              <a:gd name="connsiteY6" fmla="*/ 672 h 7622689"/>
              <a:gd name="connsiteX0" fmla="*/ 1323583 w 6719761"/>
              <a:gd name="connsiteY0" fmla="*/ 672 h 7622690"/>
              <a:gd name="connsiteX1" fmla="*/ 5685020 w 6719761"/>
              <a:gd name="connsiteY1" fmla="*/ 0 h 7622690"/>
              <a:gd name="connsiteX2" fmla="*/ 6719761 w 6719761"/>
              <a:gd name="connsiteY2" fmla="*/ 1319947 h 7622690"/>
              <a:gd name="connsiteX3" fmla="*/ 6704365 w 6719761"/>
              <a:gd name="connsiteY3" fmla="*/ 6672198 h 7622690"/>
              <a:gd name="connsiteX4" fmla="*/ 2139330 w 6719761"/>
              <a:gd name="connsiteY4" fmla="*/ 7594960 h 7622690"/>
              <a:gd name="connsiteX5" fmla="*/ 0 w 6719761"/>
              <a:gd name="connsiteY5" fmla="*/ 7622690 h 7622690"/>
              <a:gd name="connsiteX6" fmla="*/ 1323583 w 6719761"/>
              <a:gd name="connsiteY6" fmla="*/ 672 h 762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761" h="7622690">
                <a:moveTo>
                  <a:pt x="1323583" y="672"/>
                </a:moveTo>
                <a:lnTo>
                  <a:pt x="5685020" y="0"/>
                </a:lnTo>
                <a:lnTo>
                  <a:pt x="6719761" y="1319947"/>
                </a:lnTo>
                <a:lnTo>
                  <a:pt x="6704365" y="6672198"/>
                </a:lnTo>
                <a:lnTo>
                  <a:pt x="2139330" y="7594960"/>
                </a:lnTo>
                <a:cubicBezTo>
                  <a:pt x="2164402" y="7592716"/>
                  <a:pt x="1126691" y="7616519"/>
                  <a:pt x="0" y="7622690"/>
                </a:cubicBezTo>
                <a:lnTo>
                  <a:pt x="1323583" y="672"/>
                </a:lnTo>
                <a:close/>
              </a:path>
            </a:pathLst>
          </a:custGeom>
        </p:spPr>
        <p:txBody>
          <a:bodyPr/>
          <a:lstStyle/>
          <a:p>
            <a:r>
              <a:rPr lang="fi-FI"/>
              <a:t>Lisää kuva napsauttamalla kuvaketta</a:t>
            </a:r>
            <a:endParaRPr lang="en-FI"/>
          </a:p>
        </p:txBody>
      </p:sp>
      <p:sp>
        <p:nvSpPr>
          <p:cNvPr id="12" name="Title Placeholder 1">
            <a:extLst>
              <a:ext uri="{FF2B5EF4-FFF2-40B4-BE49-F238E27FC236}">
                <a16:creationId xmlns:a16="http://schemas.microsoft.com/office/drawing/2014/main" id="{BBC48ACE-9E4E-C9C3-6C9E-B0B9B7265109}"/>
              </a:ext>
            </a:extLst>
          </p:cNvPr>
          <p:cNvSpPr>
            <a:spLocks noGrp="1"/>
          </p:cNvSpPr>
          <p:nvPr>
            <p:ph type="title"/>
          </p:nvPr>
        </p:nvSpPr>
        <p:spPr>
          <a:xfrm>
            <a:off x="838200" y="604219"/>
            <a:ext cx="5146366" cy="1325563"/>
          </a:xfrm>
          <a:prstGeom prst="rect">
            <a:avLst/>
          </a:prstGeom>
        </p:spPr>
        <p:txBody>
          <a:bodyPr vert="horz" lIns="90000" tIns="45720" rIns="91440" bIns="45720" rtlCol="0" anchor="t" anchorCtr="0">
            <a:noAutofit/>
          </a:bodyPr>
          <a:lstStyle>
            <a:lvl1pPr>
              <a:defRPr sz="4400" b="1">
                <a:solidFill>
                  <a:srgbClr val="152B96"/>
                </a:solidFill>
              </a:defRPr>
            </a:lvl1pPr>
          </a:lstStyle>
          <a:p>
            <a:r>
              <a:rPr lang="fi-FI"/>
              <a:t>Muokkaa ots. perustyyl. napsautt.</a:t>
            </a:r>
            <a:endParaRPr lang="en-FI"/>
          </a:p>
        </p:txBody>
      </p:sp>
      <p:sp>
        <p:nvSpPr>
          <p:cNvPr id="4" name="Päivämäärän paikkamerkki 3">
            <a:extLst>
              <a:ext uri="{FF2B5EF4-FFF2-40B4-BE49-F238E27FC236}">
                <a16:creationId xmlns:a16="http://schemas.microsoft.com/office/drawing/2014/main" id="{BFDF91DF-AC24-810A-D349-F7CCB7ED4136}"/>
              </a:ext>
            </a:extLst>
          </p:cNvPr>
          <p:cNvSpPr>
            <a:spLocks noGrp="1"/>
          </p:cNvSpPr>
          <p:nvPr>
            <p:ph type="dt" sz="half" idx="12"/>
          </p:nvPr>
        </p:nvSpPr>
        <p:spPr/>
        <p:txBody>
          <a:bodyPr/>
          <a:lstStyle/>
          <a:p>
            <a:endParaRPr lang="fi-FI" dirty="0"/>
          </a:p>
        </p:txBody>
      </p:sp>
      <p:sp>
        <p:nvSpPr>
          <p:cNvPr id="5" name="Alatunnisteen paikkamerkki 4">
            <a:extLst>
              <a:ext uri="{FF2B5EF4-FFF2-40B4-BE49-F238E27FC236}">
                <a16:creationId xmlns:a16="http://schemas.microsoft.com/office/drawing/2014/main" id="{877AB7CE-B78A-1D95-8E48-1CB072669112}"/>
              </a:ext>
            </a:extLst>
          </p:cNvPr>
          <p:cNvSpPr>
            <a:spLocks noGrp="1"/>
          </p:cNvSpPr>
          <p:nvPr>
            <p:ph type="ftr" sz="quarter" idx="13"/>
          </p:nvPr>
        </p:nvSpPr>
        <p:spPr/>
        <p:txBody>
          <a:bodyPr/>
          <a:lstStyle/>
          <a:p>
            <a:r>
              <a:rPr lang="fi-FI"/>
              <a:t>7</a:t>
            </a:r>
          </a:p>
        </p:txBody>
      </p:sp>
      <p:sp>
        <p:nvSpPr>
          <p:cNvPr id="6" name="Sisällön paikkamerkki 10">
            <a:extLst>
              <a:ext uri="{FF2B5EF4-FFF2-40B4-BE49-F238E27FC236}">
                <a16:creationId xmlns:a16="http://schemas.microsoft.com/office/drawing/2014/main" id="{8EFA9F72-8659-E833-68A7-5645655F1B2E}"/>
              </a:ext>
            </a:extLst>
          </p:cNvPr>
          <p:cNvSpPr>
            <a:spLocks noGrp="1"/>
          </p:cNvSpPr>
          <p:nvPr>
            <p:ph sz="quarter" idx="14" hasCustomPrompt="1"/>
          </p:nvPr>
        </p:nvSpPr>
        <p:spPr>
          <a:xfrm>
            <a:off x="838200" y="2113935"/>
            <a:ext cx="5146366" cy="4063028"/>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66996192"/>
      </p:ext>
    </p:extLst>
  </p:cSld>
  <p:clrMapOvr>
    <a:masterClrMapping/>
  </p:clrMapOvr>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Kuvapaikka oikea 3">
    <p:bg>
      <p:bgPr>
        <a:solidFill>
          <a:srgbClr val="B8CDFF">
            <a:alpha val="90000"/>
          </a:srgbClr>
        </a:solidFill>
        <a:effectLst/>
      </p:bgPr>
    </p:bg>
    <p:spTree>
      <p:nvGrpSpPr>
        <p:cNvPr id="1" name=""/>
        <p:cNvGrpSpPr/>
        <p:nvPr/>
      </p:nvGrpSpPr>
      <p:grpSpPr>
        <a:xfrm>
          <a:off x="0" y="0"/>
          <a:ext cx="0" cy="0"/>
          <a:chOff x="0" y="0"/>
          <a:chExt cx="0" cy="0"/>
        </a:xfrm>
      </p:grpSpPr>
      <p:sp>
        <p:nvSpPr>
          <p:cNvPr id="5" name="Rectangle 8">
            <a:extLst>
              <a:ext uri="{FF2B5EF4-FFF2-40B4-BE49-F238E27FC236}">
                <a16:creationId xmlns:a16="http://schemas.microsoft.com/office/drawing/2014/main" id="{E6CA5526-CF47-ED60-90C5-0BDF3BD90009}"/>
              </a:ext>
            </a:extLst>
          </p:cNvPr>
          <p:cNvSpPr/>
          <p:nvPr/>
        </p:nvSpPr>
        <p:spPr>
          <a:xfrm>
            <a:off x="6531430" y="-57358"/>
            <a:ext cx="5849020" cy="7137425"/>
          </a:xfrm>
          <a:custGeom>
            <a:avLst/>
            <a:gdLst>
              <a:gd name="connsiteX0" fmla="*/ 0 w 6295292"/>
              <a:gd name="connsiteY0" fmla="*/ 0 h 6588857"/>
              <a:gd name="connsiteX1" fmla="*/ 6295292 w 6295292"/>
              <a:gd name="connsiteY1" fmla="*/ 0 h 6588857"/>
              <a:gd name="connsiteX2" fmla="*/ 6295292 w 6295292"/>
              <a:gd name="connsiteY2" fmla="*/ 6588857 h 6588857"/>
              <a:gd name="connsiteX3" fmla="*/ 0 w 6295292"/>
              <a:gd name="connsiteY3" fmla="*/ 6588857 h 6588857"/>
              <a:gd name="connsiteX4" fmla="*/ 0 w 6295292"/>
              <a:gd name="connsiteY4" fmla="*/ 0 h 6588857"/>
              <a:gd name="connsiteX0" fmla="*/ 0 w 6295292"/>
              <a:gd name="connsiteY0" fmla="*/ 0 h 6588857"/>
              <a:gd name="connsiteX1" fmla="*/ 6295292 w 6295292"/>
              <a:gd name="connsiteY1" fmla="*/ 0 h 6588857"/>
              <a:gd name="connsiteX2" fmla="*/ 6295292 w 6295292"/>
              <a:gd name="connsiteY2" fmla="*/ 6588857 h 6588857"/>
              <a:gd name="connsiteX3" fmla="*/ 35169 w 6295292"/>
              <a:gd name="connsiteY3" fmla="*/ 5064857 h 6588857"/>
              <a:gd name="connsiteX4" fmla="*/ 0 w 6295292"/>
              <a:gd name="connsiteY4" fmla="*/ 0 h 6588857"/>
              <a:gd name="connsiteX0" fmla="*/ 246185 w 6260123"/>
              <a:gd name="connsiteY0" fmla="*/ 1148861 h 6588857"/>
              <a:gd name="connsiteX1" fmla="*/ 6260123 w 6260123"/>
              <a:gd name="connsiteY1" fmla="*/ 0 h 6588857"/>
              <a:gd name="connsiteX2" fmla="*/ 6260123 w 6260123"/>
              <a:gd name="connsiteY2" fmla="*/ 6588857 h 6588857"/>
              <a:gd name="connsiteX3" fmla="*/ 0 w 6260123"/>
              <a:gd name="connsiteY3" fmla="*/ 5064857 h 6588857"/>
              <a:gd name="connsiteX4" fmla="*/ 246185 w 6260123"/>
              <a:gd name="connsiteY4"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0 w 6353907"/>
              <a:gd name="connsiteY3" fmla="*/ 4924180 h 6588857"/>
              <a:gd name="connsiteX4" fmla="*/ 339969 w 6353907"/>
              <a:gd name="connsiteY4" fmla="*/ 1148861 h 6588857"/>
              <a:gd name="connsiteX0" fmla="*/ 339969 w 6353907"/>
              <a:gd name="connsiteY0" fmla="*/ 1148861 h 6713770"/>
              <a:gd name="connsiteX1" fmla="*/ 6353907 w 6353907"/>
              <a:gd name="connsiteY1" fmla="*/ 0 h 6713770"/>
              <a:gd name="connsiteX2" fmla="*/ 6353907 w 6353907"/>
              <a:gd name="connsiteY2" fmla="*/ 6588857 h 6713770"/>
              <a:gd name="connsiteX3" fmla="*/ 1078523 w 6353907"/>
              <a:gd name="connsiteY3" fmla="*/ 6571273 h 6713770"/>
              <a:gd name="connsiteX4" fmla="*/ 0 w 6353907"/>
              <a:gd name="connsiteY4" fmla="*/ 4924180 h 6713770"/>
              <a:gd name="connsiteX5" fmla="*/ 339969 w 6353907"/>
              <a:gd name="connsiteY5" fmla="*/ 1148861 h 6713770"/>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492369 w 6353907"/>
              <a:gd name="connsiteY0" fmla="*/ 410307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492369 w 6353907"/>
              <a:gd name="connsiteY5" fmla="*/ 410307 h 6588857"/>
              <a:gd name="connsiteX0" fmla="*/ 398585 w 6260123"/>
              <a:gd name="connsiteY0" fmla="*/ 410307 h 6588857"/>
              <a:gd name="connsiteX1" fmla="*/ 6260123 w 6260123"/>
              <a:gd name="connsiteY1" fmla="*/ 0 h 6588857"/>
              <a:gd name="connsiteX2" fmla="*/ 6260123 w 6260123"/>
              <a:gd name="connsiteY2" fmla="*/ 6588857 h 6588857"/>
              <a:gd name="connsiteX3" fmla="*/ 984739 w 6260123"/>
              <a:gd name="connsiteY3" fmla="*/ 6571273 h 6588857"/>
              <a:gd name="connsiteX4" fmla="*/ 0 w 6260123"/>
              <a:gd name="connsiteY4" fmla="*/ 4982796 h 6588857"/>
              <a:gd name="connsiteX5" fmla="*/ 398585 w 6260123"/>
              <a:gd name="connsiteY5" fmla="*/ 410307 h 6588857"/>
              <a:gd name="connsiteX0" fmla="*/ 398585 w 6260123"/>
              <a:gd name="connsiteY0" fmla="*/ 410307 h 6594719"/>
              <a:gd name="connsiteX1" fmla="*/ 6260123 w 6260123"/>
              <a:gd name="connsiteY1" fmla="*/ 0 h 6594719"/>
              <a:gd name="connsiteX2" fmla="*/ 6260123 w 6260123"/>
              <a:gd name="connsiteY2" fmla="*/ 6588857 h 6594719"/>
              <a:gd name="connsiteX3" fmla="*/ 1137139 w 6260123"/>
              <a:gd name="connsiteY3" fmla="*/ 6594719 h 6594719"/>
              <a:gd name="connsiteX4" fmla="*/ 0 w 6260123"/>
              <a:gd name="connsiteY4" fmla="*/ 4982796 h 6594719"/>
              <a:gd name="connsiteX5" fmla="*/ 398585 w 6260123"/>
              <a:gd name="connsiteY5" fmla="*/ 410307 h 6594719"/>
              <a:gd name="connsiteX0" fmla="*/ 167107 w 6028645"/>
              <a:gd name="connsiteY0" fmla="*/ 410307 h 6801552"/>
              <a:gd name="connsiteX1" fmla="*/ 6028645 w 6028645"/>
              <a:gd name="connsiteY1" fmla="*/ 0 h 6801552"/>
              <a:gd name="connsiteX2" fmla="*/ 6028645 w 6028645"/>
              <a:gd name="connsiteY2" fmla="*/ 6588857 h 6801552"/>
              <a:gd name="connsiteX3" fmla="*/ 905661 w 6028645"/>
              <a:gd name="connsiteY3" fmla="*/ 6594719 h 6801552"/>
              <a:gd name="connsiteX4" fmla="*/ 0 w 6028645"/>
              <a:gd name="connsiteY4" fmla="*/ 6801552 h 6801552"/>
              <a:gd name="connsiteX5" fmla="*/ 167107 w 6028645"/>
              <a:gd name="connsiteY5" fmla="*/ 410307 h 6801552"/>
              <a:gd name="connsiteX0" fmla="*/ 167107 w 6028645"/>
              <a:gd name="connsiteY0" fmla="*/ 410307 h 6801552"/>
              <a:gd name="connsiteX1" fmla="*/ 6028645 w 6028645"/>
              <a:gd name="connsiteY1" fmla="*/ 0 h 6801552"/>
              <a:gd name="connsiteX2" fmla="*/ 6028645 w 6028645"/>
              <a:gd name="connsiteY2" fmla="*/ 6588857 h 6801552"/>
              <a:gd name="connsiteX3" fmla="*/ 3402317 w 6028645"/>
              <a:gd name="connsiteY3" fmla="*/ 6264036 h 6801552"/>
              <a:gd name="connsiteX4" fmla="*/ 0 w 6028645"/>
              <a:gd name="connsiteY4" fmla="*/ 6801552 h 6801552"/>
              <a:gd name="connsiteX5" fmla="*/ 167107 w 6028645"/>
              <a:gd name="connsiteY5" fmla="*/ 410307 h 6801552"/>
              <a:gd name="connsiteX0" fmla="*/ 167107 w 6028645"/>
              <a:gd name="connsiteY0" fmla="*/ 410307 h 7239551"/>
              <a:gd name="connsiteX1" fmla="*/ 6028645 w 6028645"/>
              <a:gd name="connsiteY1" fmla="*/ 0 h 7239551"/>
              <a:gd name="connsiteX2" fmla="*/ 6028645 w 6028645"/>
              <a:gd name="connsiteY2" fmla="*/ 6588857 h 7239551"/>
              <a:gd name="connsiteX3" fmla="*/ 1765437 w 6028645"/>
              <a:gd name="connsiteY3" fmla="*/ 7239551 h 7239551"/>
              <a:gd name="connsiteX4" fmla="*/ 0 w 6028645"/>
              <a:gd name="connsiteY4" fmla="*/ 6801552 h 7239551"/>
              <a:gd name="connsiteX5" fmla="*/ 167107 w 6028645"/>
              <a:gd name="connsiteY5" fmla="*/ 410307 h 7239551"/>
              <a:gd name="connsiteX0" fmla="*/ 167107 w 6028645"/>
              <a:gd name="connsiteY0" fmla="*/ 410307 h 7239551"/>
              <a:gd name="connsiteX1" fmla="*/ 6028645 w 6028645"/>
              <a:gd name="connsiteY1" fmla="*/ 0 h 7239551"/>
              <a:gd name="connsiteX2" fmla="*/ 6012111 w 6028645"/>
              <a:gd name="connsiteY2" fmla="*/ 7167553 h 7239551"/>
              <a:gd name="connsiteX3" fmla="*/ 1765437 w 6028645"/>
              <a:gd name="connsiteY3" fmla="*/ 7239551 h 7239551"/>
              <a:gd name="connsiteX4" fmla="*/ 0 w 6028645"/>
              <a:gd name="connsiteY4" fmla="*/ 6801552 h 7239551"/>
              <a:gd name="connsiteX5" fmla="*/ 167107 w 6028645"/>
              <a:gd name="connsiteY5" fmla="*/ 410307 h 7239551"/>
              <a:gd name="connsiteX0" fmla="*/ 0 w 6291427"/>
              <a:gd name="connsiteY0" fmla="*/ 0 h 7738622"/>
              <a:gd name="connsiteX1" fmla="*/ 6291427 w 6291427"/>
              <a:gd name="connsiteY1" fmla="*/ 499071 h 7738622"/>
              <a:gd name="connsiteX2" fmla="*/ 6274893 w 6291427"/>
              <a:gd name="connsiteY2" fmla="*/ 7666624 h 7738622"/>
              <a:gd name="connsiteX3" fmla="*/ 2028219 w 6291427"/>
              <a:gd name="connsiteY3" fmla="*/ 7738622 h 7738622"/>
              <a:gd name="connsiteX4" fmla="*/ 262782 w 6291427"/>
              <a:gd name="connsiteY4" fmla="*/ 7300623 h 7738622"/>
              <a:gd name="connsiteX5" fmla="*/ 0 w 6291427"/>
              <a:gd name="connsiteY5" fmla="*/ 0 h 7738622"/>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62782 w 6275019"/>
              <a:gd name="connsiteY4" fmla="*/ 7314110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428754 w 6275019"/>
              <a:gd name="connsiteY4" fmla="*/ 6933826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0 w 6275019"/>
              <a:gd name="connsiteY4" fmla="*/ 13487 h 7752109"/>
              <a:gd name="connsiteX0" fmla="*/ 0 w 6275019"/>
              <a:gd name="connsiteY0" fmla="*/ 13487 h 7680111"/>
              <a:gd name="connsiteX1" fmla="*/ 6109551 w 6275019"/>
              <a:gd name="connsiteY1" fmla="*/ 0 h 7680111"/>
              <a:gd name="connsiteX2" fmla="*/ 6274893 w 6275019"/>
              <a:gd name="connsiteY2" fmla="*/ 7680111 h 7680111"/>
              <a:gd name="connsiteX3" fmla="*/ 1780207 w 6275019"/>
              <a:gd name="connsiteY3" fmla="*/ 7669438 h 7680111"/>
              <a:gd name="connsiteX4" fmla="*/ 0 w 6275019"/>
              <a:gd name="connsiteY4" fmla="*/ 13487 h 768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5019" h="7680111">
                <a:moveTo>
                  <a:pt x="0" y="13487"/>
                </a:moveTo>
                <a:lnTo>
                  <a:pt x="6109551" y="0"/>
                </a:lnTo>
                <a:cubicBezTo>
                  <a:pt x="6104040" y="2389184"/>
                  <a:pt x="6280404" y="5290927"/>
                  <a:pt x="6274893" y="7680111"/>
                </a:cubicBezTo>
                <a:lnTo>
                  <a:pt x="1780207" y="7669438"/>
                </a:lnTo>
                <a:lnTo>
                  <a:pt x="0" y="13487"/>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9" name="Rectangle 8">
            <a:extLst>
              <a:ext uri="{FF2B5EF4-FFF2-40B4-BE49-F238E27FC236}">
                <a16:creationId xmlns:a16="http://schemas.microsoft.com/office/drawing/2014/main" id="{5E1D0E87-623B-5D50-D50D-E438031EC66E}"/>
              </a:ext>
            </a:extLst>
          </p:cNvPr>
          <p:cNvSpPr/>
          <p:nvPr/>
        </p:nvSpPr>
        <p:spPr>
          <a:xfrm>
            <a:off x="6531430" y="-57358"/>
            <a:ext cx="5849020" cy="7137425"/>
          </a:xfrm>
          <a:custGeom>
            <a:avLst/>
            <a:gdLst>
              <a:gd name="connsiteX0" fmla="*/ 0 w 6295292"/>
              <a:gd name="connsiteY0" fmla="*/ 0 h 6588857"/>
              <a:gd name="connsiteX1" fmla="*/ 6295292 w 6295292"/>
              <a:gd name="connsiteY1" fmla="*/ 0 h 6588857"/>
              <a:gd name="connsiteX2" fmla="*/ 6295292 w 6295292"/>
              <a:gd name="connsiteY2" fmla="*/ 6588857 h 6588857"/>
              <a:gd name="connsiteX3" fmla="*/ 0 w 6295292"/>
              <a:gd name="connsiteY3" fmla="*/ 6588857 h 6588857"/>
              <a:gd name="connsiteX4" fmla="*/ 0 w 6295292"/>
              <a:gd name="connsiteY4" fmla="*/ 0 h 6588857"/>
              <a:gd name="connsiteX0" fmla="*/ 0 w 6295292"/>
              <a:gd name="connsiteY0" fmla="*/ 0 h 6588857"/>
              <a:gd name="connsiteX1" fmla="*/ 6295292 w 6295292"/>
              <a:gd name="connsiteY1" fmla="*/ 0 h 6588857"/>
              <a:gd name="connsiteX2" fmla="*/ 6295292 w 6295292"/>
              <a:gd name="connsiteY2" fmla="*/ 6588857 h 6588857"/>
              <a:gd name="connsiteX3" fmla="*/ 35169 w 6295292"/>
              <a:gd name="connsiteY3" fmla="*/ 5064857 h 6588857"/>
              <a:gd name="connsiteX4" fmla="*/ 0 w 6295292"/>
              <a:gd name="connsiteY4" fmla="*/ 0 h 6588857"/>
              <a:gd name="connsiteX0" fmla="*/ 246185 w 6260123"/>
              <a:gd name="connsiteY0" fmla="*/ 1148861 h 6588857"/>
              <a:gd name="connsiteX1" fmla="*/ 6260123 w 6260123"/>
              <a:gd name="connsiteY1" fmla="*/ 0 h 6588857"/>
              <a:gd name="connsiteX2" fmla="*/ 6260123 w 6260123"/>
              <a:gd name="connsiteY2" fmla="*/ 6588857 h 6588857"/>
              <a:gd name="connsiteX3" fmla="*/ 0 w 6260123"/>
              <a:gd name="connsiteY3" fmla="*/ 5064857 h 6588857"/>
              <a:gd name="connsiteX4" fmla="*/ 246185 w 6260123"/>
              <a:gd name="connsiteY4"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0 w 6353907"/>
              <a:gd name="connsiteY3" fmla="*/ 4924180 h 6588857"/>
              <a:gd name="connsiteX4" fmla="*/ 339969 w 6353907"/>
              <a:gd name="connsiteY4" fmla="*/ 1148861 h 6588857"/>
              <a:gd name="connsiteX0" fmla="*/ 339969 w 6353907"/>
              <a:gd name="connsiteY0" fmla="*/ 1148861 h 6713770"/>
              <a:gd name="connsiteX1" fmla="*/ 6353907 w 6353907"/>
              <a:gd name="connsiteY1" fmla="*/ 0 h 6713770"/>
              <a:gd name="connsiteX2" fmla="*/ 6353907 w 6353907"/>
              <a:gd name="connsiteY2" fmla="*/ 6588857 h 6713770"/>
              <a:gd name="connsiteX3" fmla="*/ 1078523 w 6353907"/>
              <a:gd name="connsiteY3" fmla="*/ 6571273 h 6713770"/>
              <a:gd name="connsiteX4" fmla="*/ 0 w 6353907"/>
              <a:gd name="connsiteY4" fmla="*/ 4924180 h 6713770"/>
              <a:gd name="connsiteX5" fmla="*/ 339969 w 6353907"/>
              <a:gd name="connsiteY5" fmla="*/ 1148861 h 6713770"/>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492369 w 6353907"/>
              <a:gd name="connsiteY0" fmla="*/ 410307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492369 w 6353907"/>
              <a:gd name="connsiteY5" fmla="*/ 410307 h 6588857"/>
              <a:gd name="connsiteX0" fmla="*/ 398585 w 6260123"/>
              <a:gd name="connsiteY0" fmla="*/ 410307 h 6588857"/>
              <a:gd name="connsiteX1" fmla="*/ 6260123 w 6260123"/>
              <a:gd name="connsiteY1" fmla="*/ 0 h 6588857"/>
              <a:gd name="connsiteX2" fmla="*/ 6260123 w 6260123"/>
              <a:gd name="connsiteY2" fmla="*/ 6588857 h 6588857"/>
              <a:gd name="connsiteX3" fmla="*/ 984739 w 6260123"/>
              <a:gd name="connsiteY3" fmla="*/ 6571273 h 6588857"/>
              <a:gd name="connsiteX4" fmla="*/ 0 w 6260123"/>
              <a:gd name="connsiteY4" fmla="*/ 4982796 h 6588857"/>
              <a:gd name="connsiteX5" fmla="*/ 398585 w 6260123"/>
              <a:gd name="connsiteY5" fmla="*/ 410307 h 6588857"/>
              <a:gd name="connsiteX0" fmla="*/ 398585 w 6260123"/>
              <a:gd name="connsiteY0" fmla="*/ 410307 h 6594719"/>
              <a:gd name="connsiteX1" fmla="*/ 6260123 w 6260123"/>
              <a:gd name="connsiteY1" fmla="*/ 0 h 6594719"/>
              <a:gd name="connsiteX2" fmla="*/ 6260123 w 6260123"/>
              <a:gd name="connsiteY2" fmla="*/ 6588857 h 6594719"/>
              <a:gd name="connsiteX3" fmla="*/ 1137139 w 6260123"/>
              <a:gd name="connsiteY3" fmla="*/ 6594719 h 6594719"/>
              <a:gd name="connsiteX4" fmla="*/ 0 w 6260123"/>
              <a:gd name="connsiteY4" fmla="*/ 4982796 h 6594719"/>
              <a:gd name="connsiteX5" fmla="*/ 398585 w 6260123"/>
              <a:gd name="connsiteY5" fmla="*/ 410307 h 6594719"/>
              <a:gd name="connsiteX0" fmla="*/ 167107 w 6028645"/>
              <a:gd name="connsiteY0" fmla="*/ 410307 h 6801552"/>
              <a:gd name="connsiteX1" fmla="*/ 6028645 w 6028645"/>
              <a:gd name="connsiteY1" fmla="*/ 0 h 6801552"/>
              <a:gd name="connsiteX2" fmla="*/ 6028645 w 6028645"/>
              <a:gd name="connsiteY2" fmla="*/ 6588857 h 6801552"/>
              <a:gd name="connsiteX3" fmla="*/ 905661 w 6028645"/>
              <a:gd name="connsiteY3" fmla="*/ 6594719 h 6801552"/>
              <a:gd name="connsiteX4" fmla="*/ 0 w 6028645"/>
              <a:gd name="connsiteY4" fmla="*/ 6801552 h 6801552"/>
              <a:gd name="connsiteX5" fmla="*/ 167107 w 6028645"/>
              <a:gd name="connsiteY5" fmla="*/ 410307 h 6801552"/>
              <a:gd name="connsiteX0" fmla="*/ 167107 w 6028645"/>
              <a:gd name="connsiteY0" fmla="*/ 410307 h 6801552"/>
              <a:gd name="connsiteX1" fmla="*/ 6028645 w 6028645"/>
              <a:gd name="connsiteY1" fmla="*/ 0 h 6801552"/>
              <a:gd name="connsiteX2" fmla="*/ 6028645 w 6028645"/>
              <a:gd name="connsiteY2" fmla="*/ 6588857 h 6801552"/>
              <a:gd name="connsiteX3" fmla="*/ 3402317 w 6028645"/>
              <a:gd name="connsiteY3" fmla="*/ 6264036 h 6801552"/>
              <a:gd name="connsiteX4" fmla="*/ 0 w 6028645"/>
              <a:gd name="connsiteY4" fmla="*/ 6801552 h 6801552"/>
              <a:gd name="connsiteX5" fmla="*/ 167107 w 6028645"/>
              <a:gd name="connsiteY5" fmla="*/ 410307 h 6801552"/>
              <a:gd name="connsiteX0" fmla="*/ 167107 w 6028645"/>
              <a:gd name="connsiteY0" fmla="*/ 410307 h 7239551"/>
              <a:gd name="connsiteX1" fmla="*/ 6028645 w 6028645"/>
              <a:gd name="connsiteY1" fmla="*/ 0 h 7239551"/>
              <a:gd name="connsiteX2" fmla="*/ 6028645 w 6028645"/>
              <a:gd name="connsiteY2" fmla="*/ 6588857 h 7239551"/>
              <a:gd name="connsiteX3" fmla="*/ 1765437 w 6028645"/>
              <a:gd name="connsiteY3" fmla="*/ 7239551 h 7239551"/>
              <a:gd name="connsiteX4" fmla="*/ 0 w 6028645"/>
              <a:gd name="connsiteY4" fmla="*/ 6801552 h 7239551"/>
              <a:gd name="connsiteX5" fmla="*/ 167107 w 6028645"/>
              <a:gd name="connsiteY5" fmla="*/ 410307 h 7239551"/>
              <a:gd name="connsiteX0" fmla="*/ 167107 w 6028645"/>
              <a:gd name="connsiteY0" fmla="*/ 410307 h 7239551"/>
              <a:gd name="connsiteX1" fmla="*/ 6028645 w 6028645"/>
              <a:gd name="connsiteY1" fmla="*/ 0 h 7239551"/>
              <a:gd name="connsiteX2" fmla="*/ 6012111 w 6028645"/>
              <a:gd name="connsiteY2" fmla="*/ 7167553 h 7239551"/>
              <a:gd name="connsiteX3" fmla="*/ 1765437 w 6028645"/>
              <a:gd name="connsiteY3" fmla="*/ 7239551 h 7239551"/>
              <a:gd name="connsiteX4" fmla="*/ 0 w 6028645"/>
              <a:gd name="connsiteY4" fmla="*/ 6801552 h 7239551"/>
              <a:gd name="connsiteX5" fmla="*/ 167107 w 6028645"/>
              <a:gd name="connsiteY5" fmla="*/ 410307 h 7239551"/>
              <a:gd name="connsiteX0" fmla="*/ 0 w 6291427"/>
              <a:gd name="connsiteY0" fmla="*/ 0 h 7738622"/>
              <a:gd name="connsiteX1" fmla="*/ 6291427 w 6291427"/>
              <a:gd name="connsiteY1" fmla="*/ 499071 h 7738622"/>
              <a:gd name="connsiteX2" fmla="*/ 6274893 w 6291427"/>
              <a:gd name="connsiteY2" fmla="*/ 7666624 h 7738622"/>
              <a:gd name="connsiteX3" fmla="*/ 2028219 w 6291427"/>
              <a:gd name="connsiteY3" fmla="*/ 7738622 h 7738622"/>
              <a:gd name="connsiteX4" fmla="*/ 262782 w 6291427"/>
              <a:gd name="connsiteY4" fmla="*/ 7300623 h 7738622"/>
              <a:gd name="connsiteX5" fmla="*/ 0 w 6291427"/>
              <a:gd name="connsiteY5" fmla="*/ 0 h 7738622"/>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62782 w 6275019"/>
              <a:gd name="connsiteY4" fmla="*/ 7314110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428754 w 6275019"/>
              <a:gd name="connsiteY4" fmla="*/ 6933826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0 w 6275019"/>
              <a:gd name="connsiteY4" fmla="*/ 13487 h 7752109"/>
              <a:gd name="connsiteX0" fmla="*/ 0 w 6275019"/>
              <a:gd name="connsiteY0" fmla="*/ 13487 h 7680111"/>
              <a:gd name="connsiteX1" fmla="*/ 6109551 w 6275019"/>
              <a:gd name="connsiteY1" fmla="*/ 0 h 7680111"/>
              <a:gd name="connsiteX2" fmla="*/ 6274893 w 6275019"/>
              <a:gd name="connsiteY2" fmla="*/ 7680111 h 7680111"/>
              <a:gd name="connsiteX3" fmla="*/ 1780207 w 6275019"/>
              <a:gd name="connsiteY3" fmla="*/ 7669438 h 7680111"/>
              <a:gd name="connsiteX4" fmla="*/ 0 w 6275019"/>
              <a:gd name="connsiteY4" fmla="*/ 13487 h 768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5019" h="7680111">
                <a:moveTo>
                  <a:pt x="0" y="13487"/>
                </a:moveTo>
                <a:lnTo>
                  <a:pt x="6109551" y="0"/>
                </a:lnTo>
                <a:cubicBezTo>
                  <a:pt x="6104040" y="2389184"/>
                  <a:pt x="6280404" y="5290927"/>
                  <a:pt x="6274893" y="7680111"/>
                </a:cubicBezTo>
                <a:lnTo>
                  <a:pt x="1780207" y="7669438"/>
                </a:lnTo>
                <a:lnTo>
                  <a:pt x="0" y="13487"/>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8" name="Picture Placeholder 7">
            <a:extLst>
              <a:ext uri="{FF2B5EF4-FFF2-40B4-BE49-F238E27FC236}">
                <a16:creationId xmlns:a16="http://schemas.microsoft.com/office/drawing/2014/main" id="{FAE12E07-70C4-0DBB-251E-EDA6D5378E3E}"/>
              </a:ext>
            </a:extLst>
          </p:cNvPr>
          <p:cNvSpPr>
            <a:spLocks noGrp="1"/>
          </p:cNvSpPr>
          <p:nvPr>
            <p:ph type="pic" sz="quarter" idx="10"/>
          </p:nvPr>
        </p:nvSpPr>
        <p:spPr>
          <a:xfrm>
            <a:off x="6096000" y="-15594"/>
            <a:ext cx="6173016" cy="7036880"/>
          </a:xfrm>
          <a:custGeom>
            <a:avLst/>
            <a:gdLst>
              <a:gd name="connsiteX0" fmla="*/ 0 w 5919787"/>
              <a:gd name="connsiteY0" fmla="*/ 0 h 5264150"/>
              <a:gd name="connsiteX1" fmla="*/ 5919787 w 5919787"/>
              <a:gd name="connsiteY1" fmla="*/ 0 h 5264150"/>
              <a:gd name="connsiteX2" fmla="*/ 5919787 w 5919787"/>
              <a:gd name="connsiteY2" fmla="*/ 5264150 h 5264150"/>
              <a:gd name="connsiteX3" fmla="*/ 0 w 5919787"/>
              <a:gd name="connsiteY3" fmla="*/ 5264150 h 5264150"/>
              <a:gd name="connsiteX4" fmla="*/ 0 w 5919787"/>
              <a:gd name="connsiteY4" fmla="*/ 0 h 5264150"/>
              <a:gd name="connsiteX0" fmla="*/ 363416 w 5919787"/>
              <a:gd name="connsiteY0" fmla="*/ 0 h 5779965"/>
              <a:gd name="connsiteX1" fmla="*/ 5919787 w 5919787"/>
              <a:gd name="connsiteY1" fmla="*/ 515815 h 5779965"/>
              <a:gd name="connsiteX2" fmla="*/ 5919787 w 5919787"/>
              <a:gd name="connsiteY2" fmla="*/ 5779965 h 5779965"/>
              <a:gd name="connsiteX3" fmla="*/ 0 w 5919787"/>
              <a:gd name="connsiteY3" fmla="*/ 5779965 h 5779965"/>
              <a:gd name="connsiteX4" fmla="*/ 363416 w 5919787"/>
              <a:gd name="connsiteY4" fmla="*/ 0 h 5779965"/>
              <a:gd name="connsiteX0" fmla="*/ 1630290 w 7186661"/>
              <a:gd name="connsiteY0" fmla="*/ 0 h 5779965"/>
              <a:gd name="connsiteX1" fmla="*/ 7186661 w 7186661"/>
              <a:gd name="connsiteY1" fmla="*/ 515815 h 5779965"/>
              <a:gd name="connsiteX2" fmla="*/ 7186661 w 7186661"/>
              <a:gd name="connsiteY2" fmla="*/ 5779965 h 5779965"/>
              <a:gd name="connsiteX3" fmla="*/ 1266874 w 7186661"/>
              <a:gd name="connsiteY3" fmla="*/ 5779965 h 5779965"/>
              <a:gd name="connsiteX4" fmla="*/ 415 w 7186661"/>
              <a:gd name="connsiteY4" fmla="*/ 2403720 h 5779965"/>
              <a:gd name="connsiteX5" fmla="*/ 1630290 w 7186661"/>
              <a:gd name="connsiteY5" fmla="*/ 0 h 5779965"/>
              <a:gd name="connsiteX0" fmla="*/ 1629875 w 7186246"/>
              <a:gd name="connsiteY0" fmla="*/ 0 h 5779965"/>
              <a:gd name="connsiteX1" fmla="*/ 7186246 w 7186246"/>
              <a:gd name="connsiteY1" fmla="*/ 515815 h 5779965"/>
              <a:gd name="connsiteX2" fmla="*/ 7186246 w 7186246"/>
              <a:gd name="connsiteY2" fmla="*/ 5779965 h 5779965"/>
              <a:gd name="connsiteX3" fmla="*/ 1266459 w 7186246"/>
              <a:gd name="connsiteY3" fmla="*/ 5779965 h 5779965"/>
              <a:gd name="connsiteX4" fmla="*/ 0 w 7186246"/>
              <a:gd name="connsiteY4" fmla="*/ 2403720 h 5779965"/>
              <a:gd name="connsiteX5" fmla="*/ 1629875 w 7186246"/>
              <a:gd name="connsiteY5" fmla="*/ 0 h 5779965"/>
              <a:gd name="connsiteX0" fmla="*/ 1629875 w 7186246"/>
              <a:gd name="connsiteY0" fmla="*/ 0 h 5780086"/>
              <a:gd name="connsiteX1" fmla="*/ 7186246 w 7186246"/>
              <a:gd name="connsiteY1" fmla="*/ 515815 h 5780086"/>
              <a:gd name="connsiteX2" fmla="*/ 7186246 w 7186246"/>
              <a:gd name="connsiteY2" fmla="*/ 5779965 h 5780086"/>
              <a:gd name="connsiteX3" fmla="*/ 1266459 w 7186246"/>
              <a:gd name="connsiteY3" fmla="*/ 5779965 h 5780086"/>
              <a:gd name="connsiteX4" fmla="*/ 0 w 7186246"/>
              <a:gd name="connsiteY4" fmla="*/ 2403720 h 5780086"/>
              <a:gd name="connsiteX5" fmla="*/ 1629875 w 7186246"/>
              <a:gd name="connsiteY5" fmla="*/ 0 h 5780086"/>
              <a:gd name="connsiteX0" fmla="*/ 1782275 w 7186246"/>
              <a:gd name="connsiteY0" fmla="*/ 0 h 6131778"/>
              <a:gd name="connsiteX1" fmla="*/ 7186246 w 7186246"/>
              <a:gd name="connsiteY1" fmla="*/ 867507 h 6131778"/>
              <a:gd name="connsiteX2" fmla="*/ 7186246 w 7186246"/>
              <a:gd name="connsiteY2" fmla="*/ 6131657 h 6131778"/>
              <a:gd name="connsiteX3" fmla="*/ 1266459 w 7186246"/>
              <a:gd name="connsiteY3" fmla="*/ 6131657 h 6131778"/>
              <a:gd name="connsiteX4" fmla="*/ 0 w 7186246"/>
              <a:gd name="connsiteY4" fmla="*/ 2755412 h 6131778"/>
              <a:gd name="connsiteX5" fmla="*/ 1782275 w 7186246"/>
              <a:gd name="connsiteY5" fmla="*/ 0 h 6131778"/>
              <a:gd name="connsiteX0" fmla="*/ 1782275 w 7186246"/>
              <a:gd name="connsiteY0" fmla="*/ 0 h 6143501"/>
              <a:gd name="connsiteX1" fmla="*/ 7186246 w 7186246"/>
              <a:gd name="connsiteY1" fmla="*/ 867507 h 6143501"/>
              <a:gd name="connsiteX2" fmla="*/ 7186246 w 7186246"/>
              <a:gd name="connsiteY2" fmla="*/ 6131657 h 6143501"/>
              <a:gd name="connsiteX3" fmla="*/ 2309813 w 7186246"/>
              <a:gd name="connsiteY3" fmla="*/ 6143380 h 6143501"/>
              <a:gd name="connsiteX4" fmla="*/ 0 w 7186246"/>
              <a:gd name="connsiteY4" fmla="*/ 2755412 h 6143501"/>
              <a:gd name="connsiteX5" fmla="*/ 1782275 w 7186246"/>
              <a:gd name="connsiteY5" fmla="*/ 0 h 6143501"/>
              <a:gd name="connsiteX0" fmla="*/ 985106 w 6389077"/>
              <a:gd name="connsiteY0" fmla="*/ 0 h 6143553"/>
              <a:gd name="connsiteX1" fmla="*/ 6389077 w 6389077"/>
              <a:gd name="connsiteY1" fmla="*/ 867507 h 6143553"/>
              <a:gd name="connsiteX2" fmla="*/ 6389077 w 6389077"/>
              <a:gd name="connsiteY2" fmla="*/ 6131657 h 6143553"/>
              <a:gd name="connsiteX3" fmla="*/ 1512644 w 6389077"/>
              <a:gd name="connsiteY3" fmla="*/ 6143380 h 6143553"/>
              <a:gd name="connsiteX4" fmla="*/ 0 w 6389077"/>
              <a:gd name="connsiteY4" fmla="*/ 3787042 h 6143553"/>
              <a:gd name="connsiteX5" fmla="*/ 985106 w 6389077"/>
              <a:gd name="connsiteY5" fmla="*/ 0 h 6143553"/>
              <a:gd name="connsiteX0" fmla="*/ 1207844 w 6389077"/>
              <a:gd name="connsiteY0" fmla="*/ 0 h 6589030"/>
              <a:gd name="connsiteX1" fmla="*/ 6389077 w 6389077"/>
              <a:gd name="connsiteY1" fmla="*/ 1312984 h 6589030"/>
              <a:gd name="connsiteX2" fmla="*/ 6389077 w 6389077"/>
              <a:gd name="connsiteY2" fmla="*/ 6577134 h 6589030"/>
              <a:gd name="connsiteX3" fmla="*/ 1512644 w 6389077"/>
              <a:gd name="connsiteY3" fmla="*/ 6588857 h 6589030"/>
              <a:gd name="connsiteX4" fmla="*/ 0 w 6389077"/>
              <a:gd name="connsiteY4" fmla="*/ 4232519 h 6589030"/>
              <a:gd name="connsiteX5" fmla="*/ 1207844 w 6389077"/>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8857"/>
              <a:gd name="connsiteX1" fmla="*/ 6412523 w 6412523"/>
              <a:gd name="connsiteY1" fmla="*/ 726831 h 6588857"/>
              <a:gd name="connsiteX2" fmla="*/ 6389077 w 6412523"/>
              <a:gd name="connsiteY2" fmla="*/ 6577134 h 6588857"/>
              <a:gd name="connsiteX3" fmla="*/ 1512644 w 6412523"/>
              <a:gd name="connsiteY3" fmla="*/ 6588857 h 6588857"/>
              <a:gd name="connsiteX4" fmla="*/ 0 w 6412523"/>
              <a:gd name="connsiteY4" fmla="*/ 4232519 h 6588857"/>
              <a:gd name="connsiteX5" fmla="*/ 1207844 w 6412523"/>
              <a:gd name="connsiteY5" fmla="*/ 0 h 6588857"/>
              <a:gd name="connsiteX0" fmla="*/ 1207844 w 6412523"/>
              <a:gd name="connsiteY0" fmla="*/ 0 h 7200620"/>
              <a:gd name="connsiteX1" fmla="*/ 6412523 w 6412523"/>
              <a:gd name="connsiteY1" fmla="*/ 726831 h 7200620"/>
              <a:gd name="connsiteX2" fmla="*/ 6389077 w 6412523"/>
              <a:gd name="connsiteY2" fmla="*/ 6577134 h 7200620"/>
              <a:gd name="connsiteX3" fmla="*/ 2157475 w 6412523"/>
              <a:gd name="connsiteY3" fmla="*/ 7200620 h 7200620"/>
              <a:gd name="connsiteX4" fmla="*/ 0 w 6412523"/>
              <a:gd name="connsiteY4" fmla="*/ 4232519 h 7200620"/>
              <a:gd name="connsiteX5" fmla="*/ 1207844 w 6412523"/>
              <a:gd name="connsiteY5" fmla="*/ 0 h 7200620"/>
              <a:gd name="connsiteX0" fmla="*/ 1207844 w 6412523"/>
              <a:gd name="connsiteY0" fmla="*/ 0 h 7200620"/>
              <a:gd name="connsiteX1" fmla="*/ 6412523 w 6412523"/>
              <a:gd name="connsiteY1" fmla="*/ 726831 h 7200620"/>
              <a:gd name="connsiteX2" fmla="*/ 6389078 w 6412523"/>
              <a:gd name="connsiteY2" fmla="*/ 7172363 h 7200620"/>
              <a:gd name="connsiteX3" fmla="*/ 2157475 w 6412523"/>
              <a:gd name="connsiteY3" fmla="*/ 7200620 h 7200620"/>
              <a:gd name="connsiteX4" fmla="*/ 0 w 6412523"/>
              <a:gd name="connsiteY4" fmla="*/ 4232519 h 7200620"/>
              <a:gd name="connsiteX5" fmla="*/ 1207844 w 6412523"/>
              <a:gd name="connsiteY5" fmla="*/ 0 h 7200620"/>
              <a:gd name="connsiteX0" fmla="*/ 744888 w 6412523"/>
              <a:gd name="connsiteY0" fmla="*/ 0 h 7746246"/>
              <a:gd name="connsiteX1" fmla="*/ 6412523 w 6412523"/>
              <a:gd name="connsiteY1" fmla="*/ 1272457 h 7746246"/>
              <a:gd name="connsiteX2" fmla="*/ 6389078 w 6412523"/>
              <a:gd name="connsiteY2" fmla="*/ 7717989 h 7746246"/>
              <a:gd name="connsiteX3" fmla="*/ 2157475 w 6412523"/>
              <a:gd name="connsiteY3" fmla="*/ 7746246 h 7746246"/>
              <a:gd name="connsiteX4" fmla="*/ 0 w 6412523"/>
              <a:gd name="connsiteY4" fmla="*/ 4778145 h 7746246"/>
              <a:gd name="connsiteX5" fmla="*/ 744888 w 6412523"/>
              <a:gd name="connsiteY5" fmla="*/ 0 h 7746246"/>
              <a:gd name="connsiteX0" fmla="*/ 744888 w 6389113"/>
              <a:gd name="connsiteY0" fmla="*/ 672 h 7746918"/>
              <a:gd name="connsiteX1" fmla="*/ 5106325 w 6389113"/>
              <a:gd name="connsiteY1" fmla="*/ 0 h 7746918"/>
              <a:gd name="connsiteX2" fmla="*/ 6389078 w 6389113"/>
              <a:gd name="connsiteY2" fmla="*/ 7718661 h 7746918"/>
              <a:gd name="connsiteX3" fmla="*/ 2157475 w 6389113"/>
              <a:gd name="connsiteY3" fmla="*/ 7746918 h 7746918"/>
              <a:gd name="connsiteX4" fmla="*/ 0 w 6389113"/>
              <a:gd name="connsiteY4" fmla="*/ 4778817 h 7746918"/>
              <a:gd name="connsiteX5" fmla="*/ 744888 w 6389113"/>
              <a:gd name="connsiteY5" fmla="*/ 672 h 7746918"/>
              <a:gd name="connsiteX0" fmla="*/ 744888 w 6389114"/>
              <a:gd name="connsiteY0" fmla="*/ 672 h 7746918"/>
              <a:gd name="connsiteX1" fmla="*/ 5106325 w 6389114"/>
              <a:gd name="connsiteY1" fmla="*/ 0 h 7746918"/>
              <a:gd name="connsiteX2" fmla="*/ 6389078 w 6389114"/>
              <a:gd name="connsiteY2" fmla="*/ 7718661 h 7746918"/>
              <a:gd name="connsiteX3" fmla="*/ 2157475 w 6389114"/>
              <a:gd name="connsiteY3" fmla="*/ 7746918 h 7746918"/>
              <a:gd name="connsiteX4" fmla="*/ 0 w 6389114"/>
              <a:gd name="connsiteY4" fmla="*/ 4778817 h 7746918"/>
              <a:gd name="connsiteX5" fmla="*/ 744888 w 6389114"/>
              <a:gd name="connsiteY5" fmla="*/ 672 h 7746918"/>
              <a:gd name="connsiteX0" fmla="*/ 1323583 w 6967809"/>
              <a:gd name="connsiteY0" fmla="*/ 672 h 7746918"/>
              <a:gd name="connsiteX1" fmla="*/ 5685020 w 6967809"/>
              <a:gd name="connsiteY1" fmla="*/ 0 h 7746918"/>
              <a:gd name="connsiteX2" fmla="*/ 6967773 w 6967809"/>
              <a:gd name="connsiteY2" fmla="*/ 7718661 h 7746918"/>
              <a:gd name="connsiteX3" fmla="*/ 2736170 w 6967809"/>
              <a:gd name="connsiteY3" fmla="*/ 7746918 h 7746918"/>
              <a:gd name="connsiteX4" fmla="*/ 0 w 6967809"/>
              <a:gd name="connsiteY4" fmla="*/ 7622690 h 7746918"/>
              <a:gd name="connsiteX5" fmla="*/ 1323583 w 6967809"/>
              <a:gd name="connsiteY5" fmla="*/ 672 h 7746918"/>
              <a:gd name="connsiteX0" fmla="*/ 1323583 w 6967809"/>
              <a:gd name="connsiteY0" fmla="*/ 672 h 7718661"/>
              <a:gd name="connsiteX1" fmla="*/ 5685020 w 6967809"/>
              <a:gd name="connsiteY1" fmla="*/ 0 h 7718661"/>
              <a:gd name="connsiteX2" fmla="*/ 6967773 w 6967809"/>
              <a:gd name="connsiteY2" fmla="*/ 7718661 h 7718661"/>
              <a:gd name="connsiteX3" fmla="*/ 6704365 w 6967809"/>
              <a:gd name="connsiteY3" fmla="*/ 6672198 h 7718661"/>
              <a:gd name="connsiteX4" fmla="*/ 0 w 6967809"/>
              <a:gd name="connsiteY4" fmla="*/ 7622690 h 7718661"/>
              <a:gd name="connsiteX5" fmla="*/ 1323583 w 6967809"/>
              <a:gd name="connsiteY5" fmla="*/ 672 h 7718661"/>
              <a:gd name="connsiteX0" fmla="*/ 1323583 w 6719805"/>
              <a:gd name="connsiteY0" fmla="*/ 83834 h 7706253"/>
              <a:gd name="connsiteX1" fmla="*/ 5685020 w 6719805"/>
              <a:gd name="connsiteY1" fmla="*/ 83162 h 7706253"/>
              <a:gd name="connsiteX2" fmla="*/ 6719761 w 6719805"/>
              <a:gd name="connsiteY2" fmla="*/ 1403109 h 7706253"/>
              <a:gd name="connsiteX3" fmla="*/ 6704365 w 6719805"/>
              <a:gd name="connsiteY3" fmla="*/ 6755360 h 7706253"/>
              <a:gd name="connsiteX4" fmla="*/ 0 w 6719805"/>
              <a:gd name="connsiteY4" fmla="*/ 7705852 h 7706253"/>
              <a:gd name="connsiteX5" fmla="*/ 1323583 w 6719805"/>
              <a:gd name="connsiteY5" fmla="*/ 83834 h 7706253"/>
              <a:gd name="connsiteX0" fmla="*/ 1323583 w 6719761"/>
              <a:gd name="connsiteY0" fmla="*/ 672 h 7623092"/>
              <a:gd name="connsiteX1" fmla="*/ 5685020 w 6719761"/>
              <a:gd name="connsiteY1" fmla="*/ 0 h 7623092"/>
              <a:gd name="connsiteX2" fmla="*/ 6719761 w 6719761"/>
              <a:gd name="connsiteY2" fmla="*/ 1319947 h 7623092"/>
              <a:gd name="connsiteX3" fmla="*/ 6704365 w 6719761"/>
              <a:gd name="connsiteY3" fmla="*/ 6672198 h 7623092"/>
              <a:gd name="connsiteX4" fmla="*/ 0 w 6719761"/>
              <a:gd name="connsiteY4" fmla="*/ 7622690 h 7623092"/>
              <a:gd name="connsiteX5" fmla="*/ 1323583 w 6719761"/>
              <a:gd name="connsiteY5" fmla="*/ 672 h 7623092"/>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96403"/>
              <a:gd name="connsiteX1" fmla="*/ 5685020 w 6719761"/>
              <a:gd name="connsiteY1" fmla="*/ 0 h 8196403"/>
              <a:gd name="connsiteX2" fmla="*/ 6719761 w 6719761"/>
              <a:gd name="connsiteY2" fmla="*/ 1319947 h 8196403"/>
              <a:gd name="connsiteX3" fmla="*/ 6704365 w 6719761"/>
              <a:gd name="connsiteY3" fmla="*/ 6672198 h 8196403"/>
              <a:gd name="connsiteX4" fmla="*/ 2139330 w 6719761"/>
              <a:gd name="connsiteY4" fmla="*/ 7594960 h 8196403"/>
              <a:gd name="connsiteX5" fmla="*/ 0 w 6719761"/>
              <a:gd name="connsiteY5" fmla="*/ 7622690 h 8196403"/>
              <a:gd name="connsiteX6" fmla="*/ 1323583 w 6719761"/>
              <a:gd name="connsiteY6" fmla="*/ 672 h 8196403"/>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7622689"/>
              <a:gd name="connsiteX1" fmla="*/ 5685020 w 6719761"/>
              <a:gd name="connsiteY1" fmla="*/ 0 h 7622689"/>
              <a:gd name="connsiteX2" fmla="*/ 6719761 w 6719761"/>
              <a:gd name="connsiteY2" fmla="*/ 1319947 h 7622689"/>
              <a:gd name="connsiteX3" fmla="*/ 6704365 w 6719761"/>
              <a:gd name="connsiteY3" fmla="*/ 6672198 h 7622689"/>
              <a:gd name="connsiteX4" fmla="*/ 2139330 w 6719761"/>
              <a:gd name="connsiteY4" fmla="*/ 7594960 h 7622689"/>
              <a:gd name="connsiteX5" fmla="*/ 0 w 6719761"/>
              <a:gd name="connsiteY5" fmla="*/ 7622690 h 7622689"/>
              <a:gd name="connsiteX6" fmla="*/ 1323583 w 6719761"/>
              <a:gd name="connsiteY6" fmla="*/ 672 h 7622689"/>
              <a:gd name="connsiteX0" fmla="*/ 1323583 w 6719761"/>
              <a:gd name="connsiteY0" fmla="*/ 672 h 7622690"/>
              <a:gd name="connsiteX1" fmla="*/ 5685020 w 6719761"/>
              <a:gd name="connsiteY1" fmla="*/ 0 h 7622690"/>
              <a:gd name="connsiteX2" fmla="*/ 6719761 w 6719761"/>
              <a:gd name="connsiteY2" fmla="*/ 1319947 h 7622690"/>
              <a:gd name="connsiteX3" fmla="*/ 6704365 w 6719761"/>
              <a:gd name="connsiteY3" fmla="*/ 6672198 h 7622690"/>
              <a:gd name="connsiteX4" fmla="*/ 2139330 w 6719761"/>
              <a:gd name="connsiteY4" fmla="*/ 7594960 h 7622690"/>
              <a:gd name="connsiteX5" fmla="*/ 0 w 6719761"/>
              <a:gd name="connsiteY5" fmla="*/ 7622690 h 7622690"/>
              <a:gd name="connsiteX6" fmla="*/ 1323583 w 6719761"/>
              <a:gd name="connsiteY6" fmla="*/ 672 h 762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761" h="7622690">
                <a:moveTo>
                  <a:pt x="1323583" y="672"/>
                </a:moveTo>
                <a:lnTo>
                  <a:pt x="5685020" y="0"/>
                </a:lnTo>
                <a:lnTo>
                  <a:pt x="6719761" y="1319947"/>
                </a:lnTo>
                <a:lnTo>
                  <a:pt x="6704365" y="6672198"/>
                </a:lnTo>
                <a:lnTo>
                  <a:pt x="2139330" y="7594960"/>
                </a:lnTo>
                <a:cubicBezTo>
                  <a:pt x="2164402" y="7592716"/>
                  <a:pt x="1126691" y="7616519"/>
                  <a:pt x="0" y="7622690"/>
                </a:cubicBezTo>
                <a:lnTo>
                  <a:pt x="1323583" y="672"/>
                </a:lnTo>
                <a:close/>
              </a:path>
            </a:pathLst>
          </a:custGeom>
        </p:spPr>
        <p:txBody>
          <a:bodyPr/>
          <a:lstStyle/>
          <a:p>
            <a:r>
              <a:rPr lang="fi-FI"/>
              <a:t>Lisää kuva napsauttamalla kuvaketta</a:t>
            </a:r>
            <a:endParaRPr lang="en-FI"/>
          </a:p>
        </p:txBody>
      </p:sp>
      <p:sp>
        <p:nvSpPr>
          <p:cNvPr id="12" name="Title Placeholder 1">
            <a:extLst>
              <a:ext uri="{FF2B5EF4-FFF2-40B4-BE49-F238E27FC236}">
                <a16:creationId xmlns:a16="http://schemas.microsoft.com/office/drawing/2014/main" id="{BBC48ACE-9E4E-C9C3-6C9E-B0B9B7265109}"/>
              </a:ext>
            </a:extLst>
          </p:cNvPr>
          <p:cNvSpPr>
            <a:spLocks noGrp="1"/>
          </p:cNvSpPr>
          <p:nvPr>
            <p:ph type="title"/>
          </p:nvPr>
        </p:nvSpPr>
        <p:spPr>
          <a:xfrm>
            <a:off x="838200" y="604219"/>
            <a:ext cx="5146366" cy="1325563"/>
          </a:xfrm>
          <a:prstGeom prst="rect">
            <a:avLst/>
          </a:prstGeom>
        </p:spPr>
        <p:txBody>
          <a:bodyPr vert="horz" lIns="90000" tIns="45720" rIns="91440" bIns="45720" rtlCol="0" anchor="t" anchorCtr="0">
            <a:noAutofit/>
          </a:bodyPr>
          <a:lstStyle>
            <a:lvl1pPr>
              <a:defRPr sz="4400" b="1">
                <a:solidFill>
                  <a:srgbClr val="152B96"/>
                </a:solidFill>
              </a:defRPr>
            </a:lvl1pPr>
          </a:lstStyle>
          <a:p>
            <a:r>
              <a:rPr lang="fi-FI"/>
              <a:t>Muokkaa ots. perustyyl. napsautt.</a:t>
            </a:r>
            <a:endParaRPr lang="en-FI"/>
          </a:p>
        </p:txBody>
      </p:sp>
      <p:sp>
        <p:nvSpPr>
          <p:cNvPr id="3" name="Päivämäärän paikkamerkki 2">
            <a:extLst>
              <a:ext uri="{FF2B5EF4-FFF2-40B4-BE49-F238E27FC236}">
                <a16:creationId xmlns:a16="http://schemas.microsoft.com/office/drawing/2014/main" id="{BA1E6262-0E2E-AB34-C3A7-FB402E9134A2}"/>
              </a:ext>
            </a:extLst>
          </p:cNvPr>
          <p:cNvSpPr>
            <a:spLocks noGrp="1"/>
          </p:cNvSpPr>
          <p:nvPr>
            <p:ph type="dt" sz="half" idx="12"/>
          </p:nvPr>
        </p:nvSpPr>
        <p:spPr/>
        <p:txBody>
          <a:bodyPr/>
          <a:lstStyle/>
          <a:p>
            <a:endParaRPr lang="fi-FI" dirty="0"/>
          </a:p>
        </p:txBody>
      </p:sp>
      <p:sp>
        <p:nvSpPr>
          <p:cNvPr id="4" name="Alatunnisteen paikkamerkki 3">
            <a:extLst>
              <a:ext uri="{FF2B5EF4-FFF2-40B4-BE49-F238E27FC236}">
                <a16:creationId xmlns:a16="http://schemas.microsoft.com/office/drawing/2014/main" id="{00D5DA0C-38A4-8099-750A-1F751525CA37}"/>
              </a:ext>
            </a:extLst>
          </p:cNvPr>
          <p:cNvSpPr>
            <a:spLocks noGrp="1"/>
          </p:cNvSpPr>
          <p:nvPr>
            <p:ph type="ftr" sz="quarter" idx="13"/>
          </p:nvPr>
        </p:nvSpPr>
        <p:spPr/>
        <p:txBody>
          <a:bodyPr/>
          <a:lstStyle/>
          <a:p>
            <a:r>
              <a:rPr lang="fi-FI"/>
              <a:t>7</a:t>
            </a:r>
          </a:p>
        </p:txBody>
      </p:sp>
      <p:sp>
        <p:nvSpPr>
          <p:cNvPr id="6" name="Sisällön paikkamerkki 10">
            <a:extLst>
              <a:ext uri="{FF2B5EF4-FFF2-40B4-BE49-F238E27FC236}">
                <a16:creationId xmlns:a16="http://schemas.microsoft.com/office/drawing/2014/main" id="{BE7B79FD-E28D-4AA7-31FB-62F08FFABC26}"/>
              </a:ext>
            </a:extLst>
          </p:cNvPr>
          <p:cNvSpPr>
            <a:spLocks noGrp="1"/>
          </p:cNvSpPr>
          <p:nvPr>
            <p:ph sz="quarter" idx="14" hasCustomPrompt="1"/>
          </p:nvPr>
        </p:nvSpPr>
        <p:spPr>
          <a:xfrm>
            <a:off x="838200" y="2113935"/>
            <a:ext cx="5146366" cy="4063028"/>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3439999896"/>
      </p:ext>
    </p:extLst>
  </p:cSld>
  <p:clrMapOvr>
    <a:masterClrMapping/>
  </p:clrMapOvr>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Kuvapaikka oikea 4">
    <p:bg>
      <p:bgPr>
        <a:solidFill>
          <a:schemeClr val="bg1"/>
        </a:solidFill>
        <a:effectLst/>
      </p:bgPr>
    </p:bg>
    <p:spTree>
      <p:nvGrpSpPr>
        <p:cNvPr id="1" name=""/>
        <p:cNvGrpSpPr/>
        <p:nvPr/>
      </p:nvGrpSpPr>
      <p:grpSpPr>
        <a:xfrm>
          <a:off x="0" y="0"/>
          <a:ext cx="0" cy="0"/>
          <a:chOff x="0" y="0"/>
          <a:chExt cx="0" cy="0"/>
        </a:xfrm>
      </p:grpSpPr>
      <p:sp>
        <p:nvSpPr>
          <p:cNvPr id="6" name="Puolivapaa piirto 1">
            <a:extLst>
              <a:ext uri="{FF2B5EF4-FFF2-40B4-BE49-F238E27FC236}">
                <a16:creationId xmlns:a16="http://schemas.microsoft.com/office/drawing/2014/main" id="{3BFBAF24-5F00-C778-8EF4-9688FF5C912E}"/>
              </a:ext>
            </a:extLst>
          </p:cNvPr>
          <p:cNvSpPr/>
          <p:nvPr/>
        </p:nvSpPr>
        <p:spPr>
          <a:xfrm rot="17013118">
            <a:off x="5096646" y="-193695"/>
            <a:ext cx="6524666" cy="5474305"/>
          </a:xfrm>
          <a:custGeom>
            <a:avLst/>
            <a:gdLst>
              <a:gd name="connsiteX0" fmla="*/ 6385809 w 6385809"/>
              <a:gd name="connsiteY0" fmla="*/ 4706911 h 4871803"/>
              <a:gd name="connsiteX1" fmla="*/ 4572000 w 6385809"/>
              <a:gd name="connsiteY1" fmla="*/ 0 h 4871803"/>
              <a:gd name="connsiteX2" fmla="*/ 14990 w 6385809"/>
              <a:gd name="connsiteY2" fmla="*/ 3552669 h 4871803"/>
              <a:gd name="connsiteX3" fmla="*/ 0 w 6385809"/>
              <a:gd name="connsiteY3" fmla="*/ 4871803 h 4871803"/>
              <a:gd name="connsiteX4" fmla="*/ 6385809 w 6385809"/>
              <a:gd name="connsiteY4" fmla="*/ 4706911 h 4871803"/>
              <a:gd name="connsiteX0" fmla="*/ 6385809 w 6385809"/>
              <a:gd name="connsiteY0" fmla="*/ 4168582 h 4333474"/>
              <a:gd name="connsiteX1" fmla="*/ 4127000 w 6385809"/>
              <a:gd name="connsiteY1" fmla="*/ 0 h 4333474"/>
              <a:gd name="connsiteX2" fmla="*/ 14990 w 6385809"/>
              <a:gd name="connsiteY2" fmla="*/ 3014340 h 4333474"/>
              <a:gd name="connsiteX3" fmla="*/ 0 w 6385809"/>
              <a:gd name="connsiteY3" fmla="*/ 4333474 h 4333474"/>
              <a:gd name="connsiteX4" fmla="*/ 6385809 w 6385809"/>
              <a:gd name="connsiteY4" fmla="*/ 4168582 h 4333474"/>
              <a:gd name="connsiteX0" fmla="*/ 5164942 w 5164942"/>
              <a:gd name="connsiteY0" fmla="*/ 4306106 h 4333474"/>
              <a:gd name="connsiteX1" fmla="*/ 4127000 w 5164942"/>
              <a:gd name="connsiteY1" fmla="*/ 0 h 4333474"/>
              <a:gd name="connsiteX2" fmla="*/ 14990 w 5164942"/>
              <a:gd name="connsiteY2" fmla="*/ 3014340 h 4333474"/>
              <a:gd name="connsiteX3" fmla="*/ 0 w 5164942"/>
              <a:gd name="connsiteY3" fmla="*/ 4333474 h 4333474"/>
              <a:gd name="connsiteX4" fmla="*/ 5164942 w 5164942"/>
              <a:gd name="connsiteY4" fmla="*/ 4306106 h 4333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4942" h="4333474">
                <a:moveTo>
                  <a:pt x="5164942" y="4306106"/>
                </a:moveTo>
                <a:lnTo>
                  <a:pt x="4127000" y="0"/>
                </a:lnTo>
                <a:lnTo>
                  <a:pt x="14990" y="3014340"/>
                </a:lnTo>
                <a:lnTo>
                  <a:pt x="0" y="4333474"/>
                </a:lnTo>
                <a:lnTo>
                  <a:pt x="5164942" y="4306106"/>
                </a:lnTo>
                <a:close/>
              </a:path>
            </a:pathLst>
          </a:custGeom>
          <a:solidFill>
            <a:srgbClr val="B8CD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8">
            <a:extLst>
              <a:ext uri="{FF2B5EF4-FFF2-40B4-BE49-F238E27FC236}">
                <a16:creationId xmlns:a16="http://schemas.microsoft.com/office/drawing/2014/main" id="{FB8684D6-9EA6-6C12-F4EB-5C06E5759A49}"/>
              </a:ext>
            </a:extLst>
          </p:cNvPr>
          <p:cNvSpPr/>
          <p:nvPr/>
        </p:nvSpPr>
        <p:spPr>
          <a:xfrm>
            <a:off x="6531430" y="-57358"/>
            <a:ext cx="5849020" cy="7137425"/>
          </a:xfrm>
          <a:custGeom>
            <a:avLst/>
            <a:gdLst>
              <a:gd name="connsiteX0" fmla="*/ 0 w 6295292"/>
              <a:gd name="connsiteY0" fmla="*/ 0 h 6588857"/>
              <a:gd name="connsiteX1" fmla="*/ 6295292 w 6295292"/>
              <a:gd name="connsiteY1" fmla="*/ 0 h 6588857"/>
              <a:gd name="connsiteX2" fmla="*/ 6295292 w 6295292"/>
              <a:gd name="connsiteY2" fmla="*/ 6588857 h 6588857"/>
              <a:gd name="connsiteX3" fmla="*/ 0 w 6295292"/>
              <a:gd name="connsiteY3" fmla="*/ 6588857 h 6588857"/>
              <a:gd name="connsiteX4" fmla="*/ 0 w 6295292"/>
              <a:gd name="connsiteY4" fmla="*/ 0 h 6588857"/>
              <a:gd name="connsiteX0" fmla="*/ 0 w 6295292"/>
              <a:gd name="connsiteY0" fmla="*/ 0 h 6588857"/>
              <a:gd name="connsiteX1" fmla="*/ 6295292 w 6295292"/>
              <a:gd name="connsiteY1" fmla="*/ 0 h 6588857"/>
              <a:gd name="connsiteX2" fmla="*/ 6295292 w 6295292"/>
              <a:gd name="connsiteY2" fmla="*/ 6588857 h 6588857"/>
              <a:gd name="connsiteX3" fmla="*/ 35169 w 6295292"/>
              <a:gd name="connsiteY3" fmla="*/ 5064857 h 6588857"/>
              <a:gd name="connsiteX4" fmla="*/ 0 w 6295292"/>
              <a:gd name="connsiteY4" fmla="*/ 0 h 6588857"/>
              <a:gd name="connsiteX0" fmla="*/ 246185 w 6260123"/>
              <a:gd name="connsiteY0" fmla="*/ 1148861 h 6588857"/>
              <a:gd name="connsiteX1" fmla="*/ 6260123 w 6260123"/>
              <a:gd name="connsiteY1" fmla="*/ 0 h 6588857"/>
              <a:gd name="connsiteX2" fmla="*/ 6260123 w 6260123"/>
              <a:gd name="connsiteY2" fmla="*/ 6588857 h 6588857"/>
              <a:gd name="connsiteX3" fmla="*/ 0 w 6260123"/>
              <a:gd name="connsiteY3" fmla="*/ 5064857 h 6588857"/>
              <a:gd name="connsiteX4" fmla="*/ 246185 w 6260123"/>
              <a:gd name="connsiteY4"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0 w 6353907"/>
              <a:gd name="connsiteY3" fmla="*/ 4924180 h 6588857"/>
              <a:gd name="connsiteX4" fmla="*/ 339969 w 6353907"/>
              <a:gd name="connsiteY4" fmla="*/ 1148861 h 6588857"/>
              <a:gd name="connsiteX0" fmla="*/ 339969 w 6353907"/>
              <a:gd name="connsiteY0" fmla="*/ 1148861 h 6713770"/>
              <a:gd name="connsiteX1" fmla="*/ 6353907 w 6353907"/>
              <a:gd name="connsiteY1" fmla="*/ 0 h 6713770"/>
              <a:gd name="connsiteX2" fmla="*/ 6353907 w 6353907"/>
              <a:gd name="connsiteY2" fmla="*/ 6588857 h 6713770"/>
              <a:gd name="connsiteX3" fmla="*/ 1078523 w 6353907"/>
              <a:gd name="connsiteY3" fmla="*/ 6571273 h 6713770"/>
              <a:gd name="connsiteX4" fmla="*/ 0 w 6353907"/>
              <a:gd name="connsiteY4" fmla="*/ 4924180 h 6713770"/>
              <a:gd name="connsiteX5" fmla="*/ 339969 w 6353907"/>
              <a:gd name="connsiteY5" fmla="*/ 1148861 h 6713770"/>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492369 w 6353907"/>
              <a:gd name="connsiteY0" fmla="*/ 410307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492369 w 6353907"/>
              <a:gd name="connsiteY5" fmla="*/ 410307 h 6588857"/>
              <a:gd name="connsiteX0" fmla="*/ 398585 w 6260123"/>
              <a:gd name="connsiteY0" fmla="*/ 410307 h 6588857"/>
              <a:gd name="connsiteX1" fmla="*/ 6260123 w 6260123"/>
              <a:gd name="connsiteY1" fmla="*/ 0 h 6588857"/>
              <a:gd name="connsiteX2" fmla="*/ 6260123 w 6260123"/>
              <a:gd name="connsiteY2" fmla="*/ 6588857 h 6588857"/>
              <a:gd name="connsiteX3" fmla="*/ 984739 w 6260123"/>
              <a:gd name="connsiteY3" fmla="*/ 6571273 h 6588857"/>
              <a:gd name="connsiteX4" fmla="*/ 0 w 6260123"/>
              <a:gd name="connsiteY4" fmla="*/ 4982796 h 6588857"/>
              <a:gd name="connsiteX5" fmla="*/ 398585 w 6260123"/>
              <a:gd name="connsiteY5" fmla="*/ 410307 h 6588857"/>
              <a:gd name="connsiteX0" fmla="*/ 398585 w 6260123"/>
              <a:gd name="connsiteY0" fmla="*/ 410307 h 6594719"/>
              <a:gd name="connsiteX1" fmla="*/ 6260123 w 6260123"/>
              <a:gd name="connsiteY1" fmla="*/ 0 h 6594719"/>
              <a:gd name="connsiteX2" fmla="*/ 6260123 w 6260123"/>
              <a:gd name="connsiteY2" fmla="*/ 6588857 h 6594719"/>
              <a:gd name="connsiteX3" fmla="*/ 1137139 w 6260123"/>
              <a:gd name="connsiteY3" fmla="*/ 6594719 h 6594719"/>
              <a:gd name="connsiteX4" fmla="*/ 0 w 6260123"/>
              <a:gd name="connsiteY4" fmla="*/ 4982796 h 6594719"/>
              <a:gd name="connsiteX5" fmla="*/ 398585 w 6260123"/>
              <a:gd name="connsiteY5" fmla="*/ 410307 h 6594719"/>
              <a:gd name="connsiteX0" fmla="*/ 167107 w 6028645"/>
              <a:gd name="connsiteY0" fmla="*/ 410307 h 6801552"/>
              <a:gd name="connsiteX1" fmla="*/ 6028645 w 6028645"/>
              <a:gd name="connsiteY1" fmla="*/ 0 h 6801552"/>
              <a:gd name="connsiteX2" fmla="*/ 6028645 w 6028645"/>
              <a:gd name="connsiteY2" fmla="*/ 6588857 h 6801552"/>
              <a:gd name="connsiteX3" fmla="*/ 905661 w 6028645"/>
              <a:gd name="connsiteY3" fmla="*/ 6594719 h 6801552"/>
              <a:gd name="connsiteX4" fmla="*/ 0 w 6028645"/>
              <a:gd name="connsiteY4" fmla="*/ 6801552 h 6801552"/>
              <a:gd name="connsiteX5" fmla="*/ 167107 w 6028645"/>
              <a:gd name="connsiteY5" fmla="*/ 410307 h 6801552"/>
              <a:gd name="connsiteX0" fmla="*/ 167107 w 6028645"/>
              <a:gd name="connsiteY0" fmla="*/ 410307 h 6801552"/>
              <a:gd name="connsiteX1" fmla="*/ 6028645 w 6028645"/>
              <a:gd name="connsiteY1" fmla="*/ 0 h 6801552"/>
              <a:gd name="connsiteX2" fmla="*/ 6028645 w 6028645"/>
              <a:gd name="connsiteY2" fmla="*/ 6588857 h 6801552"/>
              <a:gd name="connsiteX3" fmla="*/ 3402317 w 6028645"/>
              <a:gd name="connsiteY3" fmla="*/ 6264036 h 6801552"/>
              <a:gd name="connsiteX4" fmla="*/ 0 w 6028645"/>
              <a:gd name="connsiteY4" fmla="*/ 6801552 h 6801552"/>
              <a:gd name="connsiteX5" fmla="*/ 167107 w 6028645"/>
              <a:gd name="connsiteY5" fmla="*/ 410307 h 6801552"/>
              <a:gd name="connsiteX0" fmla="*/ 167107 w 6028645"/>
              <a:gd name="connsiteY0" fmla="*/ 410307 h 7239551"/>
              <a:gd name="connsiteX1" fmla="*/ 6028645 w 6028645"/>
              <a:gd name="connsiteY1" fmla="*/ 0 h 7239551"/>
              <a:gd name="connsiteX2" fmla="*/ 6028645 w 6028645"/>
              <a:gd name="connsiteY2" fmla="*/ 6588857 h 7239551"/>
              <a:gd name="connsiteX3" fmla="*/ 1765437 w 6028645"/>
              <a:gd name="connsiteY3" fmla="*/ 7239551 h 7239551"/>
              <a:gd name="connsiteX4" fmla="*/ 0 w 6028645"/>
              <a:gd name="connsiteY4" fmla="*/ 6801552 h 7239551"/>
              <a:gd name="connsiteX5" fmla="*/ 167107 w 6028645"/>
              <a:gd name="connsiteY5" fmla="*/ 410307 h 7239551"/>
              <a:gd name="connsiteX0" fmla="*/ 167107 w 6028645"/>
              <a:gd name="connsiteY0" fmla="*/ 410307 h 7239551"/>
              <a:gd name="connsiteX1" fmla="*/ 6028645 w 6028645"/>
              <a:gd name="connsiteY1" fmla="*/ 0 h 7239551"/>
              <a:gd name="connsiteX2" fmla="*/ 6012111 w 6028645"/>
              <a:gd name="connsiteY2" fmla="*/ 7167553 h 7239551"/>
              <a:gd name="connsiteX3" fmla="*/ 1765437 w 6028645"/>
              <a:gd name="connsiteY3" fmla="*/ 7239551 h 7239551"/>
              <a:gd name="connsiteX4" fmla="*/ 0 w 6028645"/>
              <a:gd name="connsiteY4" fmla="*/ 6801552 h 7239551"/>
              <a:gd name="connsiteX5" fmla="*/ 167107 w 6028645"/>
              <a:gd name="connsiteY5" fmla="*/ 410307 h 7239551"/>
              <a:gd name="connsiteX0" fmla="*/ 0 w 6291427"/>
              <a:gd name="connsiteY0" fmla="*/ 0 h 7738622"/>
              <a:gd name="connsiteX1" fmla="*/ 6291427 w 6291427"/>
              <a:gd name="connsiteY1" fmla="*/ 499071 h 7738622"/>
              <a:gd name="connsiteX2" fmla="*/ 6274893 w 6291427"/>
              <a:gd name="connsiteY2" fmla="*/ 7666624 h 7738622"/>
              <a:gd name="connsiteX3" fmla="*/ 2028219 w 6291427"/>
              <a:gd name="connsiteY3" fmla="*/ 7738622 h 7738622"/>
              <a:gd name="connsiteX4" fmla="*/ 262782 w 6291427"/>
              <a:gd name="connsiteY4" fmla="*/ 7300623 h 7738622"/>
              <a:gd name="connsiteX5" fmla="*/ 0 w 6291427"/>
              <a:gd name="connsiteY5" fmla="*/ 0 h 7738622"/>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62782 w 6275019"/>
              <a:gd name="connsiteY4" fmla="*/ 7314110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428754 w 6275019"/>
              <a:gd name="connsiteY4" fmla="*/ 6933826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0 w 6275019"/>
              <a:gd name="connsiteY4" fmla="*/ 13487 h 7752109"/>
              <a:gd name="connsiteX0" fmla="*/ 0 w 6275019"/>
              <a:gd name="connsiteY0" fmla="*/ 13487 h 7680111"/>
              <a:gd name="connsiteX1" fmla="*/ 6109551 w 6275019"/>
              <a:gd name="connsiteY1" fmla="*/ 0 h 7680111"/>
              <a:gd name="connsiteX2" fmla="*/ 6274893 w 6275019"/>
              <a:gd name="connsiteY2" fmla="*/ 7680111 h 7680111"/>
              <a:gd name="connsiteX3" fmla="*/ 1780207 w 6275019"/>
              <a:gd name="connsiteY3" fmla="*/ 7669438 h 7680111"/>
              <a:gd name="connsiteX4" fmla="*/ 0 w 6275019"/>
              <a:gd name="connsiteY4" fmla="*/ 13487 h 768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5019" h="7680111">
                <a:moveTo>
                  <a:pt x="0" y="13487"/>
                </a:moveTo>
                <a:lnTo>
                  <a:pt x="6109551" y="0"/>
                </a:lnTo>
                <a:cubicBezTo>
                  <a:pt x="6104040" y="2389184"/>
                  <a:pt x="6280404" y="5290927"/>
                  <a:pt x="6274893" y="7680111"/>
                </a:cubicBezTo>
                <a:lnTo>
                  <a:pt x="1780207" y="7669438"/>
                </a:lnTo>
                <a:lnTo>
                  <a:pt x="0" y="13487"/>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Puolivapaa piirto 1">
            <a:extLst>
              <a:ext uri="{FF2B5EF4-FFF2-40B4-BE49-F238E27FC236}">
                <a16:creationId xmlns:a16="http://schemas.microsoft.com/office/drawing/2014/main" id="{366CA927-B3E2-382F-369F-F7D132DCB567}"/>
              </a:ext>
            </a:extLst>
          </p:cNvPr>
          <p:cNvSpPr/>
          <p:nvPr/>
        </p:nvSpPr>
        <p:spPr>
          <a:xfrm rot="17013118">
            <a:off x="5096646" y="-193695"/>
            <a:ext cx="6524666" cy="5474305"/>
          </a:xfrm>
          <a:custGeom>
            <a:avLst/>
            <a:gdLst>
              <a:gd name="connsiteX0" fmla="*/ 6385809 w 6385809"/>
              <a:gd name="connsiteY0" fmla="*/ 4706911 h 4871803"/>
              <a:gd name="connsiteX1" fmla="*/ 4572000 w 6385809"/>
              <a:gd name="connsiteY1" fmla="*/ 0 h 4871803"/>
              <a:gd name="connsiteX2" fmla="*/ 14990 w 6385809"/>
              <a:gd name="connsiteY2" fmla="*/ 3552669 h 4871803"/>
              <a:gd name="connsiteX3" fmla="*/ 0 w 6385809"/>
              <a:gd name="connsiteY3" fmla="*/ 4871803 h 4871803"/>
              <a:gd name="connsiteX4" fmla="*/ 6385809 w 6385809"/>
              <a:gd name="connsiteY4" fmla="*/ 4706911 h 4871803"/>
              <a:gd name="connsiteX0" fmla="*/ 6385809 w 6385809"/>
              <a:gd name="connsiteY0" fmla="*/ 4168582 h 4333474"/>
              <a:gd name="connsiteX1" fmla="*/ 4127000 w 6385809"/>
              <a:gd name="connsiteY1" fmla="*/ 0 h 4333474"/>
              <a:gd name="connsiteX2" fmla="*/ 14990 w 6385809"/>
              <a:gd name="connsiteY2" fmla="*/ 3014340 h 4333474"/>
              <a:gd name="connsiteX3" fmla="*/ 0 w 6385809"/>
              <a:gd name="connsiteY3" fmla="*/ 4333474 h 4333474"/>
              <a:gd name="connsiteX4" fmla="*/ 6385809 w 6385809"/>
              <a:gd name="connsiteY4" fmla="*/ 4168582 h 4333474"/>
              <a:gd name="connsiteX0" fmla="*/ 5164942 w 5164942"/>
              <a:gd name="connsiteY0" fmla="*/ 4306106 h 4333474"/>
              <a:gd name="connsiteX1" fmla="*/ 4127000 w 5164942"/>
              <a:gd name="connsiteY1" fmla="*/ 0 h 4333474"/>
              <a:gd name="connsiteX2" fmla="*/ 14990 w 5164942"/>
              <a:gd name="connsiteY2" fmla="*/ 3014340 h 4333474"/>
              <a:gd name="connsiteX3" fmla="*/ 0 w 5164942"/>
              <a:gd name="connsiteY3" fmla="*/ 4333474 h 4333474"/>
              <a:gd name="connsiteX4" fmla="*/ 5164942 w 5164942"/>
              <a:gd name="connsiteY4" fmla="*/ 4306106 h 4333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4942" h="4333474">
                <a:moveTo>
                  <a:pt x="5164942" y="4306106"/>
                </a:moveTo>
                <a:lnTo>
                  <a:pt x="4127000" y="0"/>
                </a:lnTo>
                <a:lnTo>
                  <a:pt x="14990" y="3014340"/>
                </a:lnTo>
                <a:lnTo>
                  <a:pt x="0" y="4333474"/>
                </a:lnTo>
                <a:lnTo>
                  <a:pt x="5164942" y="4306106"/>
                </a:lnTo>
                <a:close/>
              </a:path>
            </a:pathLst>
          </a:custGeom>
          <a:solidFill>
            <a:srgbClr val="B8CD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E1D0E87-623B-5D50-D50D-E438031EC66E}"/>
              </a:ext>
            </a:extLst>
          </p:cNvPr>
          <p:cNvSpPr/>
          <p:nvPr/>
        </p:nvSpPr>
        <p:spPr>
          <a:xfrm>
            <a:off x="6531430" y="-57358"/>
            <a:ext cx="5849020" cy="7137425"/>
          </a:xfrm>
          <a:custGeom>
            <a:avLst/>
            <a:gdLst>
              <a:gd name="connsiteX0" fmla="*/ 0 w 6295292"/>
              <a:gd name="connsiteY0" fmla="*/ 0 h 6588857"/>
              <a:gd name="connsiteX1" fmla="*/ 6295292 w 6295292"/>
              <a:gd name="connsiteY1" fmla="*/ 0 h 6588857"/>
              <a:gd name="connsiteX2" fmla="*/ 6295292 w 6295292"/>
              <a:gd name="connsiteY2" fmla="*/ 6588857 h 6588857"/>
              <a:gd name="connsiteX3" fmla="*/ 0 w 6295292"/>
              <a:gd name="connsiteY3" fmla="*/ 6588857 h 6588857"/>
              <a:gd name="connsiteX4" fmla="*/ 0 w 6295292"/>
              <a:gd name="connsiteY4" fmla="*/ 0 h 6588857"/>
              <a:gd name="connsiteX0" fmla="*/ 0 w 6295292"/>
              <a:gd name="connsiteY0" fmla="*/ 0 h 6588857"/>
              <a:gd name="connsiteX1" fmla="*/ 6295292 w 6295292"/>
              <a:gd name="connsiteY1" fmla="*/ 0 h 6588857"/>
              <a:gd name="connsiteX2" fmla="*/ 6295292 w 6295292"/>
              <a:gd name="connsiteY2" fmla="*/ 6588857 h 6588857"/>
              <a:gd name="connsiteX3" fmla="*/ 35169 w 6295292"/>
              <a:gd name="connsiteY3" fmla="*/ 5064857 h 6588857"/>
              <a:gd name="connsiteX4" fmla="*/ 0 w 6295292"/>
              <a:gd name="connsiteY4" fmla="*/ 0 h 6588857"/>
              <a:gd name="connsiteX0" fmla="*/ 246185 w 6260123"/>
              <a:gd name="connsiteY0" fmla="*/ 1148861 h 6588857"/>
              <a:gd name="connsiteX1" fmla="*/ 6260123 w 6260123"/>
              <a:gd name="connsiteY1" fmla="*/ 0 h 6588857"/>
              <a:gd name="connsiteX2" fmla="*/ 6260123 w 6260123"/>
              <a:gd name="connsiteY2" fmla="*/ 6588857 h 6588857"/>
              <a:gd name="connsiteX3" fmla="*/ 0 w 6260123"/>
              <a:gd name="connsiteY3" fmla="*/ 5064857 h 6588857"/>
              <a:gd name="connsiteX4" fmla="*/ 246185 w 6260123"/>
              <a:gd name="connsiteY4"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0 w 6353907"/>
              <a:gd name="connsiteY3" fmla="*/ 4924180 h 6588857"/>
              <a:gd name="connsiteX4" fmla="*/ 339969 w 6353907"/>
              <a:gd name="connsiteY4" fmla="*/ 1148861 h 6588857"/>
              <a:gd name="connsiteX0" fmla="*/ 339969 w 6353907"/>
              <a:gd name="connsiteY0" fmla="*/ 1148861 h 6713770"/>
              <a:gd name="connsiteX1" fmla="*/ 6353907 w 6353907"/>
              <a:gd name="connsiteY1" fmla="*/ 0 h 6713770"/>
              <a:gd name="connsiteX2" fmla="*/ 6353907 w 6353907"/>
              <a:gd name="connsiteY2" fmla="*/ 6588857 h 6713770"/>
              <a:gd name="connsiteX3" fmla="*/ 1078523 w 6353907"/>
              <a:gd name="connsiteY3" fmla="*/ 6571273 h 6713770"/>
              <a:gd name="connsiteX4" fmla="*/ 0 w 6353907"/>
              <a:gd name="connsiteY4" fmla="*/ 4924180 h 6713770"/>
              <a:gd name="connsiteX5" fmla="*/ 339969 w 6353907"/>
              <a:gd name="connsiteY5" fmla="*/ 1148861 h 6713770"/>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492369 w 6353907"/>
              <a:gd name="connsiteY0" fmla="*/ 410307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492369 w 6353907"/>
              <a:gd name="connsiteY5" fmla="*/ 410307 h 6588857"/>
              <a:gd name="connsiteX0" fmla="*/ 398585 w 6260123"/>
              <a:gd name="connsiteY0" fmla="*/ 410307 h 6588857"/>
              <a:gd name="connsiteX1" fmla="*/ 6260123 w 6260123"/>
              <a:gd name="connsiteY1" fmla="*/ 0 h 6588857"/>
              <a:gd name="connsiteX2" fmla="*/ 6260123 w 6260123"/>
              <a:gd name="connsiteY2" fmla="*/ 6588857 h 6588857"/>
              <a:gd name="connsiteX3" fmla="*/ 984739 w 6260123"/>
              <a:gd name="connsiteY3" fmla="*/ 6571273 h 6588857"/>
              <a:gd name="connsiteX4" fmla="*/ 0 w 6260123"/>
              <a:gd name="connsiteY4" fmla="*/ 4982796 h 6588857"/>
              <a:gd name="connsiteX5" fmla="*/ 398585 w 6260123"/>
              <a:gd name="connsiteY5" fmla="*/ 410307 h 6588857"/>
              <a:gd name="connsiteX0" fmla="*/ 398585 w 6260123"/>
              <a:gd name="connsiteY0" fmla="*/ 410307 h 6594719"/>
              <a:gd name="connsiteX1" fmla="*/ 6260123 w 6260123"/>
              <a:gd name="connsiteY1" fmla="*/ 0 h 6594719"/>
              <a:gd name="connsiteX2" fmla="*/ 6260123 w 6260123"/>
              <a:gd name="connsiteY2" fmla="*/ 6588857 h 6594719"/>
              <a:gd name="connsiteX3" fmla="*/ 1137139 w 6260123"/>
              <a:gd name="connsiteY3" fmla="*/ 6594719 h 6594719"/>
              <a:gd name="connsiteX4" fmla="*/ 0 w 6260123"/>
              <a:gd name="connsiteY4" fmla="*/ 4982796 h 6594719"/>
              <a:gd name="connsiteX5" fmla="*/ 398585 w 6260123"/>
              <a:gd name="connsiteY5" fmla="*/ 410307 h 6594719"/>
              <a:gd name="connsiteX0" fmla="*/ 167107 w 6028645"/>
              <a:gd name="connsiteY0" fmla="*/ 410307 h 6801552"/>
              <a:gd name="connsiteX1" fmla="*/ 6028645 w 6028645"/>
              <a:gd name="connsiteY1" fmla="*/ 0 h 6801552"/>
              <a:gd name="connsiteX2" fmla="*/ 6028645 w 6028645"/>
              <a:gd name="connsiteY2" fmla="*/ 6588857 h 6801552"/>
              <a:gd name="connsiteX3" fmla="*/ 905661 w 6028645"/>
              <a:gd name="connsiteY3" fmla="*/ 6594719 h 6801552"/>
              <a:gd name="connsiteX4" fmla="*/ 0 w 6028645"/>
              <a:gd name="connsiteY4" fmla="*/ 6801552 h 6801552"/>
              <a:gd name="connsiteX5" fmla="*/ 167107 w 6028645"/>
              <a:gd name="connsiteY5" fmla="*/ 410307 h 6801552"/>
              <a:gd name="connsiteX0" fmla="*/ 167107 w 6028645"/>
              <a:gd name="connsiteY0" fmla="*/ 410307 h 6801552"/>
              <a:gd name="connsiteX1" fmla="*/ 6028645 w 6028645"/>
              <a:gd name="connsiteY1" fmla="*/ 0 h 6801552"/>
              <a:gd name="connsiteX2" fmla="*/ 6028645 w 6028645"/>
              <a:gd name="connsiteY2" fmla="*/ 6588857 h 6801552"/>
              <a:gd name="connsiteX3" fmla="*/ 3402317 w 6028645"/>
              <a:gd name="connsiteY3" fmla="*/ 6264036 h 6801552"/>
              <a:gd name="connsiteX4" fmla="*/ 0 w 6028645"/>
              <a:gd name="connsiteY4" fmla="*/ 6801552 h 6801552"/>
              <a:gd name="connsiteX5" fmla="*/ 167107 w 6028645"/>
              <a:gd name="connsiteY5" fmla="*/ 410307 h 6801552"/>
              <a:gd name="connsiteX0" fmla="*/ 167107 w 6028645"/>
              <a:gd name="connsiteY0" fmla="*/ 410307 h 7239551"/>
              <a:gd name="connsiteX1" fmla="*/ 6028645 w 6028645"/>
              <a:gd name="connsiteY1" fmla="*/ 0 h 7239551"/>
              <a:gd name="connsiteX2" fmla="*/ 6028645 w 6028645"/>
              <a:gd name="connsiteY2" fmla="*/ 6588857 h 7239551"/>
              <a:gd name="connsiteX3" fmla="*/ 1765437 w 6028645"/>
              <a:gd name="connsiteY3" fmla="*/ 7239551 h 7239551"/>
              <a:gd name="connsiteX4" fmla="*/ 0 w 6028645"/>
              <a:gd name="connsiteY4" fmla="*/ 6801552 h 7239551"/>
              <a:gd name="connsiteX5" fmla="*/ 167107 w 6028645"/>
              <a:gd name="connsiteY5" fmla="*/ 410307 h 7239551"/>
              <a:gd name="connsiteX0" fmla="*/ 167107 w 6028645"/>
              <a:gd name="connsiteY0" fmla="*/ 410307 h 7239551"/>
              <a:gd name="connsiteX1" fmla="*/ 6028645 w 6028645"/>
              <a:gd name="connsiteY1" fmla="*/ 0 h 7239551"/>
              <a:gd name="connsiteX2" fmla="*/ 6012111 w 6028645"/>
              <a:gd name="connsiteY2" fmla="*/ 7167553 h 7239551"/>
              <a:gd name="connsiteX3" fmla="*/ 1765437 w 6028645"/>
              <a:gd name="connsiteY3" fmla="*/ 7239551 h 7239551"/>
              <a:gd name="connsiteX4" fmla="*/ 0 w 6028645"/>
              <a:gd name="connsiteY4" fmla="*/ 6801552 h 7239551"/>
              <a:gd name="connsiteX5" fmla="*/ 167107 w 6028645"/>
              <a:gd name="connsiteY5" fmla="*/ 410307 h 7239551"/>
              <a:gd name="connsiteX0" fmla="*/ 0 w 6291427"/>
              <a:gd name="connsiteY0" fmla="*/ 0 h 7738622"/>
              <a:gd name="connsiteX1" fmla="*/ 6291427 w 6291427"/>
              <a:gd name="connsiteY1" fmla="*/ 499071 h 7738622"/>
              <a:gd name="connsiteX2" fmla="*/ 6274893 w 6291427"/>
              <a:gd name="connsiteY2" fmla="*/ 7666624 h 7738622"/>
              <a:gd name="connsiteX3" fmla="*/ 2028219 w 6291427"/>
              <a:gd name="connsiteY3" fmla="*/ 7738622 h 7738622"/>
              <a:gd name="connsiteX4" fmla="*/ 262782 w 6291427"/>
              <a:gd name="connsiteY4" fmla="*/ 7300623 h 7738622"/>
              <a:gd name="connsiteX5" fmla="*/ 0 w 6291427"/>
              <a:gd name="connsiteY5" fmla="*/ 0 h 7738622"/>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62782 w 6275019"/>
              <a:gd name="connsiteY4" fmla="*/ 7314110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428754 w 6275019"/>
              <a:gd name="connsiteY4" fmla="*/ 6933826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0 w 6275019"/>
              <a:gd name="connsiteY4" fmla="*/ 13487 h 7752109"/>
              <a:gd name="connsiteX0" fmla="*/ 0 w 6275019"/>
              <a:gd name="connsiteY0" fmla="*/ 13487 h 7680111"/>
              <a:gd name="connsiteX1" fmla="*/ 6109551 w 6275019"/>
              <a:gd name="connsiteY1" fmla="*/ 0 h 7680111"/>
              <a:gd name="connsiteX2" fmla="*/ 6274893 w 6275019"/>
              <a:gd name="connsiteY2" fmla="*/ 7680111 h 7680111"/>
              <a:gd name="connsiteX3" fmla="*/ 1780207 w 6275019"/>
              <a:gd name="connsiteY3" fmla="*/ 7669438 h 7680111"/>
              <a:gd name="connsiteX4" fmla="*/ 0 w 6275019"/>
              <a:gd name="connsiteY4" fmla="*/ 13487 h 768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5019" h="7680111">
                <a:moveTo>
                  <a:pt x="0" y="13487"/>
                </a:moveTo>
                <a:lnTo>
                  <a:pt x="6109551" y="0"/>
                </a:lnTo>
                <a:cubicBezTo>
                  <a:pt x="6104040" y="2389184"/>
                  <a:pt x="6280404" y="5290927"/>
                  <a:pt x="6274893" y="7680111"/>
                </a:cubicBezTo>
                <a:lnTo>
                  <a:pt x="1780207" y="7669438"/>
                </a:lnTo>
                <a:lnTo>
                  <a:pt x="0" y="13487"/>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8" name="Picture Placeholder 7">
            <a:extLst>
              <a:ext uri="{FF2B5EF4-FFF2-40B4-BE49-F238E27FC236}">
                <a16:creationId xmlns:a16="http://schemas.microsoft.com/office/drawing/2014/main" id="{FAE12E07-70C4-0DBB-251E-EDA6D5378E3E}"/>
              </a:ext>
            </a:extLst>
          </p:cNvPr>
          <p:cNvSpPr>
            <a:spLocks noGrp="1"/>
          </p:cNvSpPr>
          <p:nvPr>
            <p:ph type="pic" sz="quarter" idx="10"/>
          </p:nvPr>
        </p:nvSpPr>
        <p:spPr>
          <a:xfrm>
            <a:off x="6096000" y="-47678"/>
            <a:ext cx="6173016" cy="7036880"/>
          </a:xfrm>
          <a:custGeom>
            <a:avLst/>
            <a:gdLst>
              <a:gd name="connsiteX0" fmla="*/ 0 w 5919787"/>
              <a:gd name="connsiteY0" fmla="*/ 0 h 5264150"/>
              <a:gd name="connsiteX1" fmla="*/ 5919787 w 5919787"/>
              <a:gd name="connsiteY1" fmla="*/ 0 h 5264150"/>
              <a:gd name="connsiteX2" fmla="*/ 5919787 w 5919787"/>
              <a:gd name="connsiteY2" fmla="*/ 5264150 h 5264150"/>
              <a:gd name="connsiteX3" fmla="*/ 0 w 5919787"/>
              <a:gd name="connsiteY3" fmla="*/ 5264150 h 5264150"/>
              <a:gd name="connsiteX4" fmla="*/ 0 w 5919787"/>
              <a:gd name="connsiteY4" fmla="*/ 0 h 5264150"/>
              <a:gd name="connsiteX0" fmla="*/ 363416 w 5919787"/>
              <a:gd name="connsiteY0" fmla="*/ 0 h 5779965"/>
              <a:gd name="connsiteX1" fmla="*/ 5919787 w 5919787"/>
              <a:gd name="connsiteY1" fmla="*/ 515815 h 5779965"/>
              <a:gd name="connsiteX2" fmla="*/ 5919787 w 5919787"/>
              <a:gd name="connsiteY2" fmla="*/ 5779965 h 5779965"/>
              <a:gd name="connsiteX3" fmla="*/ 0 w 5919787"/>
              <a:gd name="connsiteY3" fmla="*/ 5779965 h 5779965"/>
              <a:gd name="connsiteX4" fmla="*/ 363416 w 5919787"/>
              <a:gd name="connsiteY4" fmla="*/ 0 h 5779965"/>
              <a:gd name="connsiteX0" fmla="*/ 1630290 w 7186661"/>
              <a:gd name="connsiteY0" fmla="*/ 0 h 5779965"/>
              <a:gd name="connsiteX1" fmla="*/ 7186661 w 7186661"/>
              <a:gd name="connsiteY1" fmla="*/ 515815 h 5779965"/>
              <a:gd name="connsiteX2" fmla="*/ 7186661 w 7186661"/>
              <a:gd name="connsiteY2" fmla="*/ 5779965 h 5779965"/>
              <a:gd name="connsiteX3" fmla="*/ 1266874 w 7186661"/>
              <a:gd name="connsiteY3" fmla="*/ 5779965 h 5779965"/>
              <a:gd name="connsiteX4" fmla="*/ 415 w 7186661"/>
              <a:gd name="connsiteY4" fmla="*/ 2403720 h 5779965"/>
              <a:gd name="connsiteX5" fmla="*/ 1630290 w 7186661"/>
              <a:gd name="connsiteY5" fmla="*/ 0 h 5779965"/>
              <a:gd name="connsiteX0" fmla="*/ 1629875 w 7186246"/>
              <a:gd name="connsiteY0" fmla="*/ 0 h 5779965"/>
              <a:gd name="connsiteX1" fmla="*/ 7186246 w 7186246"/>
              <a:gd name="connsiteY1" fmla="*/ 515815 h 5779965"/>
              <a:gd name="connsiteX2" fmla="*/ 7186246 w 7186246"/>
              <a:gd name="connsiteY2" fmla="*/ 5779965 h 5779965"/>
              <a:gd name="connsiteX3" fmla="*/ 1266459 w 7186246"/>
              <a:gd name="connsiteY3" fmla="*/ 5779965 h 5779965"/>
              <a:gd name="connsiteX4" fmla="*/ 0 w 7186246"/>
              <a:gd name="connsiteY4" fmla="*/ 2403720 h 5779965"/>
              <a:gd name="connsiteX5" fmla="*/ 1629875 w 7186246"/>
              <a:gd name="connsiteY5" fmla="*/ 0 h 5779965"/>
              <a:gd name="connsiteX0" fmla="*/ 1629875 w 7186246"/>
              <a:gd name="connsiteY0" fmla="*/ 0 h 5780086"/>
              <a:gd name="connsiteX1" fmla="*/ 7186246 w 7186246"/>
              <a:gd name="connsiteY1" fmla="*/ 515815 h 5780086"/>
              <a:gd name="connsiteX2" fmla="*/ 7186246 w 7186246"/>
              <a:gd name="connsiteY2" fmla="*/ 5779965 h 5780086"/>
              <a:gd name="connsiteX3" fmla="*/ 1266459 w 7186246"/>
              <a:gd name="connsiteY3" fmla="*/ 5779965 h 5780086"/>
              <a:gd name="connsiteX4" fmla="*/ 0 w 7186246"/>
              <a:gd name="connsiteY4" fmla="*/ 2403720 h 5780086"/>
              <a:gd name="connsiteX5" fmla="*/ 1629875 w 7186246"/>
              <a:gd name="connsiteY5" fmla="*/ 0 h 5780086"/>
              <a:gd name="connsiteX0" fmla="*/ 1782275 w 7186246"/>
              <a:gd name="connsiteY0" fmla="*/ 0 h 6131778"/>
              <a:gd name="connsiteX1" fmla="*/ 7186246 w 7186246"/>
              <a:gd name="connsiteY1" fmla="*/ 867507 h 6131778"/>
              <a:gd name="connsiteX2" fmla="*/ 7186246 w 7186246"/>
              <a:gd name="connsiteY2" fmla="*/ 6131657 h 6131778"/>
              <a:gd name="connsiteX3" fmla="*/ 1266459 w 7186246"/>
              <a:gd name="connsiteY3" fmla="*/ 6131657 h 6131778"/>
              <a:gd name="connsiteX4" fmla="*/ 0 w 7186246"/>
              <a:gd name="connsiteY4" fmla="*/ 2755412 h 6131778"/>
              <a:gd name="connsiteX5" fmla="*/ 1782275 w 7186246"/>
              <a:gd name="connsiteY5" fmla="*/ 0 h 6131778"/>
              <a:gd name="connsiteX0" fmla="*/ 1782275 w 7186246"/>
              <a:gd name="connsiteY0" fmla="*/ 0 h 6143501"/>
              <a:gd name="connsiteX1" fmla="*/ 7186246 w 7186246"/>
              <a:gd name="connsiteY1" fmla="*/ 867507 h 6143501"/>
              <a:gd name="connsiteX2" fmla="*/ 7186246 w 7186246"/>
              <a:gd name="connsiteY2" fmla="*/ 6131657 h 6143501"/>
              <a:gd name="connsiteX3" fmla="*/ 2309813 w 7186246"/>
              <a:gd name="connsiteY3" fmla="*/ 6143380 h 6143501"/>
              <a:gd name="connsiteX4" fmla="*/ 0 w 7186246"/>
              <a:gd name="connsiteY4" fmla="*/ 2755412 h 6143501"/>
              <a:gd name="connsiteX5" fmla="*/ 1782275 w 7186246"/>
              <a:gd name="connsiteY5" fmla="*/ 0 h 6143501"/>
              <a:gd name="connsiteX0" fmla="*/ 985106 w 6389077"/>
              <a:gd name="connsiteY0" fmla="*/ 0 h 6143553"/>
              <a:gd name="connsiteX1" fmla="*/ 6389077 w 6389077"/>
              <a:gd name="connsiteY1" fmla="*/ 867507 h 6143553"/>
              <a:gd name="connsiteX2" fmla="*/ 6389077 w 6389077"/>
              <a:gd name="connsiteY2" fmla="*/ 6131657 h 6143553"/>
              <a:gd name="connsiteX3" fmla="*/ 1512644 w 6389077"/>
              <a:gd name="connsiteY3" fmla="*/ 6143380 h 6143553"/>
              <a:gd name="connsiteX4" fmla="*/ 0 w 6389077"/>
              <a:gd name="connsiteY4" fmla="*/ 3787042 h 6143553"/>
              <a:gd name="connsiteX5" fmla="*/ 985106 w 6389077"/>
              <a:gd name="connsiteY5" fmla="*/ 0 h 6143553"/>
              <a:gd name="connsiteX0" fmla="*/ 1207844 w 6389077"/>
              <a:gd name="connsiteY0" fmla="*/ 0 h 6589030"/>
              <a:gd name="connsiteX1" fmla="*/ 6389077 w 6389077"/>
              <a:gd name="connsiteY1" fmla="*/ 1312984 h 6589030"/>
              <a:gd name="connsiteX2" fmla="*/ 6389077 w 6389077"/>
              <a:gd name="connsiteY2" fmla="*/ 6577134 h 6589030"/>
              <a:gd name="connsiteX3" fmla="*/ 1512644 w 6389077"/>
              <a:gd name="connsiteY3" fmla="*/ 6588857 h 6589030"/>
              <a:gd name="connsiteX4" fmla="*/ 0 w 6389077"/>
              <a:gd name="connsiteY4" fmla="*/ 4232519 h 6589030"/>
              <a:gd name="connsiteX5" fmla="*/ 1207844 w 6389077"/>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8857"/>
              <a:gd name="connsiteX1" fmla="*/ 6412523 w 6412523"/>
              <a:gd name="connsiteY1" fmla="*/ 726831 h 6588857"/>
              <a:gd name="connsiteX2" fmla="*/ 6389077 w 6412523"/>
              <a:gd name="connsiteY2" fmla="*/ 6577134 h 6588857"/>
              <a:gd name="connsiteX3" fmla="*/ 1512644 w 6412523"/>
              <a:gd name="connsiteY3" fmla="*/ 6588857 h 6588857"/>
              <a:gd name="connsiteX4" fmla="*/ 0 w 6412523"/>
              <a:gd name="connsiteY4" fmla="*/ 4232519 h 6588857"/>
              <a:gd name="connsiteX5" fmla="*/ 1207844 w 6412523"/>
              <a:gd name="connsiteY5" fmla="*/ 0 h 6588857"/>
              <a:gd name="connsiteX0" fmla="*/ 1207844 w 6412523"/>
              <a:gd name="connsiteY0" fmla="*/ 0 h 7200620"/>
              <a:gd name="connsiteX1" fmla="*/ 6412523 w 6412523"/>
              <a:gd name="connsiteY1" fmla="*/ 726831 h 7200620"/>
              <a:gd name="connsiteX2" fmla="*/ 6389077 w 6412523"/>
              <a:gd name="connsiteY2" fmla="*/ 6577134 h 7200620"/>
              <a:gd name="connsiteX3" fmla="*/ 2157475 w 6412523"/>
              <a:gd name="connsiteY3" fmla="*/ 7200620 h 7200620"/>
              <a:gd name="connsiteX4" fmla="*/ 0 w 6412523"/>
              <a:gd name="connsiteY4" fmla="*/ 4232519 h 7200620"/>
              <a:gd name="connsiteX5" fmla="*/ 1207844 w 6412523"/>
              <a:gd name="connsiteY5" fmla="*/ 0 h 7200620"/>
              <a:gd name="connsiteX0" fmla="*/ 1207844 w 6412523"/>
              <a:gd name="connsiteY0" fmla="*/ 0 h 7200620"/>
              <a:gd name="connsiteX1" fmla="*/ 6412523 w 6412523"/>
              <a:gd name="connsiteY1" fmla="*/ 726831 h 7200620"/>
              <a:gd name="connsiteX2" fmla="*/ 6389078 w 6412523"/>
              <a:gd name="connsiteY2" fmla="*/ 7172363 h 7200620"/>
              <a:gd name="connsiteX3" fmla="*/ 2157475 w 6412523"/>
              <a:gd name="connsiteY3" fmla="*/ 7200620 h 7200620"/>
              <a:gd name="connsiteX4" fmla="*/ 0 w 6412523"/>
              <a:gd name="connsiteY4" fmla="*/ 4232519 h 7200620"/>
              <a:gd name="connsiteX5" fmla="*/ 1207844 w 6412523"/>
              <a:gd name="connsiteY5" fmla="*/ 0 h 7200620"/>
              <a:gd name="connsiteX0" fmla="*/ 744888 w 6412523"/>
              <a:gd name="connsiteY0" fmla="*/ 0 h 7746246"/>
              <a:gd name="connsiteX1" fmla="*/ 6412523 w 6412523"/>
              <a:gd name="connsiteY1" fmla="*/ 1272457 h 7746246"/>
              <a:gd name="connsiteX2" fmla="*/ 6389078 w 6412523"/>
              <a:gd name="connsiteY2" fmla="*/ 7717989 h 7746246"/>
              <a:gd name="connsiteX3" fmla="*/ 2157475 w 6412523"/>
              <a:gd name="connsiteY3" fmla="*/ 7746246 h 7746246"/>
              <a:gd name="connsiteX4" fmla="*/ 0 w 6412523"/>
              <a:gd name="connsiteY4" fmla="*/ 4778145 h 7746246"/>
              <a:gd name="connsiteX5" fmla="*/ 744888 w 6412523"/>
              <a:gd name="connsiteY5" fmla="*/ 0 h 7746246"/>
              <a:gd name="connsiteX0" fmla="*/ 744888 w 6389113"/>
              <a:gd name="connsiteY0" fmla="*/ 672 h 7746918"/>
              <a:gd name="connsiteX1" fmla="*/ 5106325 w 6389113"/>
              <a:gd name="connsiteY1" fmla="*/ 0 h 7746918"/>
              <a:gd name="connsiteX2" fmla="*/ 6389078 w 6389113"/>
              <a:gd name="connsiteY2" fmla="*/ 7718661 h 7746918"/>
              <a:gd name="connsiteX3" fmla="*/ 2157475 w 6389113"/>
              <a:gd name="connsiteY3" fmla="*/ 7746918 h 7746918"/>
              <a:gd name="connsiteX4" fmla="*/ 0 w 6389113"/>
              <a:gd name="connsiteY4" fmla="*/ 4778817 h 7746918"/>
              <a:gd name="connsiteX5" fmla="*/ 744888 w 6389113"/>
              <a:gd name="connsiteY5" fmla="*/ 672 h 7746918"/>
              <a:gd name="connsiteX0" fmla="*/ 744888 w 6389114"/>
              <a:gd name="connsiteY0" fmla="*/ 672 h 7746918"/>
              <a:gd name="connsiteX1" fmla="*/ 5106325 w 6389114"/>
              <a:gd name="connsiteY1" fmla="*/ 0 h 7746918"/>
              <a:gd name="connsiteX2" fmla="*/ 6389078 w 6389114"/>
              <a:gd name="connsiteY2" fmla="*/ 7718661 h 7746918"/>
              <a:gd name="connsiteX3" fmla="*/ 2157475 w 6389114"/>
              <a:gd name="connsiteY3" fmla="*/ 7746918 h 7746918"/>
              <a:gd name="connsiteX4" fmla="*/ 0 w 6389114"/>
              <a:gd name="connsiteY4" fmla="*/ 4778817 h 7746918"/>
              <a:gd name="connsiteX5" fmla="*/ 744888 w 6389114"/>
              <a:gd name="connsiteY5" fmla="*/ 672 h 7746918"/>
              <a:gd name="connsiteX0" fmla="*/ 1323583 w 6967809"/>
              <a:gd name="connsiteY0" fmla="*/ 672 h 7746918"/>
              <a:gd name="connsiteX1" fmla="*/ 5685020 w 6967809"/>
              <a:gd name="connsiteY1" fmla="*/ 0 h 7746918"/>
              <a:gd name="connsiteX2" fmla="*/ 6967773 w 6967809"/>
              <a:gd name="connsiteY2" fmla="*/ 7718661 h 7746918"/>
              <a:gd name="connsiteX3" fmla="*/ 2736170 w 6967809"/>
              <a:gd name="connsiteY3" fmla="*/ 7746918 h 7746918"/>
              <a:gd name="connsiteX4" fmla="*/ 0 w 6967809"/>
              <a:gd name="connsiteY4" fmla="*/ 7622690 h 7746918"/>
              <a:gd name="connsiteX5" fmla="*/ 1323583 w 6967809"/>
              <a:gd name="connsiteY5" fmla="*/ 672 h 7746918"/>
              <a:gd name="connsiteX0" fmla="*/ 1323583 w 6967809"/>
              <a:gd name="connsiteY0" fmla="*/ 672 h 7718661"/>
              <a:gd name="connsiteX1" fmla="*/ 5685020 w 6967809"/>
              <a:gd name="connsiteY1" fmla="*/ 0 h 7718661"/>
              <a:gd name="connsiteX2" fmla="*/ 6967773 w 6967809"/>
              <a:gd name="connsiteY2" fmla="*/ 7718661 h 7718661"/>
              <a:gd name="connsiteX3" fmla="*/ 6704365 w 6967809"/>
              <a:gd name="connsiteY3" fmla="*/ 6672198 h 7718661"/>
              <a:gd name="connsiteX4" fmla="*/ 0 w 6967809"/>
              <a:gd name="connsiteY4" fmla="*/ 7622690 h 7718661"/>
              <a:gd name="connsiteX5" fmla="*/ 1323583 w 6967809"/>
              <a:gd name="connsiteY5" fmla="*/ 672 h 7718661"/>
              <a:gd name="connsiteX0" fmla="*/ 1323583 w 6719805"/>
              <a:gd name="connsiteY0" fmla="*/ 83834 h 7706253"/>
              <a:gd name="connsiteX1" fmla="*/ 5685020 w 6719805"/>
              <a:gd name="connsiteY1" fmla="*/ 83162 h 7706253"/>
              <a:gd name="connsiteX2" fmla="*/ 6719761 w 6719805"/>
              <a:gd name="connsiteY2" fmla="*/ 1403109 h 7706253"/>
              <a:gd name="connsiteX3" fmla="*/ 6704365 w 6719805"/>
              <a:gd name="connsiteY3" fmla="*/ 6755360 h 7706253"/>
              <a:gd name="connsiteX4" fmla="*/ 0 w 6719805"/>
              <a:gd name="connsiteY4" fmla="*/ 7705852 h 7706253"/>
              <a:gd name="connsiteX5" fmla="*/ 1323583 w 6719805"/>
              <a:gd name="connsiteY5" fmla="*/ 83834 h 7706253"/>
              <a:gd name="connsiteX0" fmla="*/ 1323583 w 6719761"/>
              <a:gd name="connsiteY0" fmla="*/ 672 h 7623092"/>
              <a:gd name="connsiteX1" fmla="*/ 5685020 w 6719761"/>
              <a:gd name="connsiteY1" fmla="*/ 0 h 7623092"/>
              <a:gd name="connsiteX2" fmla="*/ 6719761 w 6719761"/>
              <a:gd name="connsiteY2" fmla="*/ 1319947 h 7623092"/>
              <a:gd name="connsiteX3" fmla="*/ 6704365 w 6719761"/>
              <a:gd name="connsiteY3" fmla="*/ 6672198 h 7623092"/>
              <a:gd name="connsiteX4" fmla="*/ 0 w 6719761"/>
              <a:gd name="connsiteY4" fmla="*/ 7622690 h 7623092"/>
              <a:gd name="connsiteX5" fmla="*/ 1323583 w 6719761"/>
              <a:gd name="connsiteY5" fmla="*/ 672 h 7623092"/>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96403"/>
              <a:gd name="connsiteX1" fmla="*/ 5685020 w 6719761"/>
              <a:gd name="connsiteY1" fmla="*/ 0 h 8196403"/>
              <a:gd name="connsiteX2" fmla="*/ 6719761 w 6719761"/>
              <a:gd name="connsiteY2" fmla="*/ 1319947 h 8196403"/>
              <a:gd name="connsiteX3" fmla="*/ 6704365 w 6719761"/>
              <a:gd name="connsiteY3" fmla="*/ 6672198 h 8196403"/>
              <a:gd name="connsiteX4" fmla="*/ 2139330 w 6719761"/>
              <a:gd name="connsiteY4" fmla="*/ 7594960 h 8196403"/>
              <a:gd name="connsiteX5" fmla="*/ 0 w 6719761"/>
              <a:gd name="connsiteY5" fmla="*/ 7622690 h 8196403"/>
              <a:gd name="connsiteX6" fmla="*/ 1323583 w 6719761"/>
              <a:gd name="connsiteY6" fmla="*/ 672 h 8196403"/>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7622689"/>
              <a:gd name="connsiteX1" fmla="*/ 5685020 w 6719761"/>
              <a:gd name="connsiteY1" fmla="*/ 0 h 7622689"/>
              <a:gd name="connsiteX2" fmla="*/ 6719761 w 6719761"/>
              <a:gd name="connsiteY2" fmla="*/ 1319947 h 7622689"/>
              <a:gd name="connsiteX3" fmla="*/ 6704365 w 6719761"/>
              <a:gd name="connsiteY3" fmla="*/ 6672198 h 7622689"/>
              <a:gd name="connsiteX4" fmla="*/ 2139330 w 6719761"/>
              <a:gd name="connsiteY4" fmla="*/ 7594960 h 7622689"/>
              <a:gd name="connsiteX5" fmla="*/ 0 w 6719761"/>
              <a:gd name="connsiteY5" fmla="*/ 7622690 h 7622689"/>
              <a:gd name="connsiteX6" fmla="*/ 1323583 w 6719761"/>
              <a:gd name="connsiteY6" fmla="*/ 672 h 7622689"/>
              <a:gd name="connsiteX0" fmla="*/ 1323583 w 6719761"/>
              <a:gd name="connsiteY0" fmla="*/ 672 h 7622690"/>
              <a:gd name="connsiteX1" fmla="*/ 5685020 w 6719761"/>
              <a:gd name="connsiteY1" fmla="*/ 0 h 7622690"/>
              <a:gd name="connsiteX2" fmla="*/ 6719761 w 6719761"/>
              <a:gd name="connsiteY2" fmla="*/ 1319947 h 7622690"/>
              <a:gd name="connsiteX3" fmla="*/ 6704365 w 6719761"/>
              <a:gd name="connsiteY3" fmla="*/ 6672198 h 7622690"/>
              <a:gd name="connsiteX4" fmla="*/ 2139330 w 6719761"/>
              <a:gd name="connsiteY4" fmla="*/ 7594960 h 7622690"/>
              <a:gd name="connsiteX5" fmla="*/ 0 w 6719761"/>
              <a:gd name="connsiteY5" fmla="*/ 7622690 h 7622690"/>
              <a:gd name="connsiteX6" fmla="*/ 1323583 w 6719761"/>
              <a:gd name="connsiteY6" fmla="*/ 672 h 762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761" h="7622690">
                <a:moveTo>
                  <a:pt x="1323583" y="672"/>
                </a:moveTo>
                <a:lnTo>
                  <a:pt x="5685020" y="0"/>
                </a:lnTo>
                <a:lnTo>
                  <a:pt x="6719761" y="1319947"/>
                </a:lnTo>
                <a:lnTo>
                  <a:pt x="6704365" y="6672198"/>
                </a:lnTo>
                <a:lnTo>
                  <a:pt x="2139330" y="7594960"/>
                </a:lnTo>
                <a:cubicBezTo>
                  <a:pt x="2164402" y="7592716"/>
                  <a:pt x="1126691" y="7616519"/>
                  <a:pt x="0" y="7622690"/>
                </a:cubicBezTo>
                <a:lnTo>
                  <a:pt x="1323583" y="672"/>
                </a:lnTo>
                <a:close/>
              </a:path>
            </a:pathLst>
          </a:custGeom>
        </p:spPr>
        <p:txBody>
          <a:bodyPr/>
          <a:lstStyle/>
          <a:p>
            <a:r>
              <a:rPr lang="fi-FI"/>
              <a:t>Lisää kuva napsauttamalla kuvaketta</a:t>
            </a:r>
            <a:endParaRPr lang="en-FI"/>
          </a:p>
        </p:txBody>
      </p:sp>
      <p:sp>
        <p:nvSpPr>
          <p:cNvPr id="12" name="Title Placeholder 1">
            <a:extLst>
              <a:ext uri="{FF2B5EF4-FFF2-40B4-BE49-F238E27FC236}">
                <a16:creationId xmlns:a16="http://schemas.microsoft.com/office/drawing/2014/main" id="{BBC48ACE-9E4E-C9C3-6C9E-B0B9B7265109}"/>
              </a:ext>
            </a:extLst>
          </p:cNvPr>
          <p:cNvSpPr>
            <a:spLocks noGrp="1"/>
          </p:cNvSpPr>
          <p:nvPr>
            <p:ph type="title"/>
          </p:nvPr>
        </p:nvSpPr>
        <p:spPr>
          <a:xfrm>
            <a:off x="838200" y="604219"/>
            <a:ext cx="5084980" cy="1325563"/>
          </a:xfrm>
          <a:prstGeom prst="rect">
            <a:avLst/>
          </a:prstGeom>
        </p:spPr>
        <p:txBody>
          <a:bodyPr vert="horz" lIns="90000" tIns="45720" rIns="91440" bIns="45720" rtlCol="0" anchor="t" anchorCtr="0">
            <a:noAutofit/>
          </a:bodyPr>
          <a:lstStyle>
            <a:lvl1pPr>
              <a:defRPr sz="4400" b="1">
                <a:solidFill>
                  <a:srgbClr val="152B96"/>
                </a:solidFill>
              </a:defRPr>
            </a:lvl1pPr>
          </a:lstStyle>
          <a:p>
            <a:r>
              <a:rPr lang="fi-FI"/>
              <a:t>Muokkaa ots. perustyyl. napsautt.</a:t>
            </a:r>
            <a:endParaRPr lang="en-FI"/>
          </a:p>
        </p:txBody>
      </p:sp>
      <p:sp>
        <p:nvSpPr>
          <p:cNvPr id="4" name="Päivämäärän paikkamerkki 3">
            <a:extLst>
              <a:ext uri="{FF2B5EF4-FFF2-40B4-BE49-F238E27FC236}">
                <a16:creationId xmlns:a16="http://schemas.microsoft.com/office/drawing/2014/main" id="{FBC3A534-F5A2-C153-6739-0EE5DA356E89}"/>
              </a:ext>
            </a:extLst>
          </p:cNvPr>
          <p:cNvSpPr>
            <a:spLocks noGrp="1"/>
          </p:cNvSpPr>
          <p:nvPr>
            <p:ph type="dt" sz="half" idx="12"/>
          </p:nvPr>
        </p:nvSpPr>
        <p:spPr/>
        <p:txBody>
          <a:bodyPr/>
          <a:lstStyle/>
          <a:p>
            <a:endParaRPr lang="fi-FI" dirty="0"/>
          </a:p>
        </p:txBody>
      </p:sp>
      <p:sp>
        <p:nvSpPr>
          <p:cNvPr id="5" name="Alatunnisteen paikkamerkki 4">
            <a:extLst>
              <a:ext uri="{FF2B5EF4-FFF2-40B4-BE49-F238E27FC236}">
                <a16:creationId xmlns:a16="http://schemas.microsoft.com/office/drawing/2014/main" id="{2059B25C-CA3D-1E50-C5E9-BB0EB5E17A94}"/>
              </a:ext>
            </a:extLst>
          </p:cNvPr>
          <p:cNvSpPr>
            <a:spLocks noGrp="1"/>
          </p:cNvSpPr>
          <p:nvPr>
            <p:ph type="ftr" sz="quarter" idx="13"/>
          </p:nvPr>
        </p:nvSpPr>
        <p:spPr/>
        <p:txBody>
          <a:bodyPr/>
          <a:lstStyle/>
          <a:p>
            <a:r>
              <a:rPr lang="fi-FI"/>
              <a:t>7</a:t>
            </a:r>
          </a:p>
        </p:txBody>
      </p:sp>
      <p:sp>
        <p:nvSpPr>
          <p:cNvPr id="10" name="Sisällön paikkamerkki 10">
            <a:extLst>
              <a:ext uri="{FF2B5EF4-FFF2-40B4-BE49-F238E27FC236}">
                <a16:creationId xmlns:a16="http://schemas.microsoft.com/office/drawing/2014/main" id="{0A2728DE-7BE4-A4B8-11A2-AB3C1397721B}"/>
              </a:ext>
            </a:extLst>
          </p:cNvPr>
          <p:cNvSpPr>
            <a:spLocks noGrp="1"/>
          </p:cNvSpPr>
          <p:nvPr>
            <p:ph sz="quarter" idx="14" hasCustomPrompt="1"/>
          </p:nvPr>
        </p:nvSpPr>
        <p:spPr>
          <a:xfrm>
            <a:off x="838200" y="2113935"/>
            <a:ext cx="5146366" cy="4063028"/>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2413948923"/>
      </p:ext>
    </p:extLst>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uvapaikka vasen 1">
    <p:bg>
      <p:bgPr>
        <a:solidFill>
          <a:srgbClr val="FFCC99">
            <a:alpha val="90000"/>
          </a:srgbClr>
        </a:solidFill>
        <a:effectLst/>
      </p:bgPr>
    </p:bg>
    <p:spTree>
      <p:nvGrpSpPr>
        <p:cNvPr id="1" name=""/>
        <p:cNvGrpSpPr/>
        <p:nvPr/>
      </p:nvGrpSpPr>
      <p:grpSpPr>
        <a:xfrm>
          <a:off x="0" y="0"/>
          <a:ext cx="0" cy="0"/>
          <a:chOff x="0" y="0"/>
          <a:chExt cx="0" cy="0"/>
        </a:xfrm>
      </p:grpSpPr>
      <p:sp>
        <p:nvSpPr>
          <p:cNvPr id="2" name="Puolivapaa piirto 5">
            <a:extLst>
              <a:ext uri="{FF2B5EF4-FFF2-40B4-BE49-F238E27FC236}">
                <a16:creationId xmlns:a16="http://schemas.microsoft.com/office/drawing/2014/main" id="{79BF69D4-B6EC-D8F2-BCB1-6161A2C3A40C}"/>
              </a:ext>
            </a:extLst>
          </p:cNvPr>
          <p:cNvSpPr/>
          <p:nvPr/>
        </p:nvSpPr>
        <p:spPr>
          <a:xfrm>
            <a:off x="-93993" y="22561"/>
            <a:ext cx="7149222"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 name="connsiteX0" fmla="*/ 0 w 7476565"/>
              <a:gd name="connsiteY0" fmla="*/ 5898776 h 6956612"/>
              <a:gd name="connsiteX1" fmla="*/ 409572 w 7476565"/>
              <a:gd name="connsiteY1" fmla="*/ 1833326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 name="connsiteX0" fmla="*/ 0 w 7066993"/>
              <a:gd name="connsiteY0" fmla="*/ 5984061 h 6956612"/>
              <a:gd name="connsiteX1" fmla="*/ 0 w 7066993"/>
              <a:gd name="connsiteY1" fmla="*/ 1833326 h 6956612"/>
              <a:gd name="connsiteX2" fmla="*/ 1508875 w 7066993"/>
              <a:gd name="connsiteY2" fmla="*/ 0 h 6956612"/>
              <a:gd name="connsiteX3" fmla="*/ 7066993 w 7066993"/>
              <a:gd name="connsiteY3" fmla="*/ 0 h 6956612"/>
              <a:gd name="connsiteX4" fmla="*/ 4270004 w 7066993"/>
              <a:gd name="connsiteY4" fmla="*/ 6956612 h 6956612"/>
              <a:gd name="connsiteX5" fmla="*/ 1060640 w 7066993"/>
              <a:gd name="connsiteY5" fmla="*/ 6956612 h 6956612"/>
              <a:gd name="connsiteX6" fmla="*/ 0 w 7066993"/>
              <a:gd name="connsiteY6" fmla="*/ 5984061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6993" h="6956612">
                <a:moveTo>
                  <a:pt x="0" y="5984061"/>
                </a:moveTo>
                <a:lnTo>
                  <a:pt x="0" y="1833326"/>
                </a:lnTo>
                <a:lnTo>
                  <a:pt x="1508875" y="0"/>
                </a:lnTo>
                <a:lnTo>
                  <a:pt x="7066993" y="0"/>
                </a:lnTo>
                <a:lnTo>
                  <a:pt x="4270004" y="6956612"/>
                </a:lnTo>
                <a:lnTo>
                  <a:pt x="1060640" y="6956612"/>
                </a:lnTo>
                <a:lnTo>
                  <a:pt x="0" y="5984061"/>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11FA348E-2846-7507-AD3E-DFFDC66EAB39}"/>
              </a:ext>
            </a:extLst>
          </p:cNvPr>
          <p:cNvSpPr/>
          <p:nvPr/>
        </p:nvSpPr>
        <p:spPr>
          <a:xfrm>
            <a:off x="-93993" y="0"/>
            <a:ext cx="7149222"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 name="connsiteX0" fmla="*/ 0 w 7476565"/>
              <a:gd name="connsiteY0" fmla="*/ 5898776 h 6956612"/>
              <a:gd name="connsiteX1" fmla="*/ 409572 w 7476565"/>
              <a:gd name="connsiteY1" fmla="*/ 1833326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 name="connsiteX0" fmla="*/ 0 w 7066993"/>
              <a:gd name="connsiteY0" fmla="*/ 5984061 h 6956612"/>
              <a:gd name="connsiteX1" fmla="*/ 0 w 7066993"/>
              <a:gd name="connsiteY1" fmla="*/ 1833326 h 6956612"/>
              <a:gd name="connsiteX2" fmla="*/ 1508875 w 7066993"/>
              <a:gd name="connsiteY2" fmla="*/ 0 h 6956612"/>
              <a:gd name="connsiteX3" fmla="*/ 7066993 w 7066993"/>
              <a:gd name="connsiteY3" fmla="*/ 0 h 6956612"/>
              <a:gd name="connsiteX4" fmla="*/ 4270004 w 7066993"/>
              <a:gd name="connsiteY4" fmla="*/ 6956612 h 6956612"/>
              <a:gd name="connsiteX5" fmla="*/ 1060640 w 7066993"/>
              <a:gd name="connsiteY5" fmla="*/ 6956612 h 6956612"/>
              <a:gd name="connsiteX6" fmla="*/ 0 w 7066993"/>
              <a:gd name="connsiteY6" fmla="*/ 5984061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6993" h="6956612">
                <a:moveTo>
                  <a:pt x="0" y="5984061"/>
                </a:moveTo>
                <a:lnTo>
                  <a:pt x="0" y="1833326"/>
                </a:lnTo>
                <a:lnTo>
                  <a:pt x="1508875" y="0"/>
                </a:lnTo>
                <a:lnTo>
                  <a:pt x="7066993" y="0"/>
                </a:lnTo>
                <a:lnTo>
                  <a:pt x="4270004" y="6956612"/>
                </a:lnTo>
                <a:lnTo>
                  <a:pt x="1060640" y="6956612"/>
                </a:lnTo>
                <a:lnTo>
                  <a:pt x="0" y="5984061"/>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icture Placeholder 12">
            <a:extLst>
              <a:ext uri="{FF2B5EF4-FFF2-40B4-BE49-F238E27FC236}">
                <a16:creationId xmlns:a16="http://schemas.microsoft.com/office/drawing/2014/main" id="{3EEAF4EB-BA74-1DDD-CAEF-3F76F8669AC9}"/>
              </a:ext>
            </a:extLst>
          </p:cNvPr>
          <p:cNvSpPr>
            <a:spLocks noGrp="1"/>
          </p:cNvSpPr>
          <p:nvPr>
            <p:ph type="pic" sz="quarter" idx="12"/>
          </p:nvPr>
        </p:nvSpPr>
        <p:spPr>
          <a:xfrm>
            <a:off x="-400355" y="-57150"/>
            <a:ext cx="6755854" cy="7072081"/>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494328"/>
              <a:gd name="connsiteX1" fmla="*/ 3061282 w 7287942"/>
              <a:gd name="connsiteY1" fmla="*/ 1120441 h 8494328"/>
              <a:gd name="connsiteX2" fmla="*/ 4167900 w 7287942"/>
              <a:gd name="connsiteY2" fmla="*/ 166 h 8494328"/>
              <a:gd name="connsiteX3" fmla="*/ 7287942 w 7287942"/>
              <a:gd name="connsiteY3" fmla="*/ 4364355 h 8494328"/>
              <a:gd name="connsiteX4" fmla="*/ 5916019 w 7287942"/>
              <a:gd name="connsiteY4" fmla="*/ 8463984 h 8494328"/>
              <a:gd name="connsiteX5" fmla="*/ 4344070 w 7287942"/>
              <a:gd name="connsiteY5" fmla="*/ 8494328 h 8494328"/>
              <a:gd name="connsiteX6" fmla="*/ 798 w 7287942"/>
              <a:gd name="connsiteY6" fmla="*/ 6648109 h 8494328"/>
              <a:gd name="connsiteX7" fmla="*/ 18157 w 7287942"/>
              <a:gd name="connsiteY7" fmla="*/ 4343321 h 8494328"/>
              <a:gd name="connsiteX0" fmla="*/ 18157 w 7287942"/>
              <a:gd name="connsiteY0" fmla="*/ 3222880 h 7373887"/>
              <a:gd name="connsiteX1" fmla="*/ 3061282 w 7287942"/>
              <a:gd name="connsiteY1" fmla="*/ 0 h 7373887"/>
              <a:gd name="connsiteX2" fmla="*/ 4996575 w 7287942"/>
              <a:gd name="connsiteY2" fmla="*/ 22725 h 7373887"/>
              <a:gd name="connsiteX3" fmla="*/ 7287942 w 7287942"/>
              <a:gd name="connsiteY3" fmla="*/ 3243914 h 7373887"/>
              <a:gd name="connsiteX4" fmla="*/ 5916019 w 7287942"/>
              <a:gd name="connsiteY4" fmla="*/ 7343543 h 7373887"/>
              <a:gd name="connsiteX5" fmla="*/ 4344070 w 7287942"/>
              <a:gd name="connsiteY5" fmla="*/ 7373887 h 7373887"/>
              <a:gd name="connsiteX6" fmla="*/ 798 w 7287942"/>
              <a:gd name="connsiteY6" fmla="*/ 5527668 h 7373887"/>
              <a:gd name="connsiteX7" fmla="*/ 18157 w 7287942"/>
              <a:gd name="connsiteY7" fmla="*/ 3222880 h 7373887"/>
              <a:gd name="connsiteX0" fmla="*/ 531742 w 7287177"/>
              <a:gd name="connsiteY0" fmla="*/ 2694242 h 7373887"/>
              <a:gd name="connsiteX1" fmla="*/ 3060517 w 7287177"/>
              <a:gd name="connsiteY1" fmla="*/ 0 h 7373887"/>
              <a:gd name="connsiteX2" fmla="*/ 4995810 w 7287177"/>
              <a:gd name="connsiteY2" fmla="*/ 22725 h 7373887"/>
              <a:gd name="connsiteX3" fmla="*/ 7287177 w 7287177"/>
              <a:gd name="connsiteY3" fmla="*/ 3243914 h 7373887"/>
              <a:gd name="connsiteX4" fmla="*/ 5915254 w 7287177"/>
              <a:gd name="connsiteY4" fmla="*/ 7343543 h 7373887"/>
              <a:gd name="connsiteX5" fmla="*/ 4343305 w 7287177"/>
              <a:gd name="connsiteY5" fmla="*/ 7373887 h 7373887"/>
              <a:gd name="connsiteX6" fmla="*/ 33 w 7287177"/>
              <a:gd name="connsiteY6" fmla="*/ 5527668 h 7373887"/>
              <a:gd name="connsiteX7" fmla="*/ 531742 w 7287177"/>
              <a:gd name="connsiteY7" fmla="*/ 2694242 h 7373887"/>
              <a:gd name="connsiteX0" fmla="*/ 419 w 6755854"/>
              <a:gd name="connsiteY0" fmla="*/ 2694242 h 7373887"/>
              <a:gd name="connsiteX1" fmla="*/ 2529194 w 6755854"/>
              <a:gd name="connsiteY1" fmla="*/ 0 h 7373887"/>
              <a:gd name="connsiteX2" fmla="*/ 4464487 w 6755854"/>
              <a:gd name="connsiteY2" fmla="*/ 22725 h 7373887"/>
              <a:gd name="connsiteX3" fmla="*/ 6755854 w 6755854"/>
              <a:gd name="connsiteY3" fmla="*/ 3243914 h 7373887"/>
              <a:gd name="connsiteX4" fmla="*/ 5383931 w 6755854"/>
              <a:gd name="connsiteY4" fmla="*/ 7343543 h 7373887"/>
              <a:gd name="connsiteX5" fmla="*/ 3811982 w 6755854"/>
              <a:gd name="connsiteY5" fmla="*/ 7373887 h 7373887"/>
              <a:gd name="connsiteX6" fmla="*/ 25922 w 6755854"/>
              <a:gd name="connsiteY6" fmla="*/ 5770556 h 7373887"/>
              <a:gd name="connsiteX7" fmla="*/ 419 w 6755854"/>
              <a:gd name="connsiteY7" fmla="*/ 2694242 h 7373887"/>
              <a:gd name="connsiteX0" fmla="*/ 419 w 6755854"/>
              <a:gd name="connsiteY0" fmla="*/ 2694242 h 7343543"/>
              <a:gd name="connsiteX1" fmla="*/ 2529194 w 6755854"/>
              <a:gd name="connsiteY1" fmla="*/ 0 h 7343543"/>
              <a:gd name="connsiteX2" fmla="*/ 4464487 w 6755854"/>
              <a:gd name="connsiteY2" fmla="*/ 22725 h 7343543"/>
              <a:gd name="connsiteX3" fmla="*/ 6755854 w 6755854"/>
              <a:gd name="connsiteY3" fmla="*/ 3243914 h 7343543"/>
              <a:gd name="connsiteX4" fmla="*/ 5383931 w 6755854"/>
              <a:gd name="connsiteY4" fmla="*/ 7343543 h 7343543"/>
              <a:gd name="connsiteX5" fmla="*/ 3026169 w 6755854"/>
              <a:gd name="connsiteY5" fmla="*/ 7059562 h 7343543"/>
              <a:gd name="connsiteX6" fmla="*/ 25922 w 6755854"/>
              <a:gd name="connsiteY6" fmla="*/ 5770556 h 7343543"/>
              <a:gd name="connsiteX7" fmla="*/ 419 w 6755854"/>
              <a:gd name="connsiteY7" fmla="*/ 2694242 h 7343543"/>
              <a:gd name="connsiteX0" fmla="*/ 419 w 6755854"/>
              <a:gd name="connsiteY0" fmla="*/ 2694242 h 7072081"/>
              <a:gd name="connsiteX1" fmla="*/ 2529194 w 6755854"/>
              <a:gd name="connsiteY1" fmla="*/ 0 h 7072081"/>
              <a:gd name="connsiteX2" fmla="*/ 4464487 w 6755854"/>
              <a:gd name="connsiteY2" fmla="*/ 22725 h 7072081"/>
              <a:gd name="connsiteX3" fmla="*/ 6755854 w 6755854"/>
              <a:gd name="connsiteY3" fmla="*/ 3243914 h 7072081"/>
              <a:gd name="connsiteX4" fmla="*/ 5469656 w 6755854"/>
              <a:gd name="connsiteY4" fmla="*/ 7072081 h 7072081"/>
              <a:gd name="connsiteX5" fmla="*/ 3026169 w 6755854"/>
              <a:gd name="connsiteY5" fmla="*/ 7059562 h 7072081"/>
              <a:gd name="connsiteX6" fmla="*/ 25922 w 6755854"/>
              <a:gd name="connsiteY6" fmla="*/ 5770556 h 7072081"/>
              <a:gd name="connsiteX7" fmla="*/ 419 w 6755854"/>
              <a:gd name="connsiteY7" fmla="*/ 2694242 h 707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854" h="7072081">
                <a:moveTo>
                  <a:pt x="419" y="2694242"/>
                </a:moveTo>
                <a:lnTo>
                  <a:pt x="2529194" y="0"/>
                </a:lnTo>
                <a:lnTo>
                  <a:pt x="4464487" y="22725"/>
                </a:lnTo>
                <a:cubicBezTo>
                  <a:pt x="4464365" y="-8618"/>
                  <a:pt x="6732529" y="3263533"/>
                  <a:pt x="6755854" y="3243914"/>
                </a:cubicBezTo>
                <a:lnTo>
                  <a:pt x="5469656" y="7072081"/>
                </a:lnTo>
                <a:lnTo>
                  <a:pt x="3026169" y="7059562"/>
                </a:lnTo>
                <a:lnTo>
                  <a:pt x="25922" y="5770556"/>
                </a:lnTo>
                <a:cubicBezTo>
                  <a:pt x="21121" y="5793748"/>
                  <a:pt x="-3489" y="3925084"/>
                  <a:pt x="419" y="2694242"/>
                </a:cubicBezTo>
                <a:close/>
              </a:path>
            </a:pathLst>
          </a:custGeom>
        </p:spPr>
        <p:txBody>
          <a:bodyPr/>
          <a:lstStyle/>
          <a:p>
            <a:r>
              <a:rPr lang="fi-FI"/>
              <a:t>Lisää kuva napsauttamalla kuvaketta</a:t>
            </a:r>
            <a:endParaRPr lang="en-FI"/>
          </a:p>
        </p:txBody>
      </p:sp>
      <p:sp>
        <p:nvSpPr>
          <p:cNvPr id="3" name="Title 1">
            <a:extLst>
              <a:ext uri="{FF2B5EF4-FFF2-40B4-BE49-F238E27FC236}">
                <a16:creationId xmlns:a16="http://schemas.microsoft.com/office/drawing/2014/main" id="{08955AF3-BE86-1349-DB74-84C5058EB850}"/>
              </a:ext>
            </a:extLst>
          </p:cNvPr>
          <p:cNvSpPr>
            <a:spLocks noGrp="1"/>
          </p:cNvSpPr>
          <p:nvPr>
            <p:ph type="title"/>
          </p:nvPr>
        </p:nvSpPr>
        <p:spPr>
          <a:xfrm>
            <a:off x="6779611" y="1371600"/>
            <a:ext cx="4984926" cy="1967603"/>
          </a:xfrm>
        </p:spPr>
        <p:txBody>
          <a:bodyPr anchor="b" anchorCtr="0">
            <a:noAutofit/>
          </a:bodyPr>
          <a:lstStyle>
            <a:lvl1pPr>
              <a:lnSpc>
                <a:spcPct val="100000"/>
              </a:lnSpc>
              <a:defRPr b="1" i="0">
                <a:solidFill>
                  <a:srgbClr val="450098"/>
                </a:solidFill>
                <a:latin typeface="Poppins" pitchFamily="2" charset="77"/>
                <a:cs typeface="Poppins" pitchFamily="2" charset="77"/>
              </a:defRPr>
            </a:lvl1pPr>
          </a:lstStyle>
          <a:p>
            <a:r>
              <a:rPr lang="fi-FI"/>
              <a:t>Muokkaa ots. perustyyl. napsautt.</a:t>
            </a:r>
          </a:p>
        </p:txBody>
      </p:sp>
      <p:sp>
        <p:nvSpPr>
          <p:cNvPr id="12" name="Alatunnisteen paikkamerkki 11">
            <a:extLst>
              <a:ext uri="{FF2B5EF4-FFF2-40B4-BE49-F238E27FC236}">
                <a16:creationId xmlns:a16="http://schemas.microsoft.com/office/drawing/2014/main" id="{6ED80374-0156-F94B-360E-CA811C97EE7C}"/>
              </a:ext>
            </a:extLst>
          </p:cNvPr>
          <p:cNvSpPr>
            <a:spLocks noGrp="1"/>
          </p:cNvSpPr>
          <p:nvPr>
            <p:ph type="ftr" sz="quarter" idx="14"/>
          </p:nvPr>
        </p:nvSpPr>
        <p:spPr/>
        <p:txBody>
          <a:bodyPr/>
          <a:lstStyle/>
          <a:p>
            <a:r>
              <a:rPr lang="fi-FI"/>
              <a:t>7</a:t>
            </a:r>
          </a:p>
        </p:txBody>
      </p:sp>
      <p:sp>
        <p:nvSpPr>
          <p:cNvPr id="13" name="Sisällön paikkamerkki 10">
            <a:extLst>
              <a:ext uri="{FF2B5EF4-FFF2-40B4-BE49-F238E27FC236}">
                <a16:creationId xmlns:a16="http://schemas.microsoft.com/office/drawing/2014/main" id="{840C15E1-10A9-11FC-3EC6-CA8F5BBE6A5B}"/>
              </a:ext>
            </a:extLst>
          </p:cNvPr>
          <p:cNvSpPr>
            <a:spLocks noGrp="1"/>
          </p:cNvSpPr>
          <p:nvPr>
            <p:ph sz="quarter" idx="15" hasCustomPrompt="1"/>
          </p:nvPr>
        </p:nvSpPr>
        <p:spPr>
          <a:xfrm>
            <a:off x="6779610" y="3518797"/>
            <a:ext cx="4984926" cy="265816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8" name="Graphic 18">
            <a:extLst>
              <a:ext uri="{FF2B5EF4-FFF2-40B4-BE49-F238E27FC236}">
                <a16:creationId xmlns:a16="http://schemas.microsoft.com/office/drawing/2014/main" id="{04270BB0-2E00-B559-06B8-2B9777BDC0A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274012" y="442529"/>
            <a:ext cx="1459367" cy="321133"/>
          </a:xfrm>
          <a:prstGeom prst="rect">
            <a:avLst/>
          </a:prstGeom>
        </p:spPr>
      </p:pic>
    </p:spTree>
    <p:extLst>
      <p:ext uri="{BB962C8B-B14F-4D97-AF65-F5344CB8AC3E}">
        <p14:creationId xmlns:p14="http://schemas.microsoft.com/office/powerpoint/2010/main" val="3368586923"/>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Kuvapaikka vasen 2">
    <p:bg>
      <p:bgPr>
        <a:solidFill>
          <a:srgbClr val="B8CDFF">
            <a:alpha val="90000"/>
          </a:srgbClr>
        </a:solidFill>
        <a:effectLst/>
      </p:bgPr>
    </p:bg>
    <p:spTree>
      <p:nvGrpSpPr>
        <p:cNvPr id="1" name=""/>
        <p:cNvGrpSpPr/>
        <p:nvPr/>
      </p:nvGrpSpPr>
      <p:grpSpPr>
        <a:xfrm>
          <a:off x="0" y="0"/>
          <a:ext cx="0" cy="0"/>
          <a:chOff x="0" y="0"/>
          <a:chExt cx="0" cy="0"/>
        </a:xfrm>
      </p:grpSpPr>
      <p:sp>
        <p:nvSpPr>
          <p:cNvPr id="4" name="Puolivapaa piirto 5">
            <a:extLst>
              <a:ext uri="{FF2B5EF4-FFF2-40B4-BE49-F238E27FC236}">
                <a16:creationId xmlns:a16="http://schemas.microsoft.com/office/drawing/2014/main" id="{5855D901-117F-507D-26BD-CE4FA139FF38}"/>
              </a:ext>
            </a:extLst>
          </p:cNvPr>
          <p:cNvSpPr/>
          <p:nvPr/>
        </p:nvSpPr>
        <p:spPr>
          <a:xfrm>
            <a:off x="-508331" y="0"/>
            <a:ext cx="7563560"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6565" h="6956612">
                <a:moveTo>
                  <a:pt x="0" y="5898776"/>
                </a:moveTo>
                <a:lnTo>
                  <a:pt x="0" y="2330823"/>
                </a:lnTo>
                <a:lnTo>
                  <a:pt x="1918447" y="0"/>
                </a:lnTo>
                <a:lnTo>
                  <a:pt x="7476565" y="0"/>
                </a:lnTo>
                <a:lnTo>
                  <a:pt x="4679576" y="6956612"/>
                </a:lnTo>
                <a:lnTo>
                  <a:pt x="1470212" y="6956612"/>
                </a:lnTo>
                <a:lnTo>
                  <a:pt x="0" y="5898776"/>
                </a:lnTo>
                <a:close/>
              </a:path>
            </a:pathLst>
          </a:cu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11FA348E-2846-7507-AD3E-DFFDC66EAB39}"/>
              </a:ext>
            </a:extLst>
          </p:cNvPr>
          <p:cNvSpPr/>
          <p:nvPr/>
        </p:nvSpPr>
        <p:spPr>
          <a:xfrm>
            <a:off x="-508331" y="0"/>
            <a:ext cx="7563560"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6565" h="6956612">
                <a:moveTo>
                  <a:pt x="0" y="5898776"/>
                </a:moveTo>
                <a:lnTo>
                  <a:pt x="0" y="2330823"/>
                </a:lnTo>
                <a:lnTo>
                  <a:pt x="1918447" y="0"/>
                </a:lnTo>
                <a:lnTo>
                  <a:pt x="7476565" y="0"/>
                </a:lnTo>
                <a:lnTo>
                  <a:pt x="4679576" y="6956612"/>
                </a:lnTo>
                <a:lnTo>
                  <a:pt x="1470212" y="6956612"/>
                </a:lnTo>
                <a:lnTo>
                  <a:pt x="0" y="5898776"/>
                </a:lnTo>
                <a:close/>
              </a:path>
            </a:pathLst>
          </a:cu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icture Placeholder 12">
            <a:extLst>
              <a:ext uri="{FF2B5EF4-FFF2-40B4-BE49-F238E27FC236}">
                <a16:creationId xmlns:a16="http://schemas.microsoft.com/office/drawing/2014/main" id="{3EEAF4EB-BA74-1DDD-CAEF-3F76F8669AC9}"/>
              </a:ext>
            </a:extLst>
          </p:cNvPr>
          <p:cNvSpPr>
            <a:spLocks noGrp="1"/>
          </p:cNvSpPr>
          <p:nvPr>
            <p:ph type="pic" sz="quarter" idx="12"/>
          </p:nvPr>
        </p:nvSpPr>
        <p:spPr>
          <a:xfrm>
            <a:off x="-932444" y="-1177591"/>
            <a:ext cx="7287942" cy="8494328"/>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7942" h="8494328">
                <a:moveTo>
                  <a:pt x="18157" y="4343321"/>
                </a:moveTo>
                <a:lnTo>
                  <a:pt x="4167900" y="166"/>
                </a:lnTo>
                <a:cubicBezTo>
                  <a:pt x="4167778" y="-31177"/>
                  <a:pt x="7264617" y="4383974"/>
                  <a:pt x="7287942" y="4364355"/>
                </a:cubicBezTo>
                <a:lnTo>
                  <a:pt x="5916019" y="8463984"/>
                </a:lnTo>
                <a:lnTo>
                  <a:pt x="4344070" y="8494328"/>
                </a:lnTo>
                <a:lnTo>
                  <a:pt x="798" y="6648109"/>
                </a:lnTo>
                <a:cubicBezTo>
                  <a:pt x="-4003" y="6671301"/>
                  <a:pt x="14249" y="5574163"/>
                  <a:pt x="18157" y="4343321"/>
                </a:cubicBezTo>
                <a:close/>
              </a:path>
            </a:pathLst>
          </a:custGeom>
        </p:spPr>
        <p:txBody>
          <a:bodyPr/>
          <a:lstStyle/>
          <a:p>
            <a:r>
              <a:rPr lang="fi-FI"/>
              <a:t>Lisää kuva napsauttamalla kuvaketta</a:t>
            </a:r>
            <a:endParaRPr lang="en-FI"/>
          </a:p>
        </p:txBody>
      </p:sp>
      <p:sp>
        <p:nvSpPr>
          <p:cNvPr id="3" name="Title 1">
            <a:extLst>
              <a:ext uri="{FF2B5EF4-FFF2-40B4-BE49-F238E27FC236}">
                <a16:creationId xmlns:a16="http://schemas.microsoft.com/office/drawing/2014/main" id="{08955AF3-BE86-1349-DB74-84C5058EB850}"/>
              </a:ext>
            </a:extLst>
          </p:cNvPr>
          <p:cNvSpPr>
            <a:spLocks noGrp="1"/>
          </p:cNvSpPr>
          <p:nvPr>
            <p:ph type="title"/>
          </p:nvPr>
        </p:nvSpPr>
        <p:spPr>
          <a:xfrm>
            <a:off x="6779611" y="1371600"/>
            <a:ext cx="4984926" cy="1967603"/>
          </a:xfrm>
        </p:spPr>
        <p:txBody>
          <a:bodyPr anchor="b" anchorCtr="0">
            <a:noAutofit/>
          </a:bodyPr>
          <a:lstStyle>
            <a:lvl1pPr>
              <a:lnSpc>
                <a:spcPct val="100000"/>
              </a:lnSpc>
              <a:defRPr b="1" i="0">
                <a:solidFill>
                  <a:srgbClr val="152A96"/>
                </a:solidFill>
                <a:latin typeface="Poppins" pitchFamily="2" charset="77"/>
                <a:cs typeface="Poppins" pitchFamily="2" charset="77"/>
              </a:defRPr>
            </a:lvl1pPr>
          </a:lstStyle>
          <a:p>
            <a:r>
              <a:rPr lang="fi-FI"/>
              <a:t>Muokkaa ots. perustyyl. napsautt.</a:t>
            </a:r>
          </a:p>
        </p:txBody>
      </p:sp>
      <p:sp>
        <p:nvSpPr>
          <p:cNvPr id="12" name="Alatunnisteen paikkamerkki 11">
            <a:extLst>
              <a:ext uri="{FF2B5EF4-FFF2-40B4-BE49-F238E27FC236}">
                <a16:creationId xmlns:a16="http://schemas.microsoft.com/office/drawing/2014/main" id="{6ED80374-0156-F94B-360E-CA811C97EE7C}"/>
              </a:ext>
            </a:extLst>
          </p:cNvPr>
          <p:cNvSpPr>
            <a:spLocks noGrp="1"/>
          </p:cNvSpPr>
          <p:nvPr>
            <p:ph type="ftr" sz="quarter" idx="14"/>
          </p:nvPr>
        </p:nvSpPr>
        <p:spPr/>
        <p:txBody>
          <a:bodyPr/>
          <a:lstStyle/>
          <a:p>
            <a:r>
              <a:rPr lang="fi-FI"/>
              <a:t>7</a:t>
            </a:r>
          </a:p>
        </p:txBody>
      </p:sp>
      <p:sp>
        <p:nvSpPr>
          <p:cNvPr id="8" name="Sisällön paikkamerkki 10">
            <a:extLst>
              <a:ext uri="{FF2B5EF4-FFF2-40B4-BE49-F238E27FC236}">
                <a16:creationId xmlns:a16="http://schemas.microsoft.com/office/drawing/2014/main" id="{C6728BEE-F334-77EE-23AB-A997781B007D}"/>
              </a:ext>
            </a:extLst>
          </p:cNvPr>
          <p:cNvSpPr>
            <a:spLocks noGrp="1"/>
          </p:cNvSpPr>
          <p:nvPr>
            <p:ph sz="quarter" idx="15" hasCustomPrompt="1"/>
          </p:nvPr>
        </p:nvSpPr>
        <p:spPr>
          <a:xfrm>
            <a:off x="6779610" y="3518797"/>
            <a:ext cx="4984926" cy="265816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2" name="Graphic 18">
            <a:extLst>
              <a:ext uri="{FF2B5EF4-FFF2-40B4-BE49-F238E27FC236}">
                <a16:creationId xmlns:a16="http://schemas.microsoft.com/office/drawing/2014/main" id="{904B12A9-D756-9B5E-4EBC-60A51103D3A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274012" y="442529"/>
            <a:ext cx="1459367" cy="321133"/>
          </a:xfrm>
          <a:prstGeom prst="rect">
            <a:avLst/>
          </a:prstGeom>
        </p:spPr>
      </p:pic>
    </p:spTree>
    <p:extLst>
      <p:ext uri="{BB962C8B-B14F-4D97-AF65-F5344CB8AC3E}">
        <p14:creationId xmlns:p14="http://schemas.microsoft.com/office/powerpoint/2010/main" val="2475534856"/>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Kuvapaikka vasen 3">
    <p:bg>
      <p:bgPr>
        <a:solidFill>
          <a:srgbClr val="F3AFDE">
            <a:alpha val="90000"/>
          </a:srgbClr>
        </a:solidFill>
        <a:effectLst/>
      </p:bgPr>
    </p:bg>
    <p:spTree>
      <p:nvGrpSpPr>
        <p:cNvPr id="1" name=""/>
        <p:cNvGrpSpPr/>
        <p:nvPr/>
      </p:nvGrpSpPr>
      <p:grpSpPr>
        <a:xfrm>
          <a:off x="0" y="0"/>
          <a:ext cx="0" cy="0"/>
          <a:chOff x="0" y="0"/>
          <a:chExt cx="0" cy="0"/>
        </a:xfrm>
      </p:grpSpPr>
      <p:sp>
        <p:nvSpPr>
          <p:cNvPr id="4" name="Puolivapaa piirto 5">
            <a:extLst>
              <a:ext uri="{FF2B5EF4-FFF2-40B4-BE49-F238E27FC236}">
                <a16:creationId xmlns:a16="http://schemas.microsoft.com/office/drawing/2014/main" id="{7AFDA5A2-AA59-3CFB-D189-7C27472BAF33}"/>
              </a:ext>
            </a:extLst>
          </p:cNvPr>
          <p:cNvSpPr/>
          <p:nvPr/>
        </p:nvSpPr>
        <p:spPr>
          <a:xfrm>
            <a:off x="-508331" y="0"/>
            <a:ext cx="7563560"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6565" h="6956612">
                <a:moveTo>
                  <a:pt x="0" y="5898776"/>
                </a:moveTo>
                <a:lnTo>
                  <a:pt x="0" y="2330823"/>
                </a:lnTo>
                <a:lnTo>
                  <a:pt x="1918447" y="0"/>
                </a:lnTo>
                <a:lnTo>
                  <a:pt x="7476565" y="0"/>
                </a:lnTo>
                <a:lnTo>
                  <a:pt x="4679576" y="6956612"/>
                </a:lnTo>
                <a:lnTo>
                  <a:pt x="1470212" y="6956612"/>
                </a:lnTo>
                <a:lnTo>
                  <a:pt x="0" y="5898776"/>
                </a:lnTo>
                <a:close/>
              </a:path>
            </a:pathLst>
          </a:cu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11FA348E-2846-7507-AD3E-DFFDC66EAB39}"/>
              </a:ext>
            </a:extLst>
          </p:cNvPr>
          <p:cNvSpPr/>
          <p:nvPr/>
        </p:nvSpPr>
        <p:spPr>
          <a:xfrm>
            <a:off x="-508331" y="0"/>
            <a:ext cx="7563560"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6565" h="6956612">
                <a:moveTo>
                  <a:pt x="0" y="5898776"/>
                </a:moveTo>
                <a:lnTo>
                  <a:pt x="0" y="2330823"/>
                </a:lnTo>
                <a:lnTo>
                  <a:pt x="1918447" y="0"/>
                </a:lnTo>
                <a:lnTo>
                  <a:pt x="7476565" y="0"/>
                </a:lnTo>
                <a:lnTo>
                  <a:pt x="4679576" y="6956612"/>
                </a:lnTo>
                <a:lnTo>
                  <a:pt x="1470212" y="6956612"/>
                </a:lnTo>
                <a:lnTo>
                  <a:pt x="0" y="5898776"/>
                </a:lnTo>
                <a:close/>
              </a:path>
            </a:pathLst>
          </a:cu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icture Placeholder 12">
            <a:extLst>
              <a:ext uri="{FF2B5EF4-FFF2-40B4-BE49-F238E27FC236}">
                <a16:creationId xmlns:a16="http://schemas.microsoft.com/office/drawing/2014/main" id="{3EEAF4EB-BA74-1DDD-CAEF-3F76F8669AC9}"/>
              </a:ext>
            </a:extLst>
          </p:cNvPr>
          <p:cNvSpPr>
            <a:spLocks noGrp="1"/>
          </p:cNvSpPr>
          <p:nvPr>
            <p:ph type="pic" sz="quarter" idx="12"/>
          </p:nvPr>
        </p:nvSpPr>
        <p:spPr>
          <a:xfrm>
            <a:off x="-932444" y="-1177591"/>
            <a:ext cx="7287942" cy="8494328"/>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7942" h="8494328">
                <a:moveTo>
                  <a:pt x="18157" y="4343321"/>
                </a:moveTo>
                <a:lnTo>
                  <a:pt x="4167900" y="166"/>
                </a:lnTo>
                <a:cubicBezTo>
                  <a:pt x="4167778" y="-31177"/>
                  <a:pt x="7264617" y="4383974"/>
                  <a:pt x="7287942" y="4364355"/>
                </a:cubicBezTo>
                <a:lnTo>
                  <a:pt x="5916019" y="8463984"/>
                </a:lnTo>
                <a:lnTo>
                  <a:pt x="4344070" y="8494328"/>
                </a:lnTo>
                <a:lnTo>
                  <a:pt x="798" y="6648109"/>
                </a:lnTo>
                <a:cubicBezTo>
                  <a:pt x="-4003" y="6671301"/>
                  <a:pt x="14249" y="5574163"/>
                  <a:pt x="18157" y="4343321"/>
                </a:cubicBezTo>
                <a:close/>
              </a:path>
            </a:pathLst>
          </a:custGeom>
        </p:spPr>
        <p:txBody>
          <a:bodyPr/>
          <a:lstStyle/>
          <a:p>
            <a:r>
              <a:rPr lang="fi-FI"/>
              <a:t>Lisää kuva napsauttamalla kuvaketta</a:t>
            </a:r>
            <a:endParaRPr lang="en-FI"/>
          </a:p>
        </p:txBody>
      </p:sp>
      <p:sp>
        <p:nvSpPr>
          <p:cNvPr id="3" name="Title 1">
            <a:extLst>
              <a:ext uri="{FF2B5EF4-FFF2-40B4-BE49-F238E27FC236}">
                <a16:creationId xmlns:a16="http://schemas.microsoft.com/office/drawing/2014/main" id="{08955AF3-BE86-1349-DB74-84C5058EB850}"/>
              </a:ext>
            </a:extLst>
          </p:cNvPr>
          <p:cNvSpPr>
            <a:spLocks noGrp="1"/>
          </p:cNvSpPr>
          <p:nvPr>
            <p:ph type="title"/>
          </p:nvPr>
        </p:nvSpPr>
        <p:spPr>
          <a:xfrm>
            <a:off x="6779611" y="1371600"/>
            <a:ext cx="4984926" cy="1967603"/>
          </a:xfrm>
        </p:spPr>
        <p:txBody>
          <a:bodyPr anchor="b" anchorCtr="0">
            <a:noAutofit/>
          </a:bodyPr>
          <a:lstStyle>
            <a:lvl1pPr>
              <a:lnSpc>
                <a:spcPct val="100000"/>
              </a:lnSpc>
              <a:defRPr b="1" i="0">
                <a:solidFill>
                  <a:srgbClr val="152A96"/>
                </a:solidFill>
                <a:latin typeface="Poppins" pitchFamily="2" charset="77"/>
                <a:cs typeface="Poppins" pitchFamily="2" charset="77"/>
              </a:defRPr>
            </a:lvl1pPr>
          </a:lstStyle>
          <a:p>
            <a:r>
              <a:rPr lang="fi-FI"/>
              <a:t>Muokkaa ots. perustyyl. napsautt.</a:t>
            </a:r>
          </a:p>
        </p:txBody>
      </p:sp>
      <p:sp>
        <p:nvSpPr>
          <p:cNvPr id="12" name="Alatunnisteen paikkamerkki 11">
            <a:extLst>
              <a:ext uri="{FF2B5EF4-FFF2-40B4-BE49-F238E27FC236}">
                <a16:creationId xmlns:a16="http://schemas.microsoft.com/office/drawing/2014/main" id="{6ED80374-0156-F94B-360E-CA811C97EE7C}"/>
              </a:ext>
            </a:extLst>
          </p:cNvPr>
          <p:cNvSpPr>
            <a:spLocks noGrp="1"/>
          </p:cNvSpPr>
          <p:nvPr>
            <p:ph type="ftr" sz="quarter" idx="14"/>
          </p:nvPr>
        </p:nvSpPr>
        <p:spPr/>
        <p:txBody>
          <a:bodyPr/>
          <a:lstStyle/>
          <a:p>
            <a:r>
              <a:rPr lang="fi-FI"/>
              <a:t>7</a:t>
            </a:r>
          </a:p>
        </p:txBody>
      </p:sp>
      <p:sp>
        <p:nvSpPr>
          <p:cNvPr id="8" name="Sisällön paikkamerkki 10">
            <a:extLst>
              <a:ext uri="{FF2B5EF4-FFF2-40B4-BE49-F238E27FC236}">
                <a16:creationId xmlns:a16="http://schemas.microsoft.com/office/drawing/2014/main" id="{2F0893EA-3AD1-80F4-BCD9-5BFF257E7E21}"/>
              </a:ext>
            </a:extLst>
          </p:cNvPr>
          <p:cNvSpPr>
            <a:spLocks noGrp="1"/>
          </p:cNvSpPr>
          <p:nvPr>
            <p:ph sz="quarter" idx="15" hasCustomPrompt="1"/>
          </p:nvPr>
        </p:nvSpPr>
        <p:spPr>
          <a:xfrm>
            <a:off x="6779610" y="3518797"/>
            <a:ext cx="4984926" cy="265816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2" name="Graphic 18">
            <a:extLst>
              <a:ext uri="{FF2B5EF4-FFF2-40B4-BE49-F238E27FC236}">
                <a16:creationId xmlns:a16="http://schemas.microsoft.com/office/drawing/2014/main" id="{004FADEA-9983-7CF3-164E-92BAD3296A6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274012" y="442529"/>
            <a:ext cx="1459367" cy="321133"/>
          </a:xfrm>
          <a:prstGeom prst="rect">
            <a:avLst/>
          </a:prstGeom>
        </p:spPr>
      </p:pic>
    </p:spTree>
    <p:extLst>
      <p:ext uri="{BB962C8B-B14F-4D97-AF65-F5344CB8AC3E}">
        <p14:creationId xmlns:p14="http://schemas.microsoft.com/office/powerpoint/2010/main" val="3393078337"/>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Kuvapaikka vasen 4">
    <p:bg>
      <p:bgPr>
        <a:solidFill>
          <a:srgbClr val="A2E4B8">
            <a:alpha val="90000"/>
          </a:srgbClr>
        </a:solidFill>
        <a:effectLst/>
      </p:bgPr>
    </p:bg>
    <p:spTree>
      <p:nvGrpSpPr>
        <p:cNvPr id="1" name=""/>
        <p:cNvGrpSpPr/>
        <p:nvPr/>
      </p:nvGrpSpPr>
      <p:grpSpPr>
        <a:xfrm>
          <a:off x="0" y="0"/>
          <a:ext cx="0" cy="0"/>
          <a:chOff x="0" y="0"/>
          <a:chExt cx="0" cy="0"/>
        </a:xfrm>
      </p:grpSpPr>
      <p:sp>
        <p:nvSpPr>
          <p:cNvPr id="4" name="Puolivapaa piirto 5">
            <a:extLst>
              <a:ext uri="{FF2B5EF4-FFF2-40B4-BE49-F238E27FC236}">
                <a16:creationId xmlns:a16="http://schemas.microsoft.com/office/drawing/2014/main" id="{E965226B-B839-7826-AB0D-6416E97B633B}"/>
              </a:ext>
            </a:extLst>
          </p:cNvPr>
          <p:cNvSpPr/>
          <p:nvPr/>
        </p:nvSpPr>
        <p:spPr>
          <a:xfrm>
            <a:off x="-508331" y="0"/>
            <a:ext cx="7563560"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6565" h="6956612">
                <a:moveTo>
                  <a:pt x="0" y="5898776"/>
                </a:moveTo>
                <a:lnTo>
                  <a:pt x="0" y="2330823"/>
                </a:lnTo>
                <a:lnTo>
                  <a:pt x="1918447" y="0"/>
                </a:lnTo>
                <a:lnTo>
                  <a:pt x="7476565" y="0"/>
                </a:lnTo>
                <a:lnTo>
                  <a:pt x="4679576" y="6956612"/>
                </a:lnTo>
                <a:lnTo>
                  <a:pt x="1470212" y="6956612"/>
                </a:lnTo>
                <a:lnTo>
                  <a:pt x="0" y="5898776"/>
                </a:lnTo>
                <a:close/>
              </a:path>
            </a:pathLst>
          </a:cu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11FA348E-2846-7507-AD3E-DFFDC66EAB39}"/>
              </a:ext>
            </a:extLst>
          </p:cNvPr>
          <p:cNvSpPr/>
          <p:nvPr/>
        </p:nvSpPr>
        <p:spPr>
          <a:xfrm>
            <a:off x="-508331" y="0"/>
            <a:ext cx="7563560"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6565" h="6956612">
                <a:moveTo>
                  <a:pt x="0" y="5898776"/>
                </a:moveTo>
                <a:lnTo>
                  <a:pt x="0" y="2330823"/>
                </a:lnTo>
                <a:lnTo>
                  <a:pt x="1918447" y="0"/>
                </a:lnTo>
                <a:lnTo>
                  <a:pt x="7476565" y="0"/>
                </a:lnTo>
                <a:lnTo>
                  <a:pt x="4679576" y="6956612"/>
                </a:lnTo>
                <a:lnTo>
                  <a:pt x="1470212" y="6956612"/>
                </a:lnTo>
                <a:lnTo>
                  <a:pt x="0" y="5898776"/>
                </a:lnTo>
                <a:close/>
              </a:path>
            </a:pathLst>
          </a:cu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icture Placeholder 12">
            <a:extLst>
              <a:ext uri="{FF2B5EF4-FFF2-40B4-BE49-F238E27FC236}">
                <a16:creationId xmlns:a16="http://schemas.microsoft.com/office/drawing/2014/main" id="{3EEAF4EB-BA74-1DDD-CAEF-3F76F8669AC9}"/>
              </a:ext>
            </a:extLst>
          </p:cNvPr>
          <p:cNvSpPr>
            <a:spLocks noGrp="1"/>
          </p:cNvSpPr>
          <p:nvPr>
            <p:ph type="pic" sz="quarter" idx="12"/>
          </p:nvPr>
        </p:nvSpPr>
        <p:spPr>
          <a:xfrm>
            <a:off x="-932444" y="-1177591"/>
            <a:ext cx="7287942" cy="8494328"/>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7942" h="8494328">
                <a:moveTo>
                  <a:pt x="18157" y="4343321"/>
                </a:moveTo>
                <a:lnTo>
                  <a:pt x="4167900" y="166"/>
                </a:lnTo>
                <a:cubicBezTo>
                  <a:pt x="4167778" y="-31177"/>
                  <a:pt x="7264617" y="4383974"/>
                  <a:pt x="7287942" y="4364355"/>
                </a:cubicBezTo>
                <a:lnTo>
                  <a:pt x="5916019" y="8463984"/>
                </a:lnTo>
                <a:lnTo>
                  <a:pt x="4344070" y="8494328"/>
                </a:lnTo>
                <a:lnTo>
                  <a:pt x="798" y="6648109"/>
                </a:lnTo>
                <a:cubicBezTo>
                  <a:pt x="-4003" y="6671301"/>
                  <a:pt x="14249" y="5574163"/>
                  <a:pt x="18157" y="4343321"/>
                </a:cubicBezTo>
                <a:close/>
              </a:path>
            </a:pathLst>
          </a:custGeom>
        </p:spPr>
        <p:txBody>
          <a:bodyPr/>
          <a:lstStyle/>
          <a:p>
            <a:r>
              <a:rPr lang="fi-FI"/>
              <a:t>Lisää kuva napsauttamalla kuvaketta</a:t>
            </a:r>
            <a:endParaRPr lang="en-FI"/>
          </a:p>
        </p:txBody>
      </p:sp>
      <p:sp>
        <p:nvSpPr>
          <p:cNvPr id="3" name="Title 1">
            <a:extLst>
              <a:ext uri="{FF2B5EF4-FFF2-40B4-BE49-F238E27FC236}">
                <a16:creationId xmlns:a16="http://schemas.microsoft.com/office/drawing/2014/main" id="{08955AF3-BE86-1349-DB74-84C5058EB850}"/>
              </a:ext>
            </a:extLst>
          </p:cNvPr>
          <p:cNvSpPr>
            <a:spLocks noGrp="1"/>
          </p:cNvSpPr>
          <p:nvPr>
            <p:ph type="title"/>
          </p:nvPr>
        </p:nvSpPr>
        <p:spPr>
          <a:xfrm>
            <a:off x="6779611" y="1371600"/>
            <a:ext cx="4984926" cy="1967603"/>
          </a:xfrm>
        </p:spPr>
        <p:txBody>
          <a:bodyPr anchor="b" anchorCtr="0">
            <a:noAutofit/>
          </a:bodyPr>
          <a:lstStyle>
            <a:lvl1pPr>
              <a:lnSpc>
                <a:spcPct val="100000"/>
              </a:lnSpc>
              <a:defRPr b="1" i="0">
                <a:solidFill>
                  <a:srgbClr val="152A96"/>
                </a:solidFill>
                <a:latin typeface="Poppins" pitchFamily="2" charset="77"/>
                <a:cs typeface="Poppins" pitchFamily="2" charset="77"/>
              </a:defRPr>
            </a:lvl1pPr>
          </a:lstStyle>
          <a:p>
            <a:r>
              <a:rPr lang="fi-FI"/>
              <a:t>Muokkaa ots. perustyyl. napsautt.</a:t>
            </a:r>
          </a:p>
        </p:txBody>
      </p:sp>
      <p:sp>
        <p:nvSpPr>
          <p:cNvPr id="12" name="Alatunnisteen paikkamerkki 11">
            <a:extLst>
              <a:ext uri="{FF2B5EF4-FFF2-40B4-BE49-F238E27FC236}">
                <a16:creationId xmlns:a16="http://schemas.microsoft.com/office/drawing/2014/main" id="{6ED80374-0156-F94B-360E-CA811C97EE7C}"/>
              </a:ext>
            </a:extLst>
          </p:cNvPr>
          <p:cNvSpPr>
            <a:spLocks noGrp="1"/>
          </p:cNvSpPr>
          <p:nvPr>
            <p:ph type="ftr" sz="quarter" idx="14"/>
          </p:nvPr>
        </p:nvSpPr>
        <p:spPr/>
        <p:txBody>
          <a:bodyPr/>
          <a:lstStyle/>
          <a:p>
            <a:r>
              <a:rPr lang="fi-FI"/>
              <a:t>7</a:t>
            </a:r>
          </a:p>
        </p:txBody>
      </p:sp>
      <p:sp>
        <p:nvSpPr>
          <p:cNvPr id="8" name="Sisällön paikkamerkki 10">
            <a:extLst>
              <a:ext uri="{FF2B5EF4-FFF2-40B4-BE49-F238E27FC236}">
                <a16:creationId xmlns:a16="http://schemas.microsoft.com/office/drawing/2014/main" id="{2AF03DBA-9CB4-B9DA-1D36-0C08FDF40F50}"/>
              </a:ext>
            </a:extLst>
          </p:cNvPr>
          <p:cNvSpPr>
            <a:spLocks noGrp="1"/>
          </p:cNvSpPr>
          <p:nvPr>
            <p:ph sz="quarter" idx="15" hasCustomPrompt="1"/>
          </p:nvPr>
        </p:nvSpPr>
        <p:spPr>
          <a:xfrm>
            <a:off x="6779610" y="3518797"/>
            <a:ext cx="4984926" cy="265816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2" name="Graphic 18">
            <a:extLst>
              <a:ext uri="{FF2B5EF4-FFF2-40B4-BE49-F238E27FC236}">
                <a16:creationId xmlns:a16="http://schemas.microsoft.com/office/drawing/2014/main" id="{A2D26BDF-3BF0-24E8-31FA-D6C8554C03A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274012" y="442529"/>
            <a:ext cx="1459367" cy="321133"/>
          </a:xfrm>
          <a:prstGeom prst="rect">
            <a:avLst/>
          </a:prstGeom>
        </p:spPr>
      </p:pic>
    </p:spTree>
    <p:extLst>
      <p:ext uri="{BB962C8B-B14F-4D97-AF65-F5344CB8AC3E}">
        <p14:creationId xmlns:p14="http://schemas.microsoft.com/office/powerpoint/2010/main" val="2524331929"/>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Kuvapaikka vasen 5">
    <p:bg>
      <p:bgPr>
        <a:solidFill>
          <a:srgbClr val="FFFFFF"/>
        </a:solidFill>
        <a:effectLst/>
      </p:bgPr>
    </p:bg>
    <p:spTree>
      <p:nvGrpSpPr>
        <p:cNvPr id="1" name=""/>
        <p:cNvGrpSpPr/>
        <p:nvPr/>
      </p:nvGrpSpPr>
      <p:grpSpPr>
        <a:xfrm>
          <a:off x="0" y="0"/>
          <a:ext cx="0" cy="0"/>
          <a:chOff x="0" y="0"/>
          <a:chExt cx="0" cy="0"/>
        </a:xfrm>
      </p:grpSpPr>
      <p:sp>
        <p:nvSpPr>
          <p:cNvPr id="4" name="Puolivapaa piirto 1">
            <a:extLst>
              <a:ext uri="{FF2B5EF4-FFF2-40B4-BE49-F238E27FC236}">
                <a16:creationId xmlns:a16="http://schemas.microsoft.com/office/drawing/2014/main" id="{90919D08-B400-4DF3-C6A7-35C1D1398078}"/>
              </a:ext>
            </a:extLst>
          </p:cNvPr>
          <p:cNvSpPr/>
          <p:nvPr/>
        </p:nvSpPr>
        <p:spPr>
          <a:xfrm rot="20401192">
            <a:off x="-1023267" y="-721480"/>
            <a:ext cx="7136431" cy="8570963"/>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 name="connsiteX0" fmla="*/ 0 w 7476565"/>
              <a:gd name="connsiteY0" fmla="*/ 8250664 h 9308500"/>
              <a:gd name="connsiteX1" fmla="*/ 0 w 7476565"/>
              <a:gd name="connsiteY1" fmla="*/ 4682711 h 9308500"/>
              <a:gd name="connsiteX2" fmla="*/ 1977567 w 7476565"/>
              <a:gd name="connsiteY2" fmla="*/ 0 h 9308500"/>
              <a:gd name="connsiteX3" fmla="*/ 7476565 w 7476565"/>
              <a:gd name="connsiteY3" fmla="*/ 2351888 h 9308500"/>
              <a:gd name="connsiteX4" fmla="*/ 4679576 w 7476565"/>
              <a:gd name="connsiteY4" fmla="*/ 9308500 h 9308500"/>
              <a:gd name="connsiteX5" fmla="*/ 1470212 w 7476565"/>
              <a:gd name="connsiteY5" fmla="*/ 9308500 h 9308500"/>
              <a:gd name="connsiteX6" fmla="*/ 0 w 7476565"/>
              <a:gd name="connsiteY6" fmla="*/ 8250664 h 9308500"/>
              <a:gd name="connsiteX0" fmla="*/ 0 w 7508286"/>
              <a:gd name="connsiteY0" fmla="*/ 8250664 h 9308500"/>
              <a:gd name="connsiteX1" fmla="*/ 0 w 7508286"/>
              <a:gd name="connsiteY1" fmla="*/ 4682711 h 9308500"/>
              <a:gd name="connsiteX2" fmla="*/ 1977567 w 7508286"/>
              <a:gd name="connsiteY2" fmla="*/ 0 h 9308500"/>
              <a:gd name="connsiteX3" fmla="*/ 7508286 w 7508286"/>
              <a:gd name="connsiteY3" fmla="*/ 2045257 h 9308500"/>
              <a:gd name="connsiteX4" fmla="*/ 4679576 w 7508286"/>
              <a:gd name="connsiteY4" fmla="*/ 9308500 h 9308500"/>
              <a:gd name="connsiteX5" fmla="*/ 1470212 w 7508286"/>
              <a:gd name="connsiteY5" fmla="*/ 9308500 h 9308500"/>
              <a:gd name="connsiteX6" fmla="*/ 0 w 7508286"/>
              <a:gd name="connsiteY6" fmla="*/ 8250664 h 9308500"/>
              <a:gd name="connsiteX0" fmla="*/ 372269 w 7880555"/>
              <a:gd name="connsiteY0" fmla="*/ 8250664 h 9308500"/>
              <a:gd name="connsiteX1" fmla="*/ 0 w 7880555"/>
              <a:gd name="connsiteY1" fmla="*/ 6588512 h 9308500"/>
              <a:gd name="connsiteX2" fmla="*/ 2349836 w 7880555"/>
              <a:gd name="connsiteY2" fmla="*/ 0 h 9308500"/>
              <a:gd name="connsiteX3" fmla="*/ 7880555 w 7880555"/>
              <a:gd name="connsiteY3" fmla="*/ 2045257 h 9308500"/>
              <a:gd name="connsiteX4" fmla="*/ 5051845 w 7880555"/>
              <a:gd name="connsiteY4" fmla="*/ 9308500 h 9308500"/>
              <a:gd name="connsiteX5" fmla="*/ 1842481 w 7880555"/>
              <a:gd name="connsiteY5" fmla="*/ 9308500 h 9308500"/>
              <a:gd name="connsiteX6" fmla="*/ 372269 w 7880555"/>
              <a:gd name="connsiteY6" fmla="*/ 8250664 h 9308500"/>
              <a:gd name="connsiteX0" fmla="*/ 1842481 w 7880555"/>
              <a:gd name="connsiteY0" fmla="*/ 9308500 h 9308500"/>
              <a:gd name="connsiteX1" fmla="*/ 0 w 7880555"/>
              <a:gd name="connsiteY1" fmla="*/ 6588512 h 9308500"/>
              <a:gd name="connsiteX2" fmla="*/ 2349836 w 7880555"/>
              <a:gd name="connsiteY2" fmla="*/ 0 h 9308500"/>
              <a:gd name="connsiteX3" fmla="*/ 7880555 w 7880555"/>
              <a:gd name="connsiteY3" fmla="*/ 2045257 h 9308500"/>
              <a:gd name="connsiteX4" fmla="*/ 5051845 w 7880555"/>
              <a:gd name="connsiteY4" fmla="*/ 9308500 h 9308500"/>
              <a:gd name="connsiteX5" fmla="*/ 1842481 w 7880555"/>
              <a:gd name="connsiteY5" fmla="*/ 9308500 h 9308500"/>
              <a:gd name="connsiteX0" fmla="*/ 5051845 w 7880555"/>
              <a:gd name="connsiteY0" fmla="*/ 9308500 h 9308500"/>
              <a:gd name="connsiteX1" fmla="*/ 0 w 7880555"/>
              <a:gd name="connsiteY1" fmla="*/ 6588512 h 9308500"/>
              <a:gd name="connsiteX2" fmla="*/ 2349836 w 7880555"/>
              <a:gd name="connsiteY2" fmla="*/ 0 h 9308500"/>
              <a:gd name="connsiteX3" fmla="*/ 7880555 w 7880555"/>
              <a:gd name="connsiteY3" fmla="*/ 2045257 h 9308500"/>
              <a:gd name="connsiteX4" fmla="*/ 5051845 w 7880555"/>
              <a:gd name="connsiteY4" fmla="*/ 9308500 h 9308500"/>
              <a:gd name="connsiteX0" fmla="*/ 5307807 w 7880555"/>
              <a:gd name="connsiteY0" fmla="*/ 8527009 h 8527009"/>
              <a:gd name="connsiteX1" fmla="*/ 0 w 7880555"/>
              <a:gd name="connsiteY1" fmla="*/ 6588512 h 8527009"/>
              <a:gd name="connsiteX2" fmla="*/ 2349836 w 7880555"/>
              <a:gd name="connsiteY2" fmla="*/ 0 h 8527009"/>
              <a:gd name="connsiteX3" fmla="*/ 7880555 w 7880555"/>
              <a:gd name="connsiteY3" fmla="*/ 2045257 h 8527009"/>
              <a:gd name="connsiteX4" fmla="*/ 5307807 w 7880555"/>
              <a:gd name="connsiteY4" fmla="*/ 8527009 h 8527009"/>
              <a:gd name="connsiteX0" fmla="*/ 5307807 w 7054349"/>
              <a:gd name="connsiteY0" fmla="*/ 8527009 h 8527009"/>
              <a:gd name="connsiteX1" fmla="*/ 0 w 7054349"/>
              <a:gd name="connsiteY1" fmla="*/ 6588512 h 8527009"/>
              <a:gd name="connsiteX2" fmla="*/ 2349836 w 7054349"/>
              <a:gd name="connsiteY2" fmla="*/ 0 h 8527009"/>
              <a:gd name="connsiteX3" fmla="*/ 7054349 w 7054349"/>
              <a:gd name="connsiteY3" fmla="*/ 1742931 h 8527009"/>
              <a:gd name="connsiteX4" fmla="*/ 5307807 w 7054349"/>
              <a:gd name="connsiteY4" fmla="*/ 8527009 h 8527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4349" h="8527009">
                <a:moveTo>
                  <a:pt x="5307807" y="8527009"/>
                </a:moveTo>
                <a:lnTo>
                  <a:pt x="0" y="6588512"/>
                </a:lnTo>
                <a:lnTo>
                  <a:pt x="2349836" y="0"/>
                </a:lnTo>
                <a:lnTo>
                  <a:pt x="7054349" y="1742931"/>
                </a:lnTo>
                <a:lnTo>
                  <a:pt x="5307807" y="8527009"/>
                </a:lnTo>
                <a:close/>
              </a:path>
            </a:pathLst>
          </a:custGeom>
          <a:solidFill>
            <a:srgbClr val="B8CD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Puolivapaa piirto 5">
            <a:extLst>
              <a:ext uri="{FF2B5EF4-FFF2-40B4-BE49-F238E27FC236}">
                <a16:creationId xmlns:a16="http://schemas.microsoft.com/office/drawing/2014/main" id="{FF797A62-4515-56EC-0BF8-7A300C6FCA23}"/>
              </a:ext>
            </a:extLst>
          </p:cNvPr>
          <p:cNvSpPr/>
          <p:nvPr/>
        </p:nvSpPr>
        <p:spPr>
          <a:xfrm>
            <a:off x="-508331" y="0"/>
            <a:ext cx="7563560"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6565" h="6956612">
                <a:moveTo>
                  <a:pt x="0" y="5898776"/>
                </a:moveTo>
                <a:lnTo>
                  <a:pt x="0" y="2330823"/>
                </a:lnTo>
                <a:lnTo>
                  <a:pt x="1918447" y="0"/>
                </a:lnTo>
                <a:lnTo>
                  <a:pt x="7476565" y="0"/>
                </a:lnTo>
                <a:lnTo>
                  <a:pt x="4679576" y="6956612"/>
                </a:lnTo>
                <a:lnTo>
                  <a:pt x="1470212" y="6956612"/>
                </a:lnTo>
                <a:lnTo>
                  <a:pt x="0" y="5898776"/>
                </a:lnTo>
                <a:close/>
              </a:path>
            </a:pathLst>
          </a:cu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Puolivapaa piirto 1">
            <a:extLst>
              <a:ext uri="{FF2B5EF4-FFF2-40B4-BE49-F238E27FC236}">
                <a16:creationId xmlns:a16="http://schemas.microsoft.com/office/drawing/2014/main" id="{0D84CD3A-3FFB-3635-4838-1BB9D575DC52}"/>
              </a:ext>
            </a:extLst>
          </p:cNvPr>
          <p:cNvSpPr/>
          <p:nvPr/>
        </p:nvSpPr>
        <p:spPr>
          <a:xfrm rot="20401192">
            <a:off x="-1023267" y="-721480"/>
            <a:ext cx="7136431" cy="8570963"/>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 name="connsiteX0" fmla="*/ 0 w 7476565"/>
              <a:gd name="connsiteY0" fmla="*/ 8250664 h 9308500"/>
              <a:gd name="connsiteX1" fmla="*/ 0 w 7476565"/>
              <a:gd name="connsiteY1" fmla="*/ 4682711 h 9308500"/>
              <a:gd name="connsiteX2" fmla="*/ 1977567 w 7476565"/>
              <a:gd name="connsiteY2" fmla="*/ 0 h 9308500"/>
              <a:gd name="connsiteX3" fmla="*/ 7476565 w 7476565"/>
              <a:gd name="connsiteY3" fmla="*/ 2351888 h 9308500"/>
              <a:gd name="connsiteX4" fmla="*/ 4679576 w 7476565"/>
              <a:gd name="connsiteY4" fmla="*/ 9308500 h 9308500"/>
              <a:gd name="connsiteX5" fmla="*/ 1470212 w 7476565"/>
              <a:gd name="connsiteY5" fmla="*/ 9308500 h 9308500"/>
              <a:gd name="connsiteX6" fmla="*/ 0 w 7476565"/>
              <a:gd name="connsiteY6" fmla="*/ 8250664 h 9308500"/>
              <a:gd name="connsiteX0" fmla="*/ 0 w 7508286"/>
              <a:gd name="connsiteY0" fmla="*/ 8250664 h 9308500"/>
              <a:gd name="connsiteX1" fmla="*/ 0 w 7508286"/>
              <a:gd name="connsiteY1" fmla="*/ 4682711 h 9308500"/>
              <a:gd name="connsiteX2" fmla="*/ 1977567 w 7508286"/>
              <a:gd name="connsiteY2" fmla="*/ 0 h 9308500"/>
              <a:gd name="connsiteX3" fmla="*/ 7508286 w 7508286"/>
              <a:gd name="connsiteY3" fmla="*/ 2045257 h 9308500"/>
              <a:gd name="connsiteX4" fmla="*/ 4679576 w 7508286"/>
              <a:gd name="connsiteY4" fmla="*/ 9308500 h 9308500"/>
              <a:gd name="connsiteX5" fmla="*/ 1470212 w 7508286"/>
              <a:gd name="connsiteY5" fmla="*/ 9308500 h 9308500"/>
              <a:gd name="connsiteX6" fmla="*/ 0 w 7508286"/>
              <a:gd name="connsiteY6" fmla="*/ 8250664 h 9308500"/>
              <a:gd name="connsiteX0" fmla="*/ 372269 w 7880555"/>
              <a:gd name="connsiteY0" fmla="*/ 8250664 h 9308500"/>
              <a:gd name="connsiteX1" fmla="*/ 0 w 7880555"/>
              <a:gd name="connsiteY1" fmla="*/ 6588512 h 9308500"/>
              <a:gd name="connsiteX2" fmla="*/ 2349836 w 7880555"/>
              <a:gd name="connsiteY2" fmla="*/ 0 h 9308500"/>
              <a:gd name="connsiteX3" fmla="*/ 7880555 w 7880555"/>
              <a:gd name="connsiteY3" fmla="*/ 2045257 h 9308500"/>
              <a:gd name="connsiteX4" fmla="*/ 5051845 w 7880555"/>
              <a:gd name="connsiteY4" fmla="*/ 9308500 h 9308500"/>
              <a:gd name="connsiteX5" fmla="*/ 1842481 w 7880555"/>
              <a:gd name="connsiteY5" fmla="*/ 9308500 h 9308500"/>
              <a:gd name="connsiteX6" fmla="*/ 372269 w 7880555"/>
              <a:gd name="connsiteY6" fmla="*/ 8250664 h 9308500"/>
              <a:gd name="connsiteX0" fmla="*/ 1842481 w 7880555"/>
              <a:gd name="connsiteY0" fmla="*/ 9308500 h 9308500"/>
              <a:gd name="connsiteX1" fmla="*/ 0 w 7880555"/>
              <a:gd name="connsiteY1" fmla="*/ 6588512 h 9308500"/>
              <a:gd name="connsiteX2" fmla="*/ 2349836 w 7880555"/>
              <a:gd name="connsiteY2" fmla="*/ 0 h 9308500"/>
              <a:gd name="connsiteX3" fmla="*/ 7880555 w 7880555"/>
              <a:gd name="connsiteY3" fmla="*/ 2045257 h 9308500"/>
              <a:gd name="connsiteX4" fmla="*/ 5051845 w 7880555"/>
              <a:gd name="connsiteY4" fmla="*/ 9308500 h 9308500"/>
              <a:gd name="connsiteX5" fmla="*/ 1842481 w 7880555"/>
              <a:gd name="connsiteY5" fmla="*/ 9308500 h 9308500"/>
              <a:gd name="connsiteX0" fmla="*/ 5051845 w 7880555"/>
              <a:gd name="connsiteY0" fmla="*/ 9308500 h 9308500"/>
              <a:gd name="connsiteX1" fmla="*/ 0 w 7880555"/>
              <a:gd name="connsiteY1" fmla="*/ 6588512 h 9308500"/>
              <a:gd name="connsiteX2" fmla="*/ 2349836 w 7880555"/>
              <a:gd name="connsiteY2" fmla="*/ 0 h 9308500"/>
              <a:gd name="connsiteX3" fmla="*/ 7880555 w 7880555"/>
              <a:gd name="connsiteY3" fmla="*/ 2045257 h 9308500"/>
              <a:gd name="connsiteX4" fmla="*/ 5051845 w 7880555"/>
              <a:gd name="connsiteY4" fmla="*/ 9308500 h 9308500"/>
              <a:gd name="connsiteX0" fmla="*/ 5307807 w 7880555"/>
              <a:gd name="connsiteY0" fmla="*/ 8527009 h 8527009"/>
              <a:gd name="connsiteX1" fmla="*/ 0 w 7880555"/>
              <a:gd name="connsiteY1" fmla="*/ 6588512 h 8527009"/>
              <a:gd name="connsiteX2" fmla="*/ 2349836 w 7880555"/>
              <a:gd name="connsiteY2" fmla="*/ 0 h 8527009"/>
              <a:gd name="connsiteX3" fmla="*/ 7880555 w 7880555"/>
              <a:gd name="connsiteY3" fmla="*/ 2045257 h 8527009"/>
              <a:gd name="connsiteX4" fmla="*/ 5307807 w 7880555"/>
              <a:gd name="connsiteY4" fmla="*/ 8527009 h 8527009"/>
              <a:gd name="connsiteX0" fmla="*/ 5307807 w 7054349"/>
              <a:gd name="connsiteY0" fmla="*/ 8527009 h 8527009"/>
              <a:gd name="connsiteX1" fmla="*/ 0 w 7054349"/>
              <a:gd name="connsiteY1" fmla="*/ 6588512 h 8527009"/>
              <a:gd name="connsiteX2" fmla="*/ 2349836 w 7054349"/>
              <a:gd name="connsiteY2" fmla="*/ 0 h 8527009"/>
              <a:gd name="connsiteX3" fmla="*/ 7054349 w 7054349"/>
              <a:gd name="connsiteY3" fmla="*/ 1742931 h 8527009"/>
              <a:gd name="connsiteX4" fmla="*/ 5307807 w 7054349"/>
              <a:gd name="connsiteY4" fmla="*/ 8527009 h 8527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4349" h="8527009">
                <a:moveTo>
                  <a:pt x="5307807" y="8527009"/>
                </a:moveTo>
                <a:lnTo>
                  <a:pt x="0" y="6588512"/>
                </a:lnTo>
                <a:lnTo>
                  <a:pt x="2349836" y="0"/>
                </a:lnTo>
                <a:lnTo>
                  <a:pt x="7054349" y="1742931"/>
                </a:lnTo>
                <a:lnTo>
                  <a:pt x="5307807" y="8527009"/>
                </a:lnTo>
                <a:close/>
              </a:path>
            </a:pathLst>
          </a:custGeom>
          <a:solidFill>
            <a:srgbClr val="B8CD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11FA348E-2846-7507-AD3E-DFFDC66EAB39}"/>
              </a:ext>
            </a:extLst>
          </p:cNvPr>
          <p:cNvSpPr/>
          <p:nvPr/>
        </p:nvSpPr>
        <p:spPr>
          <a:xfrm>
            <a:off x="-508331" y="0"/>
            <a:ext cx="7563560" cy="6992471"/>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6565" h="6956612">
                <a:moveTo>
                  <a:pt x="0" y="5898776"/>
                </a:moveTo>
                <a:lnTo>
                  <a:pt x="0" y="2330823"/>
                </a:lnTo>
                <a:lnTo>
                  <a:pt x="1918447" y="0"/>
                </a:lnTo>
                <a:lnTo>
                  <a:pt x="7476565" y="0"/>
                </a:lnTo>
                <a:lnTo>
                  <a:pt x="4679576" y="6956612"/>
                </a:lnTo>
                <a:lnTo>
                  <a:pt x="1470212" y="6956612"/>
                </a:lnTo>
                <a:lnTo>
                  <a:pt x="0" y="5898776"/>
                </a:lnTo>
                <a:close/>
              </a:path>
            </a:pathLst>
          </a:cu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icture Placeholder 12">
            <a:extLst>
              <a:ext uri="{FF2B5EF4-FFF2-40B4-BE49-F238E27FC236}">
                <a16:creationId xmlns:a16="http://schemas.microsoft.com/office/drawing/2014/main" id="{3EEAF4EB-BA74-1DDD-CAEF-3F76F8669AC9}"/>
              </a:ext>
            </a:extLst>
          </p:cNvPr>
          <p:cNvSpPr>
            <a:spLocks noGrp="1"/>
          </p:cNvSpPr>
          <p:nvPr>
            <p:ph type="pic" sz="quarter" idx="12"/>
          </p:nvPr>
        </p:nvSpPr>
        <p:spPr>
          <a:xfrm>
            <a:off x="-932444" y="-1177591"/>
            <a:ext cx="7287942" cy="8494328"/>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7942" h="8494328">
                <a:moveTo>
                  <a:pt x="18157" y="4343321"/>
                </a:moveTo>
                <a:lnTo>
                  <a:pt x="4167900" y="166"/>
                </a:lnTo>
                <a:cubicBezTo>
                  <a:pt x="4167778" y="-31177"/>
                  <a:pt x="7264617" y="4383974"/>
                  <a:pt x="7287942" y="4364355"/>
                </a:cubicBezTo>
                <a:lnTo>
                  <a:pt x="5916019" y="8463984"/>
                </a:lnTo>
                <a:lnTo>
                  <a:pt x="4344070" y="8494328"/>
                </a:lnTo>
                <a:lnTo>
                  <a:pt x="798" y="6648109"/>
                </a:lnTo>
                <a:cubicBezTo>
                  <a:pt x="-4003" y="6671301"/>
                  <a:pt x="14249" y="5574163"/>
                  <a:pt x="18157" y="4343321"/>
                </a:cubicBezTo>
                <a:close/>
              </a:path>
            </a:pathLst>
          </a:custGeom>
        </p:spPr>
        <p:txBody>
          <a:bodyPr/>
          <a:lstStyle/>
          <a:p>
            <a:r>
              <a:rPr lang="fi-FI"/>
              <a:t>Lisää kuva napsauttamalla kuvaketta</a:t>
            </a:r>
            <a:endParaRPr lang="en-FI"/>
          </a:p>
        </p:txBody>
      </p:sp>
      <p:sp>
        <p:nvSpPr>
          <p:cNvPr id="3" name="Title 1">
            <a:extLst>
              <a:ext uri="{FF2B5EF4-FFF2-40B4-BE49-F238E27FC236}">
                <a16:creationId xmlns:a16="http://schemas.microsoft.com/office/drawing/2014/main" id="{08955AF3-BE86-1349-DB74-84C5058EB850}"/>
              </a:ext>
            </a:extLst>
          </p:cNvPr>
          <p:cNvSpPr>
            <a:spLocks noGrp="1"/>
          </p:cNvSpPr>
          <p:nvPr>
            <p:ph type="title"/>
          </p:nvPr>
        </p:nvSpPr>
        <p:spPr>
          <a:xfrm>
            <a:off x="6779611" y="1371600"/>
            <a:ext cx="4984926" cy="1967603"/>
          </a:xfrm>
        </p:spPr>
        <p:txBody>
          <a:bodyPr anchor="b" anchorCtr="0">
            <a:noAutofit/>
          </a:bodyPr>
          <a:lstStyle>
            <a:lvl1pPr>
              <a:lnSpc>
                <a:spcPct val="100000"/>
              </a:lnSpc>
              <a:defRPr b="1" i="0">
                <a:solidFill>
                  <a:srgbClr val="152A96"/>
                </a:solidFill>
                <a:latin typeface="Poppins" pitchFamily="2" charset="77"/>
                <a:cs typeface="Poppins" pitchFamily="2" charset="77"/>
              </a:defRPr>
            </a:lvl1pPr>
          </a:lstStyle>
          <a:p>
            <a:r>
              <a:rPr lang="fi-FI"/>
              <a:t>Muokkaa ots. perustyyl. napsautt.</a:t>
            </a:r>
          </a:p>
        </p:txBody>
      </p:sp>
      <p:sp>
        <p:nvSpPr>
          <p:cNvPr id="12" name="Alatunnisteen paikkamerkki 11">
            <a:extLst>
              <a:ext uri="{FF2B5EF4-FFF2-40B4-BE49-F238E27FC236}">
                <a16:creationId xmlns:a16="http://schemas.microsoft.com/office/drawing/2014/main" id="{6ED80374-0156-F94B-360E-CA811C97EE7C}"/>
              </a:ext>
            </a:extLst>
          </p:cNvPr>
          <p:cNvSpPr>
            <a:spLocks noGrp="1"/>
          </p:cNvSpPr>
          <p:nvPr>
            <p:ph type="ftr" sz="quarter" idx="14"/>
          </p:nvPr>
        </p:nvSpPr>
        <p:spPr/>
        <p:txBody>
          <a:bodyPr/>
          <a:lstStyle/>
          <a:p>
            <a:r>
              <a:rPr lang="fi-FI"/>
              <a:t>7</a:t>
            </a:r>
          </a:p>
        </p:txBody>
      </p:sp>
      <p:sp>
        <p:nvSpPr>
          <p:cNvPr id="10" name="Sisällön paikkamerkki 10">
            <a:extLst>
              <a:ext uri="{FF2B5EF4-FFF2-40B4-BE49-F238E27FC236}">
                <a16:creationId xmlns:a16="http://schemas.microsoft.com/office/drawing/2014/main" id="{BE01E6D3-7E14-1847-863F-B9561FF7EFAA}"/>
              </a:ext>
            </a:extLst>
          </p:cNvPr>
          <p:cNvSpPr>
            <a:spLocks noGrp="1"/>
          </p:cNvSpPr>
          <p:nvPr>
            <p:ph sz="quarter" idx="15" hasCustomPrompt="1"/>
          </p:nvPr>
        </p:nvSpPr>
        <p:spPr>
          <a:xfrm>
            <a:off x="6779610" y="3518797"/>
            <a:ext cx="4984926" cy="265816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pic>
        <p:nvPicPr>
          <p:cNvPr id="5" name="Graphic 18">
            <a:extLst>
              <a:ext uri="{FF2B5EF4-FFF2-40B4-BE49-F238E27FC236}">
                <a16:creationId xmlns:a16="http://schemas.microsoft.com/office/drawing/2014/main" id="{DCD47C41-18E0-C111-5691-61F54B72530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274012" y="442529"/>
            <a:ext cx="1459367" cy="321133"/>
          </a:xfrm>
          <a:prstGeom prst="rect">
            <a:avLst/>
          </a:prstGeom>
        </p:spPr>
      </p:pic>
    </p:spTree>
    <p:extLst>
      <p:ext uri="{BB962C8B-B14F-4D97-AF65-F5344CB8AC3E}">
        <p14:creationId xmlns:p14="http://schemas.microsoft.com/office/powerpoint/2010/main" val="3413901273"/>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Otsikkodia 4">
    <p:bg>
      <p:bgPr>
        <a:solidFill>
          <a:srgbClr val="006173"/>
        </a:solidFill>
        <a:effectLst/>
      </p:bgPr>
    </p:bg>
    <p:spTree>
      <p:nvGrpSpPr>
        <p:cNvPr id="1" name=""/>
        <p:cNvGrpSpPr/>
        <p:nvPr/>
      </p:nvGrpSpPr>
      <p:grpSpPr>
        <a:xfrm>
          <a:off x="0" y="0"/>
          <a:ext cx="0" cy="0"/>
          <a:chOff x="0" y="0"/>
          <a:chExt cx="0" cy="0"/>
        </a:xfrm>
      </p:grpSpPr>
      <p:pic>
        <p:nvPicPr>
          <p:cNvPr id="9" name="Graphic 3">
            <a:extLst>
              <a:ext uri="{FF2B5EF4-FFF2-40B4-BE49-F238E27FC236}">
                <a16:creationId xmlns:a16="http://schemas.microsoft.com/office/drawing/2014/main" id="{7FB8EEA7-EBE6-FEA3-22C4-FCD1C82DBD0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087556" y="2111326"/>
            <a:ext cx="5446395" cy="5460728"/>
          </a:xfrm>
          <a:prstGeom prst="rect">
            <a:avLst/>
          </a:prstGeom>
        </p:spPr>
      </p:pic>
      <p:sp>
        <p:nvSpPr>
          <p:cNvPr id="2" name="Title 1">
            <a:extLst>
              <a:ext uri="{FF2B5EF4-FFF2-40B4-BE49-F238E27FC236}">
                <a16:creationId xmlns:a16="http://schemas.microsoft.com/office/drawing/2014/main" id="{AC8EB052-B17E-3830-21CB-B540D3D61CE6}"/>
              </a:ext>
            </a:extLst>
          </p:cNvPr>
          <p:cNvSpPr>
            <a:spLocks noGrp="1"/>
          </p:cNvSpPr>
          <p:nvPr>
            <p:ph type="ctrTitle"/>
          </p:nvPr>
        </p:nvSpPr>
        <p:spPr>
          <a:xfrm>
            <a:off x="669235" y="760288"/>
            <a:ext cx="7478172" cy="2978275"/>
          </a:xfrm>
        </p:spPr>
        <p:txBody>
          <a:bodyPr anchor="b">
            <a:noAutofit/>
          </a:bodyPr>
          <a:lstStyle>
            <a:lvl1pPr algn="l">
              <a:defRPr sz="6000" b="1" i="0">
                <a:solidFill>
                  <a:srgbClr val="FFCC99"/>
                </a:solidFill>
                <a:latin typeface="Poppins" pitchFamily="2" charset="77"/>
                <a:cs typeface="Poppins" pitchFamily="2" charset="77"/>
              </a:defRPr>
            </a:lvl1pPr>
          </a:lstStyle>
          <a:p>
            <a:r>
              <a:rPr lang="fi-FI"/>
              <a:t>Muokkaa ots. perustyyl. napsautt.</a:t>
            </a:r>
          </a:p>
        </p:txBody>
      </p:sp>
      <p:sp>
        <p:nvSpPr>
          <p:cNvPr id="3" name="Subtitle 2">
            <a:extLst>
              <a:ext uri="{FF2B5EF4-FFF2-40B4-BE49-F238E27FC236}">
                <a16:creationId xmlns:a16="http://schemas.microsoft.com/office/drawing/2014/main" id="{0905BA58-BA6B-770C-F048-D85FA5C4202A}"/>
              </a:ext>
            </a:extLst>
          </p:cNvPr>
          <p:cNvSpPr>
            <a:spLocks noGrp="1"/>
          </p:cNvSpPr>
          <p:nvPr>
            <p:ph type="subTitle" idx="1"/>
          </p:nvPr>
        </p:nvSpPr>
        <p:spPr>
          <a:xfrm>
            <a:off x="669235" y="3830638"/>
            <a:ext cx="6543223" cy="1655762"/>
          </a:xfrm>
        </p:spPr>
        <p:txBody>
          <a:bodyPr>
            <a:noAutofit/>
          </a:bodyPr>
          <a:lstStyle>
            <a:lvl1pPr marL="0" indent="0" algn="l">
              <a:buNone/>
              <a:defRPr sz="2400">
                <a:solidFill>
                  <a:schemeClr val="bg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6" name="Graphic 9">
            <a:extLst>
              <a:ext uri="{FF2B5EF4-FFF2-40B4-BE49-F238E27FC236}">
                <a16:creationId xmlns:a16="http://schemas.microsoft.com/office/drawing/2014/main" id="{09483175-2EEA-6F8C-ED09-1AA3B1725BA5}"/>
              </a:ext>
            </a:extLst>
          </p:cNvPr>
          <p:cNvSpPr/>
          <p:nvPr/>
        </p:nvSpPr>
        <p:spPr>
          <a:xfrm rot="21135918">
            <a:off x="4040731" y="4616912"/>
            <a:ext cx="4110538" cy="2559747"/>
          </a:xfrm>
          <a:custGeom>
            <a:avLst/>
            <a:gdLst>
              <a:gd name="connsiteX0" fmla="*/ 4110539 w 4110538"/>
              <a:gd name="connsiteY0" fmla="*/ 130872 h 2559747"/>
              <a:gd name="connsiteX1" fmla="*/ 2844860 w 4110538"/>
              <a:gd name="connsiteY1" fmla="*/ 418813 h 2559747"/>
              <a:gd name="connsiteX2" fmla="*/ 2968698 w 4110538"/>
              <a:gd name="connsiteY2" fmla="*/ 828864 h 2559747"/>
              <a:gd name="connsiteX3" fmla="*/ 1190167 w 4110538"/>
              <a:gd name="connsiteY3" fmla="*/ 570641 h 2559747"/>
              <a:gd name="connsiteX4" fmla="*/ 1158589 w 4110538"/>
              <a:gd name="connsiteY4" fmla="*/ 1768029 h 2559747"/>
              <a:gd name="connsiteX5" fmla="*/ 72295 w 4110538"/>
              <a:gd name="connsiteY5" fmla="*/ 2086831 h 2559747"/>
              <a:gd name="connsiteX6" fmla="*/ 7808 w 4110538"/>
              <a:gd name="connsiteY6" fmla="*/ 2559747 h 255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0538" h="2559747">
                <a:moveTo>
                  <a:pt x="4110539" y="130872"/>
                </a:moveTo>
                <a:cubicBezTo>
                  <a:pt x="3684334" y="-104110"/>
                  <a:pt x="3128870" y="-31148"/>
                  <a:pt x="2844860" y="418813"/>
                </a:cubicBezTo>
                <a:cubicBezTo>
                  <a:pt x="2257723" y="1349120"/>
                  <a:pt x="3283905" y="1328355"/>
                  <a:pt x="2968698" y="828864"/>
                </a:cubicBezTo>
                <a:cubicBezTo>
                  <a:pt x="2585200" y="221074"/>
                  <a:pt x="1552930" y="165829"/>
                  <a:pt x="1190167" y="570641"/>
                </a:cubicBezTo>
                <a:cubicBezTo>
                  <a:pt x="793352" y="1013458"/>
                  <a:pt x="1158589" y="1768029"/>
                  <a:pt x="1158589" y="1768029"/>
                </a:cubicBezTo>
                <a:cubicBezTo>
                  <a:pt x="1158589" y="1768029"/>
                  <a:pt x="415750" y="1306638"/>
                  <a:pt x="72295" y="2086831"/>
                </a:cubicBezTo>
                <a:cubicBezTo>
                  <a:pt x="6476" y="2236278"/>
                  <a:pt x="-12642" y="2399346"/>
                  <a:pt x="7808" y="2559747"/>
                </a:cubicBezTo>
              </a:path>
            </a:pathLst>
          </a:custGeom>
          <a:noFill/>
          <a:ln w="38100" cap="rnd">
            <a:solidFill>
              <a:srgbClr val="FFCC99"/>
            </a:solidFill>
            <a:prstDash val="solid"/>
            <a:round/>
          </a:ln>
        </p:spPr>
        <p:txBody>
          <a:bodyPr rtlCol="0" anchor="ctr"/>
          <a:lstStyle/>
          <a:p>
            <a:endParaRPr lang="fi-FI"/>
          </a:p>
        </p:txBody>
      </p:sp>
      <p:pic>
        <p:nvPicPr>
          <p:cNvPr id="4" name="Graphic 3">
            <a:extLst>
              <a:ext uri="{FF2B5EF4-FFF2-40B4-BE49-F238E27FC236}">
                <a16:creationId xmlns:a16="http://schemas.microsoft.com/office/drawing/2014/main" id="{FD62E652-E316-B35D-FFF1-A768748CA83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087556" y="2111326"/>
            <a:ext cx="5446395" cy="5460728"/>
          </a:xfrm>
          <a:prstGeom prst="rect">
            <a:avLst/>
          </a:prstGeom>
        </p:spPr>
      </p:pic>
      <p:sp>
        <p:nvSpPr>
          <p:cNvPr id="5" name="Picture Placeholder 12">
            <a:extLst>
              <a:ext uri="{FF2B5EF4-FFF2-40B4-BE49-F238E27FC236}">
                <a16:creationId xmlns:a16="http://schemas.microsoft.com/office/drawing/2014/main" id="{2304B63D-4121-197B-CFD8-ADF473625157}"/>
              </a:ext>
            </a:extLst>
          </p:cNvPr>
          <p:cNvSpPr>
            <a:spLocks noGrp="1"/>
          </p:cNvSpPr>
          <p:nvPr>
            <p:ph type="pic" sz="quarter" idx="13"/>
          </p:nvPr>
        </p:nvSpPr>
        <p:spPr>
          <a:xfrm>
            <a:off x="7428216" y="2215608"/>
            <a:ext cx="5105735" cy="5185702"/>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pic>
        <p:nvPicPr>
          <p:cNvPr id="10" name="Graphic 18">
            <a:extLst>
              <a:ext uri="{FF2B5EF4-FFF2-40B4-BE49-F238E27FC236}">
                <a16:creationId xmlns:a16="http://schemas.microsoft.com/office/drawing/2014/main" id="{8123D4DF-067A-E61F-E42B-69543032677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6200000">
            <a:off x="10405322" y="1288658"/>
            <a:ext cx="2243871" cy="493762"/>
          </a:xfrm>
          <a:prstGeom prst="rect">
            <a:avLst/>
          </a:prstGeom>
        </p:spPr>
      </p:pic>
    </p:spTree>
    <p:extLst>
      <p:ext uri="{BB962C8B-B14F-4D97-AF65-F5344CB8AC3E}">
        <p14:creationId xmlns:p14="http://schemas.microsoft.com/office/powerpoint/2010/main" val="1803048373"/>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Kuvapaikka vasen 6">
    <p:bg>
      <p:bgPr>
        <a:solidFill>
          <a:srgbClr val="87DBE8">
            <a:alpha val="70000"/>
          </a:srgbClr>
        </a:solidFill>
        <a:effectLst/>
      </p:bgPr>
    </p:bg>
    <p:spTree>
      <p:nvGrpSpPr>
        <p:cNvPr id="1" name=""/>
        <p:cNvGrpSpPr/>
        <p:nvPr/>
      </p:nvGrpSpPr>
      <p:grpSpPr>
        <a:xfrm>
          <a:off x="0" y="0"/>
          <a:ext cx="0" cy="0"/>
          <a:chOff x="0" y="0"/>
          <a:chExt cx="0" cy="0"/>
        </a:xfrm>
      </p:grpSpPr>
      <p:sp>
        <p:nvSpPr>
          <p:cNvPr id="2" name="Rectangle 13">
            <a:extLst>
              <a:ext uri="{FF2B5EF4-FFF2-40B4-BE49-F238E27FC236}">
                <a16:creationId xmlns:a16="http://schemas.microsoft.com/office/drawing/2014/main" id="{F9A08D07-D5BE-590E-5A99-00ED694F7C30}"/>
              </a:ext>
            </a:extLst>
          </p:cNvPr>
          <p:cNvSpPr/>
          <p:nvPr/>
        </p:nvSpPr>
        <p:spPr>
          <a:xfrm>
            <a:off x="-545373" y="798698"/>
            <a:ext cx="6564923" cy="6095998"/>
          </a:xfrm>
          <a:custGeom>
            <a:avLst/>
            <a:gdLst>
              <a:gd name="connsiteX0" fmla="*/ 0 w 6307015"/>
              <a:gd name="connsiteY0" fmla="*/ 0 h 5509844"/>
              <a:gd name="connsiteX1" fmla="*/ 6307015 w 6307015"/>
              <a:gd name="connsiteY1" fmla="*/ 0 h 5509844"/>
              <a:gd name="connsiteX2" fmla="*/ 6307015 w 6307015"/>
              <a:gd name="connsiteY2" fmla="*/ 5509844 h 5509844"/>
              <a:gd name="connsiteX3" fmla="*/ 0 w 6307015"/>
              <a:gd name="connsiteY3" fmla="*/ 5509844 h 5509844"/>
              <a:gd name="connsiteX4" fmla="*/ 0 w 6307015"/>
              <a:gd name="connsiteY4" fmla="*/ 0 h 5509844"/>
              <a:gd name="connsiteX0" fmla="*/ 23446 w 6307015"/>
              <a:gd name="connsiteY0" fmla="*/ 1477108 h 5509844"/>
              <a:gd name="connsiteX1" fmla="*/ 6307015 w 6307015"/>
              <a:gd name="connsiteY1" fmla="*/ 0 h 5509844"/>
              <a:gd name="connsiteX2" fmla="*/ 6307015 w 6307015"/>
              <a:gd name="connsiteY2" fmla="*/ 5509844 h 5509844"/>
              <a:gd name="connsiteX3" fmla="*/ 0 w 6307015"/>
              <a:gd name="connsiteY3" fmla="*/ 5509844 h 5509844"/>
              <a:gd name="connsiteX4" fmla="*/ 23446 w 6307015"/>
              <a:gd name="connsiteY4" fmla="*/ 1477108 h 5509844"/>
              <a:gd name="connsiteX0" fmla="*/ 23446 w 6307015"/>
              <a:gd name="connsiteY0" fmla="*/ 2250831 h 6283567"/>
              <a:gd name="connsiteX1" fmla="*/ 2403231 w 6307015"/>
              <a:gd name="connsiteY1" fmla="*/ 0 h 6283567"/>
              <a:gd name="connsiteX2" fmla="*/ 6307015 w 6307015"/>
              <a:gd name="connsiteY2" fmla="*/ 6283567 h 6283567"/>
              <a:gd name="connsiteX3" fmla="*/ 0 w 6307015"/>
              <a:gd name="connsiteY3" fmla="*/ 6283567 h 6283567"/>
              <a:gd name="connsiteX4" fmla="*/ 23446 w 6307015"/>
              <a:gd name="connsiteY4" fmla="*/ 2250831 h 6283567"/>
              <a:gd name="connsiteX0" fmla="*/ 23446 w 6541477"/>
              <a:gd name="connsiteY0" fmla="*/ 2250831 h 6283567"/>
              <a:gd name="connsiteX1" fmla="*/ 2403231 w 6541477"/>
              <a:gd name="connsiteY1" fmla="*/ 0 h 6283567"/>
              <a:gd name="connsiteX2" fmla="*/ 6541477 w 6541477"/>
              <a:gd name="connsiteY2" fmla="*/ 2098432 h 6283567"/>
              <a:gd name="connsiteX3" fmla="*/ 6307015 w 6541477"/>
              <a:gd name="connsiteY3" fmla="*/ 6283567 h 6283567"/>
              <a:gd name="connsiteX4" fmla="*/ 0 w 6541477"/>
              <a:gd name="connsiteY4" fmla="*/ 6283567 h 6283567"/>
              <a:gd name="connsiteX5" fmla="*/ 23446 w 6541477"/>
              <a:gd name="connsiteY5" fmla="*/ 2250831 h 6283567"/>
              <a:gd name="connsiteX0" fmla="*/ 23446 w 6541477"/>
              <a:gd name="connsiteY0" fmla="*/ 2250831 h 6283567"/>
              <a:gd name="connsiteX1" fmla="*/ 2403231 w 6541477"/>
              <a:gd name="connsiteY1" fmla="*/ 0 h 6283567"/>
              <a:gd name="connsiteX2" fmla="*/ 6541477 w 6541477"/>
              <a:gd name="connsiteY2" fmla="*/ 2098432 h 6283567"/>
              <a:gd name="connsiteX3" fmla="*/ 6307015 w 6541477"/>
              <a:gd name="connsiteY3" fmla="*/ 6283567 h 6283567"/>
              <a:gd name="connsiteX4" fmla="*/ 0 w 6541477"/>
              <a:gd name="connsiteY4" fmla="*/ 6283567 h 6283567"/>
              <a:gd name="connsiteX5" fmla="*/ 23446 w 6541477"/>
              <a:gd name="connsiteY5" fmla="*/ 2250831 h 6283567"/>
              <a:gd name="connsiteX0" fmla="*/ 23446 w 6541477"/>
              <a:gd name="connsiteY0" fmla="*/ 2250831 h 6283567"/>
              <a:gd name="connsiteX1" fmla="*/ 2403231 w 6541477"/>
              <a:gd name="connsiteY1" fmla="*/ 0 h 6283567"/>
              <a:gd name="connsiteX2" fmla="*/ 6541477 w 6541477"/>
              <a:gd name="connsiteY2" fmla="*/ 2098432 h 6283567"/>
              <a:gd name="connsiteX3" fmla="*/ 6307015 w 6541477"/>
              <a:gd name="connsiteY3" fmla="*/ 6283567 h 6283567"/>
              <a:gd name="connsiteX4" fmla="*/ 0 w 6541477"/>
              <a:gd name="connsiteY4" fmla="*/ 6283567 h 6283567"/>
              <a:gd name="connsiteX5" fmla="*/ 23446 w 6541477"/>
              <a:gd name="connsiteY5" fmla="*/ 2250831 h 6283567"/>
              <a:gd name="connsiteX0" fmla="*/ 23446 w 6541477"/>
              <a:gd name="connsiteY0" fmla="*/ 2063262 h 6095998"/>
              <a:gd name="connsiteX1" fmla="*/ 2321169 w 6541477"/>
              <a:gd name="connsiteY1" fmla="*/ 0 h 6095998"/>
              <a:gd name="connsiteX2" fmla="*/ 6541477 w 6541477"/>
              <a:gd name="connsiteY2" fmla="*/ 1910863 h 6095998"/>
              <a:gd name="connsiteX3" fmla="*/ 6307015 w 6541477"/>
              <a:gd name="connsiteY3" fmla="*/ 6095998 h 6095998"/>
              <a:gd name="connsiteX4" fmla="*/ 0 w 6541477"/>
              <a:gd name="connsiteY4" fmla="*/ 6095998 h 6095998"/>
              <a:gd name="connsiteX5" fmla="*/ 23446 w 6541477"/>
              <a:gd name="connsiteY5" fmla="*/ 2063262 h 6095998"/>
              <a:gd name="connsiteX0" fmla="*/ 23446 w 6564923"/>
              <a:gd name="connsiteY0" fmla="*/ 2063262 h 6095998"/>
              <a:gd name="connsiteX1" fmla="*/ 2321169 w 6564923"/>
              <a:gd name="connsiteY1" fmla="*/ 0 h 6095998"/>
              <a:gd name="connsiteX2" fmla="*/ 6564923 w 6564923"/>
              <a:gd name="connsiteY2" fmla="*/ 1606063 h 6095998"/>
              <a:gd name="connsiteX3" fmla="*/ 6307015 w 6564923"/>
              <a:gd name="connsiteY3" fmla="*/ 6095998 h 6095998"/>
              <a:gd name="connsiteX4" fmla="*/ 0 w 6564923"/>
              <a:gd name="connsiteY4" fmla="*/ 6095998 h 6095998"/>
              <a:gd name="connsiteX5" fmla="*/ 23446 w 6564923"/>
              <a:gd name="connsiteY5" fmla="*/ 2063262 h 609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64923" h="6095998">
                <a:moveTo>
                  <a:pt x="23446" y="2063262"/>
                </a:moveTo>
                <a:lnTo>
                  <a:pt x="2321169" y="0"/>
                </a:lnTo>
                <a:cubicBezTo>
                  <a:pt x="2293815" y="42984"/>
                  <a:pt x="6557108" y="1621694"/>
                  <a:pt x="6564923" y="1606063"/>
                </a:cubicBezTo>
                <a:lnTo>
                  <a:pt x="6307015" y="6095998"/>
                </a:lnTo>
                <a:lnTo>
                  <a:pt x="0" y="6095998"/>
                </a:lnTo>
                <a:lnTo>
                  <a:pt x="23446" y="2063262"/>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4" name="Rectangle 13">
            <a:extLst>
              <a:ext uri="{FF2B5EF4-FFF2-40B4-BE49-F238E27FC236}">
                <a16:creationId xmlns:a16="http://schemas.microsoft.com/office/drawing/2014/main" id="{B1B62FF4-E085-F3B2-D6DD-38106E8225E9}"/>
              </a:ext>
            </a:extLst>
          </p:cNvPr>
          <p:cNvSpPr/>
          <p:nvPr/>
        </p:nvSpPr>
        <p:spPr>
          <a:xfrm>
            <a:off x="-662605" y="798698"/>
            <a:ext cx="6564923" cy="6095998"/>
          </a:xfrm>
          <a:custGeom>
            <a:avLst/>
            <a:gdLst>
              <a:gd name="connsiteX0" fmla="*/ 0 w 6307015"/>
              <a:gd name="connsiteY0" fmla="*/ 0 h 5509844"/>
              <a:gd name="connsiteX1" fmla="*/ 6307015 w 6307015"/>
              <a:gd name="connsiteY1" fmla="*/ 0 h 5509844"/>
              <a:gd name="connsiteX2" fmla="*/ 6307015 w 6307015"/>
              <a:gd name="connsiteY2" fmla="*/ 5509844 h 5509844"/>
              <a:gd name="connsiteX3" fmla="*/ 0 w 6307015"/>
              <a:gd name="connsiteY3" fmla="*/ 5509844 h 5509844"/>
              <a:gd name="connsiteX4" fmla="*/ 0 w 6307015"/>
              <a:gd name="connsiteY4" fmla="*/ 0 h 5509844"/>
              <a:gd name="connsiteX0" fmla="*/ 23446 w 6307015"/>
              <a:gd name="connsiteY0" fmla="*/ 1477108 h 5509844"/>
              <a:gd name="connsiteX1" fmla="*/ 6307015 w 6307015"/>
              <a:gd name="connsiteY1" fmla="*/ 0 h 5509844"/>
              <a:gd name="connsiteX2" fmla="*/ 6307015 w 6307015"/>
              <a:gd name="connsiteY2" fmla="*/ 5509844 h 5509844"/>
              <a:gd name="connsiteX3" fmla="*/ 0 w 6307015"/>
              <a:gd name="connsiteY3" fmla="*/ 5509844 h 5509844"/>
              <a:gd name="connsiteX4" fmla="*/ 23446 w 6307015"/>
              <a:gd name="connsiteY4" fmla="*/ 1477108 h 5509844"/>
              <a:gd name="connsiteX0" fmla="*/ 23446 w 6307015"/>
              <a:gd name="connsiteY0" fmla="*/ 2250831 h 6283567"/>
              <a:gd name="connsiteX1" fmla="*/ 2403231 w 6307015"/>
              <a:gd name="connsiteY1" fmla="*/ 0 h 6283567"/>
              <a:gd name="connsiteX2" fmla="*/ 6307015 w 6307015"/>
              <a:gd name="connsiteY2" fmla="*/ 6283567 h 6283567"/>
              <a:gd name="connsiteX3" fmla="*/ 0 w 6307015"/>
              <a:gd name="connsiteY3" fmla="*/ 6283567 h 6283567"/>
              <a:gd name="connsiteX4" fmla="*/ 23446 w 6307015"/>
              <a:gd name="connsiteY4" fmla="*/ 2250831 h 6283567"/>
              <a:gd name="connsiteX0" fmla="*/ 23446 w 6541477"/>
              <a:gd name="connsiteY0" fmla="*/ 2250831 h 6283567"/>
              <a:gd name="connsiteX1" fmla="*/ 2403231 w 6541477"/>
              <a:gd name="connsiteY1" fmla="*/ 0 h 6283567"/>
              <a:gd name="connsiteX2" fmla="*/ 6541477 w 6541477"/>
              <a:gd name="connsiteY2" fmla="*/ 2098432 h 6283567"/>
              <a:gd name="connsiteX3" fmla="*/ 6307015 w 6541477"/>
              <a:gd name="connsiteY3" fmla="*/ 6283567 h 6283567"/>
              <a:gd name="connsiteX4" fmla="*/ 0 w 6541477"/>
              <a:gd name="connsiteY4" fmla="*/ 6283567 h 6283567"/>
              <a:gd name="connsiteX5" fmla="*/ 23446 w 6541477"/>
              <a:gd name="connsiteY5" fmla="*/ 2250831 h 6283567"/>
              <a:gd name="connsiteX0" fmla="*/ 23446 w 6541477"/>
              <a:gd name="connsiteY0" fmla="*/ 2250831 h 6283567"/>
              <a:gd name="connsiteX1" fmla="*/ 2403231 w 6541477"/>
              <a:gd name="connsiteY1" fmla="*/ 0 h 6283567"/>
              <a:gd name="connsiteX2" fmla="*/ 6541477 w 6541477"/>
              <a:gd name="connsiteY2" fmla="*/ 2098432 h 6283567"/>
              <a:gd name="connsiteX3" fmla="*/ 6307015 w 6541477"/>
              <a:gd name="connsiteY3" fmla="*/ 6283567 h 6283567"/>
              <a:gd name="connsiteX4" fmla="*/ 0 w 6541477"/>
              <a:gd name="connsiteY4" fmla="*/ 6283567 h 6283567"/>
              <a:gd name="connsiteX5" fmla="*/ 23446 w 6541477"/>
              <a:gd name="connsiteY5" fmla="*/ 2250831 h 6283567"/>
              <a:gd name="connsiteX0" fmla="*/ 23446 w 6541477"/>
              <a:gd name="connsiteY0" fmla="*/ 2250831 h 6283567"/>
              <a:gd name="connsiteX1" fmla="*/ 2403231 w 6541477"/>
              <a:gd name="connsiteY1" fmla="*/ 0 h 6283567"/>
              <a:gd name="connsiteX2" fmla="*/ 6541477 w 6541477"/>
              <a:gd name="connsiteY2" fmla="*/ 2098432 h 6283567"/>
              <a:gd name="connsiteX3" fmla="*/ 6307015 w 6541477"/>
              <a:gd name="connsiteY3" fmla="*/ 6283567 h 6283567"/>
              <a:gd name="connsiteX4" fmla="*/ 0 w 6541477"/>
              <a:gd name="connsiteY4" fmla="*/ 6283567 h 6283567"/>
              <a:gd name="connsiteX5" fmla="*/ 23446 w 6541477"/>
              <a:gd name="connsiteY5" fmla="*/ 2250831 h 6283567"/>
              <a:gd name="connsiteX0" fmla="*/ 23446 w 6541477"/>
              <a:gd name="connsiteY0" fmla="*/ 2063262 h 6095998"/>
              <a:gd name="connsiteX1" fmla="*/ 2321169 w 6541477"/>
              <a:gd name="connsiteY1" fmla="*/ 0 h 6095998"/>
              <a:gd name="connsiteX2" fmla="*/ 6541477 w 6541477"/>
              <a:gd name="connsiteY2" fmla="*/ 1910863 h 6095998"/>
              <a:gd name="connsiteX3" fmla="*/ 6307015 w 6541477"/>
              <a:gd name="connsiteY3" fmla="*/ 6095998 h 6095998"/>
              <a:gd name="connsiteX4" fmla="*/ 0 w 6541477"/>
              <a:gd name="connsiteY4" fmla="*/ 6095998 h 6095998"/>
              <a:gd name="connsiteX5" fmla="*/ 23446 w 6541477"/>
              <a:gd name="connsiteY5" fmla="*/ 2063262 h 6095998"/>
              <a:gd name="connsiteX0" fmla="*/ 23446 w 6564923"/>
              <a:gd name="connsiteY0" fmla="*/ 2063262 h 6095998"/>
              <a:gd name="connsiteX1" fmla="*/ 2321169 w 6564923"/>
              <a:gd name="connsiteY1" fmla="*/ 0 h 6095998"/>
              <a:gd name="connsiteX2" fmla="*/ 6564923 w 6564923"/>
              <a:gd name="connsiteY2" fmla="*/ 1606063 h 6095998"/>
              <a:gd name="connsiteX3" fmla="*/ 6307015 w 6564923"/>
              <a:gd name="connsiteY3" fmla="*/ 6095998 h 6095998"/>
              <a:gd name="connsiteX4" fmla="*/ 0 w 6564923"/>
              <a:gd name="connsiteY4" fmla="*/ 6095998 h 6095998"/>
              <a:gd name="connsiteX5" fmla="*/ 23446 w 6564923"/>
              <a:gd name="connsiteY5" fmla="*/ 2063262 h 609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64923" h="6095998">
                <a:moveTo>
                  <a:pt x="23446" y="2063262"/>
                </a:moveTo>
                <a:lnTo>
                  <a:pt x="2321169" y="0"/>
                </a:lnTo>
                <a:cubicBezTo>
                  <a:pt x="2293815" y="42984"/>
                  <a:pt x="6557108" y="1621694"/>
                  <a:pt x="6564923" y="1606063"/>
                </a:cubicBezTo>
                <a:lnTo>
                  <a:pt x="6307015" y="6095998"/>
                </a:lnTo>
                <a:lnTo>
                  <a:pt x="0" y="6095998"/>
                </a:lnTo>
                <a:lnTo>
                  <a:pt x="23446" y="2063262"/>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3" name="Picture Placeholder 12">
            <a:extLst>
              <a:ext uri="{FF2B5EF4-FFF2-40B4-BE49-F238E27FC236}">
                <a16:creationId xmlns:a16="http://schemas.microsoft.com/office/drawing/2014/main" id="{73B5EA6A-184E-E08E-B82F-B559B429F3A5}"/>
              </a:ext>
            </a:extLst>
          </p:cNvPr>
          <p:cNvSpPr>
            <a:spLocks noGrp="1"/>
          </p:cNvSpPr>
          <p:nvPr>
            <p:ph type="pic" sz="quarter" idx="10"/>
          </p:nvPr>
        </p:nvSpPr>
        <p:spPr>
          <a:xfrm>
            <a:off x="-662604" y="868931"/>
            <a:ext cx="6682154" cy="6025765"/>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82154" h="6025765">
                <a:moveTo>
                  <a:pt x="11723" y="2309794"/>
                </a:moveTo>
                <a:lnTo>
                  <a:pt x="3060089" y="347"/>
                </a:lnTo>
                <a:cubicBezTo>
                  <a:pt x="3059967" y="-30996"/>
                  <a:pt x="6658829" y="2071261"/>
                  <a:pt x="6682154" y="2051642"/>
                </a:cubicBezTo>
                <a:lnTo>
                  <a:pt x="5650890" y="6025765"/>
                </a:lnTo>
                <a:lnTo>
                  <a:pt x="0" y="6002319"/>
                </a:lnTo>
                <a:cubicBezTo>
                  <a:pt x="3908" y="4771477"/>
                  <a:pt x="7815" y="3540636"/>
                  <a:pt x="11723" y="2309794"/>
                </a:cubicBezTo>
                <a:close/>
              </a:path>
            </a:pathLst>
          </a:custGeom>
        </p:spPr>
        <p:txBody>
          <a:bodyPr/>
          <a:lstStyle/>
          <a:p>
            <a:r>
              <a:rPr lang="fi-FI"/>
              <a:t>Lisää kuva napsauttamalla kuvaketta</a:t>
            </a:r>
            <a:endParaRPr lang="en-FI"/>
          </a:p>
        </p:txBody>
      </p:sp>
      <p:sp>
        <p:nvSpPr>
          <p:cNvPr id="7" name="Title Placeholder 1">
            <a:extLst>
              <a:ext uri="{FF2B5EF4-FFF2-40B4-BE49-F238E27FC236}">
                <a16:creationId xmlns:a16="http://schemas.microsoft.com/office/drawing/2014/main" id="{B1965B03-0E1E-244D-EED4-B47F1C792180}"/>
              </a:ext>
            </a:extLst>
          </p:cNvPr>
          <p:cNvSpPr>
            <a:spLocks noGrp="1"/>
          </p:cNvSpPr>
          <p:nvPr>
            <p:ph type="title"/>
          </p:nvPr>
        </p:nvSpPr>
        <p:spPr>
          <a:xfrm>
            <a:off x="6564923" y="785446"/>
            <a:ext cx="5084980" cy="1325563"/>
          </a:xfrm>
          <a:prstGeom prst="rect">
            <a:avLst/>
          </a:prstGeom>
        </p:spPr>
        <p:txBody>
          <a:bodyPr vert="horz" lIns="90000" tIns="45720" rIns="91440" bIns="45720" rtlCol="0" anchor="t" anchorCtr="0">
            <a:noAutofit/>
          </a:bodyPr>
          <a:lstStyle>
            <a:lvl1pPr>
              <a:defRPr sz="4400" b="1">
                <a:solidFill>
                  <a:srgbClr val="450099"/>
                </a:solidFill>
              </a:defRPr>
            </a:lvl1pPr>
          </a:lstStyle>
          <a:p>
            <a:r>
              <a:rPr lang="fi-FI"/>
              <a:t>Muokkaa ots. perustyyl. napsautt.</a:t>
            </a:r>
            <a:endParaRPr lang="en-FI"/>
          </a:p>
        </p:txBody>
      </p:sp>
      <p:sp>
        <p:nvSpPr>
          <p:cNvPr id="8" name="Sisällön paikkamerkki 10">
            <a:extLst>
              <a:ext uri="{FF2B5EF4-FFF2-40B4-BE49-F238E27FC236}">
                <a16:creationId xmlns:a16="http://schemas.microsoft.com/office/drawing/2014/main" id="{B421AE5F-BF15-6733-E110-793232DBC6AC}"/>
              </a:ext>
            </a:extLst>
          </p:cNvPr>
          <p:cNvSpPr>
            <a:spLocks noGrp="1"/>
          </p:cNvSpPr>
          <p:nvPr>
            <p:ph sz="quarter" idx="15" hasCustomPrompt="1"/>
          </p:nvPr>
        </p:nvSpPr>
        <p:spPr>
          <a:xfrm>
            <a:off x="6564924" y="2312091"/>
            <a:ext cx="5084980" cy="3864872"/>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3118851965"/>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Korostepohja 1">
    <p:bg>
      <p:bgPr>
        <a:solidFill>
          <a:srgbClr val="FFCC99">
            <a:alpha val="90000"/>
          </a:srgbClr>
        </a:solidFill>
        <a:effectLst/>
      </p:bgPr>
    </p:bg>
    <p:spTree>
      <p:nvGrpSpPr>
        <p:cNvPr id="1" name=""/>
        <p:cNvGrpSpPr/>
        <p:nvPr/>
      </p:nvGrpSpPr>
      <p:grpSpPr>
        <a:xfrm>
          <a:off x="0" y="0"/>
          <a:ext cx="0" cy="0"/>
          <a:chOff x="0" y="0"/>
          <a:chExt cx="0" cy="0"/>
        </a:xfrm>
      </p:grpSpPr>
      <p:sp>
        <p:nvSpPr>
          <p:cNvPr id="2" name="Puolivapaa piirto 5">
            <a:extLst>
              <a:ext uri="{FF2B5EF4-FFF2-40B4-BE49-F238E27FC236}">
                <a16:creationId xmlns:a16="http://schemas.microsoft.com/office/drawing/2014/main" id="{DCFB492B-7DCE-7A4A-EA3F-DF157E64F22B}"/>
              </a:ext>
            </a:extLst>
          </p:cNvPr>
          <p:cNvSpPr/>
          <p:nvPr/>
        </p:nvSpPr>
        <p:spPr>
          <a:xfrm>
            <a:off x="-30480" y="-101600"/>
            <a:ext cx="3830320" cy="4490720"/>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Puolivapaa piirto 6">
            <a:extLst>
              <a:ext uri="{FF2B5EF4-FFF2-40B4-BE49-F238E27FC236}">
                <a16:creationId xmlns:a16="http://schemas.microsoft.com/office/drawing/2014/main" id="{BF6ECE28-8173-5B6F-CB81-7FD63528F465}"/>
              </a:ext>
            </a:extLst>
          </p:cNvPr>
          <p:cNvSpPr/>
          <p:nvPr/>
        </p:nvSpPr>
        <p:spPr>
          <a:xfrm>
            <a:off x="8067040" y="3667760"/>
            <a:ext cx="3698240" cy="323088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230880">
                <a:moveTo>
                  <a:pt x="3302000" y="3220720"/>
                </a:moveTo>
                <a:lnTo>
                  <a:pt x="3698240" y="0"/>
                </a:lnTo>
                <a:lnTo>
                  <a:pt x="1178560" y="0"/>
                </a:lnTo>
                <a:lnTo>
                  <a:pt x="0" y="2316480"/>
                </a:lnTo>
                <a:lnTo>
                  <a:pt x="2346960" y="3230880"/>
                </a:lnTo>
                <a:lnTo>
                  <a:pt x="3302000" y="322072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BD591BD1-7FD9-1CFE-D05A-2F578BD401F9}"/>
              </a:ext>
            </a:extLst>
          </p:cNvPr>
          <p:cNvSpPr/>
          <p:nvPr/>
        </p:nvSpPr>
        <p:spPr>
          <a:xfrm>
            <a:off x="-30480" y="-101600"/>
            <a:ext cx="3830320" cy="4490720"/>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uolivapaa piirto 6">
            <a:extLst>
              <a:ext uri="{FF2B5EF4-FFF2-40B4-BE49-F238E27FC236}">
                <a16:creationId xmlns:a16="http://schemas.microsoft.com/office/drawing/2014/main" id="{8F632777-B398-1723-D08E-01AD5C521EA0}"/>
              </a:ext>
            </a:extLst>
          </p:cNvPr>
          <p:cNvSpPr/>
          <p:nvPr/>
        </p:nvSpPr>
        <p:spPr>
          <a:xfrm>
            <a:off x="8067040" y="3667760"/>
            <a:ext cx="3698240" cy="323088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230880">
                <a:moveTo>
                  <a:pt x="3302000" y="3220720"/>
                </a:moveTo>
                <a:lnTo>
                  <a:pt x="3698240" y="0"/>
                </a:lnTo>
                <a:lnTo>
                  <a:pt x="1178560" y="0"/>
                </a:lnTo>
                <a:lnTo>
                  <a:pt x="0" y="2316480"/>
                </a:lnTo>
                <a:lnTo>
                  <a:pt x="2346960" y="3230880"/>
                </a:lnTo>
                <a:lnTo>
                  <a:pt x="3302000" y="322072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Picture Placeholder 12">
            <a:extLst>
              <a:ext uri="{FF2B5EF4-FFF2-40B4-BE49-F238E27FC236}">
                <a16:creationId xmlns:a16="http://schemas.microsoft.com/office/drawing/2014/main" id="{419374F4-C133-E730-F033-2F4AFFAFC663}"/>
              </a:ext>
            </a:extLst>
          </p:cNvPr>
          <p:cNvSpPr>
            <a:spLocks noGrp="1"/>
          </p:cNvSpPr>
          <p:nvPr>
            <p:ph type="pic" sz="quarter" idx="12"/>
          </p:nvPr>
        </p:nvSpPr>
        <p:spPr>
          <a:xfrm>
            <a:off x="-92611" y="-52955"/>
            <a:ext cx="3942148" cy="4434789"/>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95246" h="10231858">
                <a:moveTo>
                  <a:pt x="870" y="38717"/>
                </a:moveTo>
                <a:lnTo>
                  <a:pt x="4008066" y="464"/>
                </a:lnTo>
                <a:cubicBezTo>
                  <a:pt x="4007944" y="-30879"/>
                  <a:pt x="9071921" y="1533344"/>
                  <a:pt x="9095246" y="1513725"/>
                </a:cubicBezTo>
                <a:lnTo>
                  <a:pt x="5128979" y="10231858"/>
                </a:lnTo>
                <a:lnTo>
                  <a:pt x="12021" y="7247100"/>
                </a:lnTo>
                <a:cubicBezTo>
                  <a:pt x="7220" y="7270292"/>
                  <a:pt x="-3038" y="1269559"/>
                  <a:pt x="870" y="38717"/>
                </a:cubicBezTo>
                <a:close/>
              </a:path>
            </a:pathLst>
          </a:custGeom>
        </p:spPr>
        <p:txBody>
          <a:bodyPr/>
          <a:lstStyle/>
          <a:p>
            <a:r>
              <a:rPr lang="fi-FI"/>
              <a:t>Lisää kuva napsauttamalla kuvaketta</a:t>
            </a:r>
            <a:endParaRPr lang="en-FI"/>
          </a:p>
        </p:txBody>
      </p:sp>
      <p:sp>
        <p:nvSpPr>
          <p:cNvPr id="9" name="Picture Placeholder 12">
            <a:extLst>
              <a:ext uri="{FF2B5EF4-FFF2-40B4-BE49-F238E27FC236}">
                <a16:creationId xmlns:a16="http://schemas.microsoft.com/office/drawing/2014/main" id="{DEF7D630-C477-B3DF-30A9-1ED417785370}"/>
              </a:ext>
            </a:extLst>
          </p:cNvPr>
          <p:cNvSpPr>
            <a:spLocks noGrp="1"/>
          </p:cNvSpPr>
          <p:nvPr>
            <p:ph type="pic" sz="quarter" idx="13"/>
          </p:nvPr>
        </p:nvSpPr>
        <p:spPr>
          <a:xfrm>
            <a:off x="7979948" y="2941642"/>
            <a:ext cx="4202161" cy="3998632"/>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5143" h="9225565">
                <a:moveTo>
                  <a:pt x="2074" y="5426640"/>
                </a:moveTo>
                <a:lnTo>
                  <a:pt x="5149640" y="136"/>
                </a:lnTo>
                <a:cubicBezTo>
                  <a:pt x="5149518" y="-31207"/>
                  <a:pt x="9671818" y="5381769"/>
                  <a:pt x="9695143" y="5362150"/>
                </a:cubicBezTo>
                <a:lnTo>
                  <a:pt x="3904284" y="9205197"/>
                </a:lnTo>
                <a:cubicBezTo>
                  <a:pt x="3861671" y="9236612"/>
                  <a:pt x="2792726" y="9239517"/>
                  <a:pt x="2750113" y="9156892"/>
                </a:cubicBezTo>
                <a:cubicBezTo>
                  <a:pt x="2745312" y="9180084"/>
                  <a:pt x="-87361" y="5431582"/>
                  <a:pt x="2074" y="5426640"/>
                </a:cubicBezTo>
                <a:close/>
              </a:path>
            </a:pathLst>
          </a:custGeom>
        </p:spPr>
        <p:txBody>
          <a:bodyPr/>
          <a:lstStyle/>
          <a:p>
            <a:r>
              <a:rPr lang="fi-FI"/>
              <a:t>Lisää kuva napsauttamalla kuvaketta</a:t>
            </a:r>
            <a:endParaRPr lang="en-FI"/>
          </a:p>
        </p:txBody>
      </p:sp>
      <p:sp>
        <p:nvSpPr>
          <p:cNvPr id="10" name="Title 1">
            <a:extLst>
              <a:ext uri="{FF2B5EF4-FFF2-40B4-BE49-F238E27FC236}">
                <a16:creationId xmlns:a16="http://schemas.microsoft.com/office/drawing/2014/main" id="{DFB621D9-6AF6-3D02-C24A-A8B5C66EB7DA}"/>
              </a:ext>
            </a:extLst>
          </p:cNvPr>
          <p:cNvSpPr>
            <a:spLocks noGrp="1"/>
          </p:cNvSpPr>
          <p:nvPr>
            <p:ph type="title"/>
          </p:nvPr>
        </p:nvSpPr>
        <p:spPr>
          <a:xfrm>
            <a:off x="2323070" y="1228762"/>
            <a:ext cx="7394671" cy="4490720"/>
          </a:xfrm>
        </p:spPr>
        <p:txBody>
          <a:bodyPr>
            <a:noAutofit/>
          </a:bodyPr>
          <a:lstStyle>
            <a:lvl1pPr algn="ctr">
              <a:defRPr sz="4400" b="1" i="0">
                <a:solidFill>
                  <a:srgbClr val="450099"/>
                </a:solidFill>
                <a:latin typeface="Poppins" pitchFamily="2" charset="77"/>
                <a:cs typeface="Poppins" pitchFamily="2" charset="77"/>
              </a:defRPr>
            </a:lvl1pPr>
          </a:lstStyle>
          <a:p>
            <a:r>
              <a:rPr lang="fi-FI"/>
              <a:t>Muokkaa ots. perustyyl. napsautt.</a:t>
            </a:r>
            <a:endParaRPr lang="en-FI"/>
          </a:p>
        </p:txBody>
      </p:sp>
      <p:sp>
        <p:nvSpPr>
          <p:cNvPr id="3" name="Päivämäärän paikkamerkki 2">
            <a:extLst>
              <a:ext uri="{FF2B5EF4-FFF2-40B4-BE49-F238E27FC236}">
                <a16:creationId xmlns:a16="http://schemas.microsoft.com/office/drawing/2014/main" id="{8D4CB96A-64C8-563A-7F0D-51C262F88402}"/>
              </a:ext>
            </a:extLst>
          </p:cNvPr>
          <p:cNvSpPr>
            <a:spLocks noGrp="1"/>
          </p:cNvSpPr>
          <p:nvPr>
            <p:ph type="dt" sz="half" idx="14"/>
          </p:nvPr>
        </p:nvSpPr>
        <p:spPr/>
        <p:txBody>
          <a:bodyPr/>
          <a:lstStyle/>
          <a:p>
            <a:endParaRPr lang="fi-FI" dirty="0"/>
          </a:p>
        </p:txBody>
      </p:sp>
      <p:sp>
        <p:nvSpPr>
          <p:cNvPr id="4" name="Alatunnisteen paikkamerkki 3">
            <a:extLst>
              <a:ext uri="{FF2B5EF4-FFF2-40B4-BE49-F238E27FC236}">
                <a16:creationId xmlns:a16="http://schemas.microsoft.com/office/drawing/2014/main" id="{AF58B357-22B1-A923-E8FB-53DBF6F704C5}"/>
              </a:ext>
            </a:extLst>
          </p:cNvPr>
          <p:cNvSpPr>
            <a:spLocks noGrp="1"/>
          </p:cNvSpPr>
          <p:nvPr>
            <p:ph type="ftr" sz="quarter" idx="15"/>
          </p:nvPr>
        </p:nvSpPr>
        <p:spPr/>
        <p:txBody>
          <a:bodyPr/>
          <a:lstStyle/>
          <a:p>
            <a:r>
              <a:rPr lang="fi-FI"/>
              <a:t>7</a:t>
            </a:r>
          </a:p>
        </p:txBody>
      </p:sp>
      <p:pic>
        <p:nvPicPr>
          <p:cNvPr id="12" name="Graphic 18">
            <a:extLst>
              <a:ext uri="{FF2B5EF4-FFF2-40B4-BE49-F238E27FC236}">
                <a16:creationId xmlns:a16="http://schemas.microsoft.com/office/drawing/2014/main" id="{1A62BA91-B24C-1948-BC61-F40AE7217AD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274012" y="442529"/>
            <a:ext cx="1459367" cy="321133"/>
          </a:xfrm>
          <a:prstGeom prst="rect">
            <a:avLst/>
          </a:prstGeom>
        </p:spPr>
      </p:pic>
    </p:spTree>
    <p:extLst>
      <p:ext uri="{BB962C8B-B14F-4D97-AF65-F5344CB8AC3E}">
        <p14:creationId xmlns:p14="http://schemas.microsoft.com/office/powerpoint/2010/main" val="925680081"/>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Korostepohja 2">
    <p:bg>
      <p:bgPr>
        <a:solidFill>
          <a:srgbClr val="B8CDFF">
            <a:alpha val="90000"/>
          </a:srgbClr>
        </a:solidFill>
        <a:effectLst/>
      </p:bgPr>
    </p:bg>
    <p:spTree>
      <p:nvGrpSpPr>
        <p:cNvPr id="1" name=""/>
        <p:cNvGrpSpPr/>
        <p:nvPr/>
      </p:nvGrpSpPr>
      <p:grpSpPr>
        <a:xfrm>
          <a:off x="0" y="0"/>
          <a:ext cx="0" cy="0"/>
          <a:chOff x="0" y="0"/>
          <a:chExt cx="0" cy="0"/>
        </a:xfrm>
      </p:grpSpPr>
      <p:sp>
        <p:nvSpPr>
          <p:cNvPr id="4" name="Puolivapaa piirto 5">
            <a:extLst>
              <a:ext uri="{FF2B5EF4-FFF2-40B4-BE49-F238E27FC236}">
                <a16:creationId xmlns:a16="http://schemas.microsoft.com/office/drawing/2014/main" id="{93321964-1E6C-B714-FE78-A0B18A9E3EFA}"/>
              </a:ext>
            </a:extLst>
          </p:cNvPr>
          <p:cNvSpPr/>
          <p:nvPr/>
        </p:nvSpPr>
        <p:spPr>
          <a:xfrm>
            <a:off x="-30480" y="-101600"/>
            <a:ext cx="3830320" cy="4490720"/>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Puolivapaa piirto 6">
            <a:extLst>
              <a:ext uri="{FF2B5EF4-FFF2-40B4-BE49-F238E27FC236}">
                <a16:creationId xmlns:a16="http://schemas.microsoft.com/office/drawing/2014/main" id="{8F9CF98A-FF7A-8C6E-DC8D-B36A4A793DB8}"/>
              </a:ext>
            </a:extLst>
          </p:cNvPr>
          <p:cNvSpPr/>
          <p:nvPr/>
        </p:nvSpPr>
        <p:spPr>
          <a:xfrm>
            <a:off x="8067040" y="3667760"/>
            <a:ext cx="3698240" cy="323088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230880">
                <a:moveTo>
                  <a:pt x="3302000" y="3220720"/>
                </a:moveTo>
                <a:lnTo>
                  <a:pt x="3698240" y="0"/>
                </a:lnTo>
                <a:lnTo>
                  <a:pt x="1178560" y="0"/>
                </a:lnTo>
                <a:lnTo>
                  <a:pt x="0" y="2316480"/>
                </a:lnTo>
                <a:lnTo>
                  <a:pt x="2346960" y="3230880"/>
                </a:lnTo>
                <a:lnTo>
                  <a:pt x="3302000" y="322072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BD591BD1-7FD9-1CFE-D05A-2F578BD401F9}"/>
              </a:ext>
            </a:extLst>
          </p:cNvPr>
          <p:cNvSpPr/>
          <p:nvPr/>
        </p:nvSpPr>
        <p:spPr>
          <a:xfrm>
            <a:off x="-30480" y="-101600"/>
            <a:ext cx="3830320" cy="4490720"/>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uolivapaa piirto 6">
            <a:extLst>
              <a:ext uri="{FF2B5EF4-FFF2-40B4-BE49-F238E27FC236}">
                <a16:creationId xmlns:a16="http://schemas.microsoft.com/office/drawing/2014/main" id="{8F632777-B398-1723-D08E-01AD5C521EA0}"/>
              </a:ext>
            </a:extLst>
          </p:cNvPr>
          <p:cNvSpPr/>
          <p:nvPr/>
        </p:nvSpPr>
        <p:spPr>
          <a:xfrm>
            <a:off x="8067040" y="3667760"/>
            <a:ext cx="3698240" cy="323088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230880">
                <a:moveTo>
                  <a:pt x="3302000" y="3220720"/>
                </a:moveTo>
                <a:lnTo>
                  <a:pt x="3698240" y="0"/>
                </a:lnTo>
                <a:lnTo>
                  <a:pt x="1178560" y="0"/>
                </a:lnTo>
                <a:lnTo>
                  <a:pt x="0" y="2316480"/>
                </a:lnTo>
                <a:lnTo>
                  <a:pt x="2346960" y="3230880"/>
                </a:lnTo>
                <a:lnTo>
                  <a:pt x="3302000" y="322072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Picture Placeholder 12">
            <a:extLst>
              <a:ext uri="{FF2B5EF4-FFF2-40B4-BE49-F238E27FC236}">
                <a16:creationId xmlns:a16="http://schemas.microsoft.com/office/drawing/2014/main" id="{419374F4-C133-E730-F033-2F4AFFAFC663}"/>
              </a:ext>
            </a:extLst>
          </p:cNvPr>
          <p:cNvSpPr>
            <a:spLocks noGrp="1"/>
          </p:cNvSpPr>
          <p:nvPr>
            <p:ph type="pic" sz="quarter" idx="12"/>
          </p:nvPr>
        </p:nvSpPr>
        <p:spPr>
          <a:xfrm>
            <a:off x="-92611" y="-52955"/>
            <a:ext cx="3942148" cy="4434789"/>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95246" h="10231858">
                <a:moveTo>
                  <a:pt x="870" y="38717"/>
                </a:moveTo>
                <a:lnTo>
                  <a:pt x="4008066" y="464"/>
                </a:lnTo>
                <a:cubicBezTo>
                  <a:pt x="4007944" y="-30879"/>
                  <a:pt x="9071921" y="1533344"/>
                  <a:pt x="9095246" y="1513725"/>
                </a:cubicBezTo>
                <a:lnTo>
                  <a:pt x="5128979" y="10231858"/>
                </a:lnTo>
                <a:lnTo>
                  <a:pt x="12021" y="7247100"/>
                </a:lnTo>
                <a:cubicBezTo>
                  <a:pt x="7220" y="7270292"/>
                  <a:pt x="-3038" y="1269559"/>
                  <a:pt x="870" y="38717"/>
                </a:cubicBezTo>
                <a:close/>
              </a:path>
            </a:pathLst>
          </a:custGeom>
        </p:spPr>
        <p:txBody>
          <a:bodyPr/>
          <a:lstStyle/>
          <a:p>
            <a:r>
              <a:rPr lang="fi-FI"/>
              <a:t>Lisää kuva napsauttamalla kuvaketta</a:t>
            </a:r>
            <a:endParaRPr lang="en-FI"/>
          </a:p>
        </p:txBody>
      </p:sp>
      <p:sp>
        <p:nvSpPr>
          <p:cNvPr id="9" name="Picture Placeholder 12">
            <a:extLst>
              <a:ext uri="{FF2B5EF4-FFF2-40B4-BE49-F238E27FC236}">
                <a16:creationId xmlns:a16="http://schemas.microsoft.com/office/drawing/2014/main" id="{DEF7D630-C477-B3DF-30A9-1ED417785370}"/>
              </a:ext>
            </a:extLst>
          </p:cNvPr>
          <p:cNvSpPr>
            <a:spLocks noGrp="1"/>
          </p:cNvSpPr>
          <p:nvPr>
            <p:ph type="pic" sz="quarter" idx="13"/>
          </p:nvPr>
        </p:nvSpPr>
        <p:spPr>
          <a:xfrm>
            <a:off x="7979948" y="2941642"/>
            <a:ext cx="4202161" cy="3998632"/>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5143" h="9225565">
                <a:moveTo>
                  <a:pt x="2074" y="5426640"/>
                </a:moveTo>
                <a:lnTo>
                  <a:pt x="5149640" y="136"/>
                </a:lnTo>
                <a:cubicBezTo>
                  <a:pt x="5149518" y="-31207"/>
                  <a:pt x="9671818" y="5381769"/>
                  <a:pt x="9695143" y="5362150"/>
                </a:cubicBezTo>
                <a:lnTo>
                  <a:pt x="3904284" y="9205197"/>
                </a:lnTo>
                <a:cubicBezTo>
                  <a:pt x="3861671" y="9236612"/>
                  <a:pt x="2792726" y="9239517"/>
                  <a:pt x="2750113" y="9156892"/>
                </a:cubicBezTo>
                <a:cubicBezTo>
                  <a:pt x="2745312" y="9180084"/>
                  <a:pt x="-87361" y="5431582"/>
                  <a:pt x="2074" y="5426640"/>
                </a:cubicBezTo>
                <a:close/>
              </a:path>
            </a:pathLst>
          </a:custGeom>
        </p:spPr>
        <p:txBody>
          <a:bodyPr/>
          <a:lstStyle/>
          <a:p>
            <a:r>
              <a:rPr lang="fi-FI"/>
              <a:t>Lisää kuva napsauttamalla kuvaketta</a:t>
            </a:r>
            <a:endParaRPr lang="en-FI"/>
          </a:p>
        </p:txBody>
      </p:sp>
      <p:sp>
        <p:nvSpPr>
          <p:cNvPr id="10" name="Title 1">
            <a:extLst>
              <a:ext uri="{FF2B5EF4-FFF2-40B4-BE49-F238E27FC236}">
                <a16:creationId xmlns:a16="http://schemas.microsoft.com/office/drawing/2014/main" id="{DFB621D9-6AF6-3D02-C24A-A8B5C66EB7DA}"/>
              </a:ext>
            </a:extLst>
          </p:cNvPr>
          <p:cNvSpPr>
            <a:spLocks noGrp="1"/>
          </p:cNvSpPr>
          <p:nvPr>
            <p:ph type="title"/>
          </p:nvPr>
        </p:nvSpPr>
        <p:spPr>
          <a:xfrm>
            <a:off x="2323070" y="1228762"/>
            <a:ext cx="7394671" cy="4490720"/>
          </a:xfrm>
        </p:spPr>
        <p:txBody>
          <a:bodyPr>
            <a:noAutofit/>
          </a:bodyPr>
          <a:lstStyle>
            <a:lvl1pPr algn="ctr">
              <a:defRPr sz="4400" b="1" i="0">
                <a:solidFill>
                  <a:srgbClr val="152B96"/>
                </a:solidFill>
                <a:latin typeface="Poppins" pitchFamily="2" charset="77"/>
                <a:cs typeface="Poppins" pitchFamily="2" charset="77"/>
              </a:defRPr>
            </a:lvl1pPr>
          </a:lstStyle>
          <a:p>
            <a:r>
              <a:rPr lang="fi-FI"/>
              <a:t>Muokkaa ots. perustyyl. napsautt.</a:t>
            </a:r>
            <a:endParaRPr lang="en-FI"/>
          </a:p>
        </p:txBody>
      </p:sp>
      <p:sp>
        <p:nvSpPr>
          <p:cNvPr id="2" name="Päivämäärän paikkamerkki 1">
            <a:extLst>
              <a:ext uri="{FF2B5EF4-FFF2-40B4-BE49-F238E27FC236}">
                <a16:creationId xmlns:a16="http://schemas.microsoft.com/office/drawing/2014/main" id="{FF757DBF-284A-BD1D-05D1-AD2998503929}"/>
              </a:ext>
            </a:extLst>
          </p:cNvPr>
          <p:cNvSpPr>
            <a:spLocks noGrp="1"/>
          </p:cNvSpPr>
          <p:nvPr>
            <p:ph type="dt" sz="half" idx="14"/>
          </p:nvPr>
        </p:nvSpPr>
        <p:spPr/>
        <p:txBody>
          <a:bodyPr/>
          <a:lstStyle/>
          <a:p>
            <a:endParaRPr lang="fi-FI" dirty="0"/>
          </a:p>
        </p:txBody>
      </p:sp>
      <p:sp>
        <p:nvSpPr>
          <p:cNvPr id="3" name="Alatunnisteen paikkamerkki 2">
            <a:extLst>
              <a:ext uri="{FF2B5EF4-FFF2-40B4-BE49-F238E27FC236}">
                <a16:creationId xmlns:a16="http://schemas.microsoft.com/office/drawing/2014/main" id="{9D8BC8BB-33D4-83F5-21A3-D1D786417D45}"/>
              </a:ext>
            </a:extLst>
          </p:cNvPr>
          <p:cNvSpPr>
            <a:spLocks noGrp="1"/>
          </p:cNvSpPr>
          <p:nvPr>
            <p:ph type="ftr" sz="quarter" idx="15"/>
          </p:nvPr>
        </p:nvSpPr>
        <p:spPr/>
        <p:txBody>
          <a:bodyPr/>
          <a:lstStyle/>
          <a:p>
            <a:r>
              <a:rPr lang="fi-FI"/>
              <a:t>7</a:t>
            </a:r>
          </a:p>
        </p:txBody>
      </p:sp>
      <p:pic>
        <p:nvPicPr>
          <p:cNvPr id="12" name="Graphic 18">
            <a:extLst>
              <a:ext uri="{FF2B5EF4-FFF2-40B4-BE49-F238E27FC236}">
                <a16:creationId xmlns:a16="http://schemas.microsoft.com/office/drawing/2014/main" id="{4C8B278A-E20A-2CB4-E35A-A37B7DADD5F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274012" y="442529"/>
            <a:ext cx="1459367" cy="321133"/>
          </a:xfrm>
          <a:prstGeom prst="rect">
            <a:avLst/>
          </a:prstGeom>
        </p:spPr>
      </p:pic>
    </p:spTree>
    <p:extLst>
      <p:ext uri="{BB962C8B-B14F-4D97-AF65-F5344CB8AC3E}">
        <p14:creationId xmlns:p14="http://schemas.microsoft.com/office/powerpoint/2010/main" val="1607663331"/>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Korostepohja 3">
    <p:bg>
      <p:bgPr>
        <a:solidFill>
          <a:srgbClr val="F2A6DB">
            <a:alpha val="90000"/>
          </a:srgbClr>
        </a:solidFill>
        <a:effectLst/>
      </p:bgPr>
    </p:bg>
    <p:spTree>
      <p:nvGrpSpPr>
        <p:cNvPr id="1" name=""/>
        <p:cNvGrpSpPr/>
        <p:nvPr/>
      </p:nvGrpSpPr>
      <p:grpSpPr>
        <a:xfrm>
          <a:off x="0" y="0"/>
          <a:ext cx="0" cy="0"/>
          <a:chOff x="0" y="0"/>
          <a:chExt cx="0" cy="0"/>
        </a:xfrm>
      </p:grpSpPr>
      <p:sp>
        <p:nvSpPr>
          <p:cNvPr id="4" name="Puolivapaa piirto 5">
            <a:extLst>
              <a:ext uri="{FF2B5EF4-FFF2-40B4-BE49-F238E27FC236}">
                <a16:creationId xmlns:a16="http://schemas.microsoft.com/office/drawing/2014/main" id="{C4CC9B86-4471-4C24-6410-091A8EB1B420}"/>
              </a:ext>
            </a:extLst>
          </p:cNvPr>
          <p:cNvSpPr/>
          <p:nvPr/>
        </p:nvSpPr>
        <p:spPr>
          <a:xfrm>
            <a:off x="-30480" y="-101600"/>
            <a:ext cx="3830320" cy="4490720"/>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Puolivapaa piirto 6">
            <a:extLst>
              <a:ext uri="{FF2B5EF4-FFF2-40B4-BE49-F238E27FC236}">
                <a16:creationId xmlns:a16="http://schemas.microsoft.com/office/drawing/2014/main" id="{85C01BAB-2845-7BB5-DEFC-FB04D684D499}"/>
              </a:ext>
            </a:extLst>
          </p:cNvPr>
          <p:cNvSpPr/>
          <p:nvPr/>
        </p:nvSpPr>
        <p:spPr>
          <a:xfrm>
            <a:off x="8067040" y="3667760"/>
            <a:ext cx="3698240" cy="323088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230880">
                <a:moveTo>
                  <a:pt x="3302000" y="3220720"/>
                </a:moveTo>
                <a:lnTo>
                  <a:pt x="3698240" y="0"/>
                </a:lnTo>
                <a:lnTo>
                  <a:pt x="1178560" y="0"/>
                </a:lnTo>
                <a:lnTo>
                  <a:pt x="0" y="2316480"/>
                </a:lnTo>
                <a:lnTo>
                  <a:pt x="2346960" y="3230880"/>
                </a:lnTo>
                <a:lnTo>
                  <a:pt x="3302000" y="322072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BD591BD1-7FD9-1CFE-D05A-2F578BD401F9}"/>
              </a:ext>
            </a:extLst>
          </p:cNvPr>
          <p:cNvSpPr/>
          <p:nvPr/>
        </p:nvSpPr>
        <p:spPr>
          <a:xfrm>
            <a:off x="-30480" y="-101600"/>
            <a:ext cx="3830320" cy="4490720"/>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uolivapaa piirto 6">
            <a:extLst>
              <a:ext uri="{FF2B5EF4-FFF2-40B4-BE49-F238E27FC236}">
                <a16:creationId xmlns:a16="http://schemas.microsoft.com/office/drawing/2014/main" id="{8F632777-B398-1723-D08E-01AD5C521EA0}"/>
              </a:ext>
            </a:extLst>
          </p:cNvPr>
          <p:cNvSpPr/>
          <p:nvPr/>
        </p:nvSpPr>
        <p:spPr>
          <a:xfrm>
            <a:off x="8067040" y="3667760"/>
            <a:ext cx="3698240" cy="323088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230880">
                <a:moveTo>
                  <a:pt x="3302000" y="3220720"/>
                </a:moveTo>
                <a:lnTo>
                  <a:pt x="3698240" y="0"/>
                </a:lnTo>
                <a:lnTo>
                  <a:pt x="1178560" y="0"/>
                </a:lnTo>
                <a:lnTo>
                  <a:pt x="0" y="2316480"/>
                </a:lnTo>
                <a:lnTo>
                  <a:pt x="2346960" y="3230880"/>
                </a:lnTo>
                <a:lnTo>
                  <a:pt x="3302000" y="322072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Picture Placeholder 12">
            <a:extLst>
              <a:ext uri="{FF2B5EF4-FFF2-40B4-BE49-F238E27FC236}">
                <a16:creationId xmlns:a16="http://schemas.microsoft.com/office/drawing/2014/main" id="{419374F4-C133-E730-F033-2F4AFFAFC663}"/>
              </a:ext>
            </a:extLst>
          </p:cNvPr>
          <p:cNvSpPr>
            <a:spLocks noGrp="1"/>
          </p:cNvSpPr>
          <p:nvPr>
            <p:ph type="pic" sz="quarter" idx="12"/>
          </p:nvPr>
        </p:nvSpPr>
        <p:spPr>
          <a:xfrm>
            <a:off x="-92611" y="-52955"/>
            <a:ext cx="3942148" cy="4434789"/>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95246" h="10231858">
                <a:moveTo>
                  <a:pt x="870" y="38717"/>
                </a:moveTo>
                <a:lnTo>
                  <a:pt x="4008066" y="464"/>
                </a:lnTo>
                <a:cubicBezTo>
                  <a:pt x="4007944" y="-30879"/>
                  <a:pt x="9071921" y="1533344"/>
                  <a:pt x="9095246" y="1513725"/>
                </a:cubicBezTo>
                <a:lnTo>
                  <a:pt x="5128979" y="10231858"/>
                </a:lnTo>
                <a:lnTo>
                  <a:pt x="12021" y="7247100"/>
                </a:lnTo>
                <a:cubicBezTo>
                  <a:pt x="7220" y="7270292"/>
                  <a:pt x="-3038" y="1269559"/>
                  <a:pt x="870" y="38717"/>
                </a:cubicBezTo>
                <a:close/>
              </a:path>
            </a:pathLst>
          </a:custGeom>
        </p:spPr>
        <p:txBody>
          <a:bodyPr/>
          <a:lstStyle/>
          <a:p>
            <a:r>
              <a:rPr lang="fi-FI"/>
              <a:t>Lisää kuva napsauttamalla kuvaketta</a:t>
            </a:r>
            <a:endParaRPr lang="en-FI"/>
          </a:p>
        </p:txBody>
      </p:sp>
      <p:sp>
        <p:nvSpPr>
          <p:cNvPr id="9" name="Picture Placeholder 12">
            <a:extLst>
              <a:ext uri="{FF2B5EF4-FFF2-40B4-BE49-F238E27FC236}">
                <a16:creationId xmlns:a16="http://schemas.microsoft.com/office/drawing/2014/main" id="{DEF7D630-C477-B3DF-30A9-1ED417785370}"/>
              </a:ext>
            </a:extLst>
          </p:cNvPr>
          <p:cNvSpPr>
            <a:spLocks noGrp="1"/>
          </p:cNvSpPr>
          <p:nvPr>
            <p:ph type="pic" sz="quarter" idx="13"/>
          </p:nvPr>
        </p:nvSpPr>
        <p:spPr>
          <a:xfrm>
            <a:off x="7979948" y="2941642"/>
            <a:ext cx="4202161" cy="3998632"/>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5143" h="9225565">
                <a:moveTo>
                  <a:pt x="2074" y="5426640"/>
                </a:moveTo>
                <a:lnTo>
                  <a:pt x="5149640" y="136"/>
                </a:lnTo>
                <a:cubicBezTo>
                  <a:pt x="5149518" y="-31207"/>
                  <a:pt x="9671818" y="5381769"/>
                  <a:pt x="9695143" y="5362150"/>
                </a:cubicBezTo>
                <a:lnTo>
                  <a:pt x="3904284" y="9205197"/>
                </a:lnTo>
                <a:cubicBezTo>
                  <a:pt x="3861671" y="9236612"/>
                  <a:pt x="2792726" y="9239517"/>
                  <a:pt x="2750113" y="9156892"/>
                </a:cubicBezTo>
                <a:cubicBezTo>
                  <a:pt x="2745312" y="9180084"/>
                  <a:pt x="-87361" y="5431582"/>
                  <a:pt x="2074" y="5426640"/>
                </a:cubicBezTo>
                <a:close/>
              </a:path>
            </a:pathLst>
          </a:custGeom>
        </p:spPr>
        <p:txBody>
          <a:bodyPr/>
          <a:lstStyle/>
          <a:p>
            <a:r>
              <a:rPr lang="fi-FI"/>
              <a:t>Lisää kuva napsauttamalla kuvaketta</a:t>
            </a:r>
            <a:endParaRPr lang="en-FI"/>
          </a:p>
        </p:txBody>
      </p:sp>
      <p:sp>
        <p:nvSpPr>
          <p:cNvPr id="10" name="Title 1">
            <a:extLst>
              <a:ext uri="{FF2B5EF4-FFF2-40B4-BE49-F238E27FC236}">
                <a16:creationId xmlns:a16="http://schemas.microsoft.com/office/drawing/2014/main" id="{DFB621D9-6AF6-3D02-C24A-A8B5C66EB7DA}"/>
              </a:ext>
            </a:extLst>
          </p:cNvPr>
          <p:cNvSpPr>
            <a:spLocks noGrp="1"/>
          </p:cNvSpPr>
          <p:nvPr>
            <p:ph type="title"/>
          </p:nvPr>
        </p:nvSpPr>
        <p:spPr>
          <a:xfrm>
            <a:off x="2323070" y="1228762"/>
            <a:ext cx="7394671" cy="4490720"/>
          </a:xfrm>
        </p:spPr>
        <p:txBody>
          <a:bodyPr>
            <a:noAutofit/>
          </a:bodyPr>
          <a:lstStyle>
            <a:lvl1pPr algn="ctr">
              <a:defRPr sz="4400" b="1" i="0">
                <a:solidFill>
                  <a:srgbClr val="152B96"/>
                </a:solidFill>
                <a:latin typeface="Poppins" pitchFamily="2" charset="77"/>
                <a:cs typeface="Poppins" pitchFamily="2" charset="77"/>
              </a:defRPr>
            </a:lvl1pPr>
          </a:lstStyle>
          <a:p>
            <a:r>
              <a:rPr lang="fi-FI"/>
              <a:t>Muokkaa ots. perustyyl. napsautt.</a:t>
            </a:r>
            <a:endParaRPr lang="en-FI"/>
          </a:p>
        </p:txBody>
      </p:sp>
      <p:sp>
        <p:nvSpPr>
          <p:cNvPr id="2" name="Päivämäärän paikkamerkki 1">
            <a:extLst>
              <a:ext uri="{FF2B5EF4-FFF2-40B4-BE49-F238E27FC236}">
                <a16:creationId xmlns:a16="http://schemas.microsoft.com/office/drawing/2014/main" id="{C2CE68FE-0F40-B3DC-1EE3-EB11B6F72F18}"/>
              </a:ext>
            </a:extLst>
          </p:cNvPr>
          <p:cNvSpPr>
            <a:spLocks noGrp="1"/>
          </p:cNvSpPr>
          <p:nvPr>
            <p:ph type="dt" sz="half" idx="14"/>
          </p:nvPr>
        </p:nvSpPr>
        <p:spPr/>
        <p:txBody>
          <a:bodyPr/>
          <a:lstStyle/>
          <a:p>
            <a:endParaRPr lang="fi-FI" dirty="0"/>
          </a:p>
        </p:txBody>
      </p:sp>
      <p:sp>
        <p:nvSpPr>
          <p:cNvPr id="3" name="Alatunnisteen paikkamerkki 2">
            <a:extLst>
              <a:ext uri="{FF2B5EF4-FFF2-40B4-BE49-F238E27FC236}">
                <a16:creationId xmlns:a16="http://schemas.microsoft.com/office/drawing/2014/main" id="{D2B80137-C984-08BA-3D64-1AC13A941D3E}"/>
              </a:ext>
            </a:extLst>
          </p:cNvPr>
          <p:cNvSpPr>
            <a:spLocks noGrp="1"/>
          </p:cNvSpPr>
          <p:nvPr>
            <p:ph type="ftr" sz="quarter" idx="15"/>
          </p:nvPr>
        </p:nvSpPr>
        <p:spPr/>
        <p:txBody>
          <a:bodyPr/>
          <a:lstStyle/>
          <a:p>
            <a:r>
              <a:rPr lang="fi-FI"/>
              <a:t>7</a:t>
            </a:r>
          </a:p>
        </p:txBody>
      </p:sp>
      <p:pic>
        <p:nvPicPr>
          <p:cNvPr id="12" name="Graphic 18">
            <a:extLst>
              <a:ext uri="{FF2B5EF4-FFF2-40B4-BE49-F238E27FC236}">
                <a16:creationId xmlns:a16="http://schemas.microsoft.com/office/drawing/2014/main" id="{71D16360-1636-E919-22D5-008A68CC6B6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274012" y="442529"/>
            <a:ext cx="1459367" cy="321133"/>
          </a:xfrm>
          <a:prstGeom prst="rect">
            <a:avLst/>
          </a:prstGeom>
        </p:spPr>
      </p:pic>
    </p:spTree>
    <p:extLst>
      <p:ext uri="{BB962C8B-B14F-4D97-AF65-F5344CB8AC3E}">
        <p14:creationId xmlns:p14="http://schemas.microsoft.com/office/powerpoint/2010/main" val="842864040"/>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Korostepohja 4">
    <p:bg>
      <p:bgPr>
        <a:solidFill>
          <a:srgbClr val="A2E4B8">
            <a:alpha val="89804"/>
          </a:srgbClr>
        </a:solidFill>
        <a:effectLst/>
      </p:bgPr>
    </p:bg>
    <p:spTree>
      <p:nvGrpSpPr>
        <p:cNvPr id="1" name=""/>
        <p:cNvGrpSpPr/>
        <p:nvPr/>
      </p:nvGrpSpPr>
      <p:grpSpPr>
        <a:xfrm>
          <a:off x="0" y="0"/>
          <a:ext cx="0" cy="0"/>
          <a:chOff x="0" y="0"/>
          <a:chExt cx="0" cy="0"/>
        </a:xfrm>
      </p:grpSpPr>
      <p:sp>
        <p:nvSpPr>
          <p:cNvPr id="4" name="Puolivapaa piirto 5">
            <a:extLst>
              <a:ext uri="{FF2B5EF4-FFF2-40B4-BE49-F238E27FC236}">
                <a16:creationId xmlns:a16="http://schemas.microsoft.com/office/drawing/2014/main" id="{9C984058-83F5-6F5F-A721-11C9A1B86D63}"/>
              </a:ext>
            </a:extLst>
          </p:cNvPr>
          <p:cNvSpPr/>
          <p:nvPr/>
        </p:nvSpPr>
        <p:spPr>
          <a:xfrm>
            <a:off x="-30480" y="-101600"/>
            <a:ext cx="3830320" cy="4490720"/>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Puolivapaa piirto 6">
            <a:extLst>
              <a:ext uri="{FF2B5EF4-FFF2-40B4-BE49-F238E27FC236}">
                <a16:creationId xmlns:a16="http://schemas.microsoft.com/office/drawing/2014/main" id="{998BFB9E-7E77-5719-C8DF-89877B0E3CAE}"/>
              </a:ext>
            </a:extLst>
          </p:cNvPr>
          <p:cNvSpPr/>
          <p:nvPr/>
        </p:nvSpPr>
        <p:spPr>
          <a:xfrm>
            <a:off x="8067040" y="3667760"/>
            <a:ext cx="3698240" cy="323088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230880">
                <a:moveTo>
                  <a:pt x="3302000" y="3220720"/>
                </a:moveTo>
                <a:lnTo>
                  <a:pt x="3698240" y="0"/>
                </a:lnTo>
                <a:lnTo>
                  <a:pt x="1178560" y="0"/>
                </a:lnTo>
                <a:lnTo>
                  <a:pt x="0" y="2316480"/>
                </a:lnTo>
                <a:lnTo>
                  <a:pt x="2346960" y="3230880"/>
                </a:lnTo>
                <a:lnTo>
                  <a:pt x="3302000" y="322072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BD591BD1-7FD9-1CFE-D05A-2F578BD401F9}"/>
              </a:ext>
            </a:extLst>
          </p:cNvPr>
          <p:cNvSpPr/>
          <p:nvPr/>
        </p:nvSpPr>
        <p:spPr>
          <a:xfrm>
            <a:off x="-30480" y="-101600"/>
            <a:ext cx="3830320" cy="4490720"/>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uolivapaa piirto 6">
            <a:extLst>
              <a:ext uri="{FF2B5EF4-FFF2-40B4-BE49-F238E27FC236}">
                <a16:creationId xmlns:a16="http://schemas.microsoft.com/office/drawing/2014/main" id="{8F632777-B398-1723-D08E-01AD5C521EA0}"/>
              </a:ext>
            </a:extLst>
          </p:cNvPr>
          <p:cNvSpPr/>
          <p:nvPr/>
        </p:nvSpPr>
        <p:spPr>
          <a:xfrm>
            <a:off x="8067040" y="3667760"/>
            <a:ext cx="3698240" cy="323088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230880">
                <a:moveTo>
                  <a:pt x="3302000" y="3220720"/>
                </a:moveTo>
                <a:lnTo>
                  <a:pt x="3698240" y="0"/>
                </a:lnTo>
                <a:lnTo>
                  <a:pt x="1178560" y="0"/>
                </a:lnTo>
                <a:lnTo>
                  <a:pt x="0" y="2316480"/>
                </a:lnTo>
                <a:lnTo>
                  <a:pt x="2346960" y="3230880"/>
                </a:lnTo>
                <a:lnTo>
                  <a:pt x="3302000" y="322072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Picture Placeholder 12">
            <a:extLst>
              <a:ext uri="{FF2B5EF4-FFF2-40B4-BE49-F238E27FC236}">
                <a16:creationId xmlns:a16="http://schemas.microsoft.com/office/drawing/2014/main" id="{419374F4-C133-E730-F033-2F4AFFAFC663}"/>
              </a:ext>
            </a:extLst>
          </p:cNvPr>
          <p:cNvSpPr>
            <a:spLocks noGrp="1"/>
          </p:cNvSpPr>
          <p:nvPr>
            <p:ph type="pic" sz="quarter" idx="12"/>
          </p:nvPr>
        </p:nvSpPr>
        <p:spPr>
          <a:xfrm>
            <a:off x="-92611" y="-52955"/>
            <a:ext cx="3942148" cy="4434789"/>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95246" h="10231858">
                <a:moveTo>
                  <a:pt x="870" y="38717"/>
                </a:moveTo>
                <a:lnTo>
                  <a:pt x="4008066" y="464"/>
                </a:lnTo>
                <a:cubicBezTo>
                  <a:pt x="4007944" y="-30879"/>
                  <a:pt x="9071921" y="1533344"/>
                  <a:pt x="9095246" y="1513725"/>
                </a:cubicBezTo>
                <a:lnTo>
                  <a:pt x="5128979" y="10231858"/>
                </a:lnTo>
                <a:lnTo>
                  <a:pt x="12021" y="7247100"/>
                </a:lnTo>
                <a:cubicBezTo>
                  <a:pt x="7220" y="7270292"/>
                  <a:pt x="-3038" y="1269559"/>
                  <a:pt x="870" y="38717"/>
                </a:cubicBezTo>
                <a:close/>
              </a:path>
            </a:pathLst>
          </a:custGeom>
        </p:spPr>
        <p:txBody>
          <a:bodyPr/>
          <a:lstStyle/>
          <a:p>
            <a:r>
              <a:rPr lang="fi-FI"/>
              <a:t>Lisää kuva napsauttamalla kuvaketta</a:t>
            </a:r>
            <a:endParaRPr lang="en-FI"/>
          </a:p>
        </p:txBody>
      </p:sp>
      <p:sp>
        <p:nvSpPr>
          <p:cNvPr id="9" name="Picture Placeholder 12">
            <a:extLst>
              <a:ext uri="{FF2B5EF4-FFF2-40B4-BE49-F238E27FC236}">
                <a16:creationId xmlns:a16="http://schemas.microsoft.com/office/drawing/2014/main" id="{DEF7D630-C477-B3DF-30A9-1ED417785370}"/>
              </a:ext>
            </a:extLst>
          </p:cNvPr>
          <p:cNvSpPr>
            <a:spLocks noGrp="1"/>
          </p:cNvSpPr>
          <p:nvPr>
            <p:ph type="pic" sz="quarter" idx="13"/>
          </p:nvPr>
        </p:nvSpPr>
        <p:spPr>
          <a:xfrm>
            <a:off x="7979948" y="2941642"/>
            <a:ext cx="4202161" cy="3998632"/>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5143" h="9225565">
                <a:moveTo>
                  <a:pt x="2074" y="5426640"/>
                </a:moveTo>
                <a:lnTo>
                  <a:pt x="5149640" y="136"/>
                </a:lnTo>
                <a:cubicBezTo>
                  <a:pt x="5149518" y="-31207"/>
                  <a:pt x="9671818" y="5381769"/>
                  <a:pt x="9695143" y="5362150"/>
                </a:cubicBezTo>
                <a:lnTo>
                  <a:pt x="3904284" y="9205197"/>
                </a:lnTo>
                <a:cubicBezTo>
                  <a:pt x="3861671" y="9236612"/>
                  <a:pt x="2792726" y="9239517"/>
                  <a:pt x="2750113" y="9156892"/>
                </a:cubicBezTo>
                <a:cubicBezTo>
                  <a:pt x="2745312" y="9180084"/>
                  <a:pt x="-87361" y="5431582"/>
                  <a:pt x="2074" y="5426640"/>
                </a:cubicBezTo>
                <a:close/>
              </a:path>
            </a:pathLst>
          </a:custGeom>
        </p:spPr>
        <p:txBody>
          <a:bodyPr/>
          <a:lstStyle/>
          <a:p>
            <a:r>
              <a:rPr lang="fi-FI"/>
              <a:t>Lisää kuva napsauttamalla kuvaketta</a:t>
            </a:r>
            <a:endParaRPr lang="en-FI"/>
          </a:p>
        </p:txBody>
      </p:sp>
      <p:sp>
        <p:nvSpPr>
          <p:cNvPr id="10" name="Title 1">
            <a:extLst>
              <a:ext uri="{FF2B5EF4-FFF2-40B4-BE49-F238E27FC236}">
                <a16:creationId xmlns:a16="http://schemas.microsoft.com/office/drawing/2014/main" id="{DFB621D9-6AF6-3D02-C24A-A8B5C66EB7DA}"/>
              </a:ext>
            </a:extLst>
          </p:cNvPr>
          <p:cNvSpPr>
            <a:spLocks noGrp="1"/>
          </p:cNvSpPr>
          <p:nvPr>
            <p:ph type="title"/>
          </p:nvPr>
        </p:nvSpPr>
        <p:spPr>
          <a:xfrm>
            <a:off x="2323070" y="1228762"/>
            <a:ext cx="7394671" cy="4490720"/>
          </a:xfrm>
        </p:spPr>
        <p:txBody>
          <a:bodyPr>
            <a:noAutofit/>
          </a:bodyPr>
          <a:lstStyle>
            <a:lvl1pPr algn="ctr">
              <a:defRPr sz="4400" b="1" i="0">
                <a:solidFill>
                  <a:srgbClr val="152B96"/>
                </a:solidFill>
                <a:latin typeface="Poppins" pitchFamily="2" charset="77"/>
                <a:cs typeface="Poppins" pitchFamily="2" charset="77"/>
              </a:defRPr>
            </a:lvl1pPr>
          </a:lstStyle>
          <a:p>
            <a:r>
              <a:rPr lang="fi-FI"/>
              <a:t>Muokkaa ots. perustyyl. napsautt.</a:t>
            </a:r>
            <a:endParaRPr lang="en-FI"/>
          </a:p>
        </p:txBody>
      </p:sp>
      <p:sp>
        <p:nvSpPr>
          <p:cNvPr id="2" name="Päivämäärän paikkamerkki 1">
            <a:extLst>
              <a:ext uri="{FF2B5EF4-FFF2-40B4-BE49-F238E27FC236}">
                <a16:creationId xmlns:a16="http://schemas.microsoft.com/office/drawing/2014/main" id="{381D0D9B-2CBE-A174-BBEA-5C135C7ABEF7}"/>
              </a:ext>
            </a:extLst>
          </p:cNvPr>
          <p:cNvSpPr>
            <a:spLocks noGrp="1"/>
          </p:cNvSpPr>
          <p:nvPr>
            <p:ph type="dt" sz="half" idx="14"/>
          </p:nvPr>
        </p:nvSpPr>
        <p:spPr/>
        <p:txBody>
          <a:bodyPr/>
          <a:lstStyle/>
          <a:p>
            <a:endParaRPr lang="fi-FI" dirty="0"/>
          </a:p>
        </p:txBody>
      </p:sp>
      <p:sp>
        <p:nvSpPr>
          <p:cNvPr id="3" name="Alatunnisteen paikkamerkki 2">
            <a:extLst>
              <a:ext uri="{FF2B5EF4-FFF2-40B4-BE49-F238E27FC236}">
                <a16:creationId xmlns:a16="http://schemas.microsoft.com/office/drawing/2014/main" id="{E7284537-BFF9-981E-36C8-8BA756E721D3}"/>
              </a:ext>
            </a:extLst>
          </p:cNvPr>
          <p:cNvSpPr>
            <a:spLocks noGrp="1"/>
          </p:cNvSpPr>
          <p:nvPr>
            <p:ph type="ftr" sz="quarter" idx="15"/>
          </p:nvPr>
        </p:nvSpPr>
        <p:spPr/>
        <p:txBody>
          <a:bodyPr/>
          <a:lstStyle/>
          <a:p>
            <a:r>
              <a:rPr lang="fi-FI"/>
              <a:t>7</a:t>
            </a:r>
          </a:p>
        </p:txBody>
      </p:sp>
      <p:pic>
        <p:nvPicPr>
          <p:cNvPr id="12" name="Graphic 18">
            <a:extLst>
              <a:ext uri="{FF2B5EF4-FFF2-40B4-BE49-F238E27FC236}">
                <a16:creationId xmlns:a16="http://schemas.microsoft.com/office/drawing/2014/main" id="{B594742C-683E-0854-E6E9-95DD75A3BA2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274012" y="442529"/>
            <a:ext cx="1459367" cy="321133"/>
          </a:xfrm>
          <a:prstGeom prst="rect">
            <a:avLst/>
          </a:prstGeom>
        </p:spPr>
      </p:pic>
    </p:spTree>
    <p:extLst>
      <p:ext uri="{BB962C8B-B14F-4D97-AF65-F5344CB8AC3E}">
        <p14:creationId xmlns:p14="http://schemas.microsoft.com/office/powerpoint/2010/main" val="2135395621"/>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kstikorostus 1">
    <p:bg>
      <p:bgPr>
        <a:solidFill>
          <a:srgbClr val="B8CDFF">
            <a:alpha val="70000"/>
          </a:srgbClr>
        </a:solidFill>
        <a:effectLst/>
      </p:bgPr>
    </p:bg>
    <p:spTree>
      <p:nvGrpSpPr>
        <p:cNvPr id="1" name=""/>
        <p:cNvGrpSpPr/>
        <p:nvPr/>
      </p:nvGrpSpPr>
      <p:grpSpPr>
        <a:xfrm>
          <a:off x="0" y="0"/>
          <a:ext cx="0" cy="0"/>
          <a:chOff x="0" y="0"/>
          <a:chExt cx="0" cy="0"/>
        </a:xfrm>
      </p:grpSpPr>
      <p:sp>
        <p:nvSpPr>
          <p:cNvPr id="3" name="Puolivapaa piirto 4">
            <a:extLst>
              <a:ext uri="{FF2B5EF4-FFF2-40B4-BE49-F238E27FC236}">
                <a16:creationId xmlns:a16="http://schemas.microsoft.com/office/drawing/2014/main" id="{C5397584-3A2C-9A61-0793-4B5BB320FE3A}"/>
              </a:ext>
            </a:extLst>
          </p:cNvPr>
          <p:cNvSpPr/>
          <p:nvPr/>
        </p:nvSpPr>
        <p:spPr>
          <a:xfrm>
            <a:off x="5627424" y="0"/>
            <a:ext cx="6948889" cy="685800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2877459 w 3273699"/>
              <a:gd name="connsiteY0" fmla="*/ 3220720 h 3230880"/>
              <a:gd name="connsiteX1" fmla="*/ 3273699 w 3273699"/>
              <a:gd name="connsiteY1" fmla="*/ 0 h 3230880"/>
              <a:gd name="connsiteX2" fmla="*/ 754019 w 3273699"/>
              <a:gd name="connsiteY2" fmla="*/ 0 h 3230880"/>
              <a:gd name="connsiteX3" fmla="*/ 0 w 3273699"/>
              <a:gd name="connsiteY3" fmla="*/ 2472562 h 3230880"/>
              <a:gd name="connsiteX4" fmla="*/ 1922419 w 3273699"/>
              <a:gd name="connsiteY4" fmla="*/ 3230880 h 3230880"/>
              <a:gd name="connsiteX5" fmla="*/ 2877459 w 3273699"/>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699" h="3230880">
                <a:moveTo>
                  <a:pt x="2877459" y="3220720"/>
                </a:moveTo>
                <a:lnTo>
                  <a:pt x="3273699" y="0"/>
                </a:lnTo>
                <a:lnTo>
                  <a:pt x="754019" y="0"/>
                </a:lnTo>
                <a:lnTo>
                  <a:pt x="0" y="2472562"/>
                </a:lnTo>
                <a:lnTo>
                  <a:pt x="1922419" y="3230880"/>
                </a:lnTo>
                <a:lnTo>
                  <a:pt x="2877459" y="322072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Puolivapaa piirto 4">
            <a:extLst>
              <a:ext uri="{FF2B5EF4-FFF2-40B4-BE49-F238E27FC236}">
                <a16:creationId xmlns:a16="http://schemas.microsoft.com/office/drawing/2014/main" id="{B3ADBC6F-B370-D4B6-F3B4-C1A4DAFEF720}"/>
              </a:ext>
            </a:extLst>
          </p:cNvPr>
          <p:cNvSpPr/>
          <p:nvPr/>
        </p:nvSpPr>
        <p:spPr>
          <a:xfrm>
            <a:off x="5627424" y="0"/>
            <a:ext cx="6948889" cy="685800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2877459 w 3273699"/>
              <a:gd name="connsiteY0" fmla="*/ 3220720 h 3230880"/>
              <a:gd name="connsiteX1" fmla="*/ 3273699 w 3273699"/>
              <a:gd name="connsiteY1" fmla="*/ 0 h 3230880"/>
              <a:gd name="connsiteX2" fmla="*/ 754019 w 3273699"/>
              <a:gd name="connsiteY2" fmla="*/ 0 h 3230880"/>
              <a:gd name="connsiteX3" fmla="*/ 0 w 3273699"/>
              <a:gd name="connsiteY3" fmla="*/ 2472562 h 3230880"/>
              <a:gd name="connsiteX4" fmla="*/ 1922419 w 3273699"/>
              <a:gd name="connsiteY4" fmla="*/ 3230880 h 3230880"/>
              <a:gd name="connsiteX5" fmla="*/ 2877459 w 3273699"/>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699" h="3230880">
                <a:moveTo>
                  <a:pt x="2877459" y="3220720"/>
                </a:moveTo>
                <a:lnTo>
                  <a:pt x="3273699" y="0"/>
                </a:lnTo>
                <a:lnTo>
                  <a:pt x="754019" y="0"/>
                </a:lnTo>
                <a:lnTo>
                  <a:pt x="0" y="2472562"/>
                </a:lnTo>
                <a:lnTo>
                  <a:pt x="1922419" y="3230880"/>
                </a:lnTo>
                <a:lnTo>
                  <a:pt x="2877459" y="322072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äivämäärän paikkamerkki 3">
            <a:extLst>
              <a:ext uri="{FF2B5EF4-FFF2-40B4-BE49-F238E27FC236}">
                <a16:creationId xmlns:a16="http://schemas.microsoft.com/office/drawing/2014/main" id="{6D74963A-EAC7-FA1E-97B0-99A2A056C4F1}"/>
              </a:ext>
            </a:extLst>
          </p:cNvPr>
          <p:cNvSpPr>
            <a:spLocks noGrp="1"/>
          </p:cNvSpPr>
          <p:nvPr>
            <p:ph type="dt" sz="half" idx="13"/>
          </p:nvPr>
        </p:nvSpPr>
        <p:spPr>
          <a:xfrm>
            <a:off x="838200" y="6356350"/>
            <a:ext cx="2743200" cy="365125"/>
          </a:xfrm>
        </p:spPr>
        <p:txBody>
          <a:bodyPr/>
          <a:lstStyle/>
          <a:p>
            <a:endParaRPr lang="fi-FI" dirty="0"/>
          </a:p>
        </p:txBody>
      </p:sp>
      <p:sp>
        <p:nvSpPr>
          <p:cNvPr id="8" name="Alatunnisteen paikkamerkki 4">
            <a:extLst>
              <a:ext uri="{FF2B5EF4-FFF2-40B4-BE49-F238E27FC236}">
                <a16:creationId xmlns:a16="http://schemas.microsoft.com/office/drawing/2014/main" id="{D218AAFD-36E2-4E6B-4E47-3A4244E44C64}"/>
              </a:ext>
            </a:extLst>
          </p:cNvPr>
          <p:cNvSpPr>
            <a:spLocks noGrp="1"/>
          </p:cNvSpPr>
          <p:nvPr>
            <p:ph type="ftr" sz="quarter" idx="14"/>
          </p:nvPr>
        </p:nvSpPr>
        <p:spPr>
          <a:xfrm>
            <a:off x="4038600" y="6356350"/>
            <a:ext cx="4114800" cy="365125"/>
          </a:xfrm>
        </p:spPr>
        <p:txBody>
          <a:bodyPr/>
          <a:lstStyle/>
          <a:p>
            <a:r>
              <a:rPr lang="fi-FI"/>
              <a:t>7</a:t>
            </a:r>
          </a:p>
        </p:txBody>
      </p:sp>
      <p:sp>
        <p:nvSpPr>
          <p:cNvPr id="9" name="Title Placeholder 1">
            <a:extLst>
              <a:ext uri="{FF2B5EF4-FFF2-40B4-BE49-F238E27FC236}">
                <a16:creationId xmlns:a16="http://schemas.microsoft.com/office/drawing/2014/main" id="{5479077C-2114-D01B-CE7B-14E7D3D18A4A}"/>
              </a:ext>
            </a:extLst>
          </p:cNvPr>
          <p:cNvSpPr>
            <a:spLocks noGrp="1"/>
          </p:cNvSpPr>
          <p:nvPr>
            <p:ph type="title"/>
          </p:nvPr>
        </p:nvSpPr>
        <p:spPr>
          <a:xfrm>
            <a:off x="838200" y="604219"/>
            <a:ext cx="5084980" cy="1325563"/>
          </a:xfrm>
          <a:prstGeom prst="rect">
            <a:avLst/>
          </a:prstGeom>
        </p:spPr>
        <p:txBody>
          <a:bodyPr vert="horz" lIns="90000" tIns="45720" rIns="91440" bIns="45720" rtlCol="0" anchor="t" anchorCtr="0">
            <a:noAutofit/>
          </a:bodyPr>
          <a:lstStyle>
            <a:lvl1pPr>
              <a:defRPr sz="4400" b="1">
                <a:solidFill>
                  <a:srgbClr val="152B96"/>
                </a:solidFill>
              </a:defRPr>
            </a:lvl1pPr>
          </a:lstStyle>
          <a:p>
            <a:r>
              <a:rPr lang="fi-FI"/>
              <a:t>Muokkaa ots. perustyyl. napsautt.</a:t>
            </a:r>
            <a:endParaRPr lang="en-FI"/>
          </a:p>
        </p:txBody>
      </p:sp>
      <p:sp>
        <p:nvSpPr>
          <p:cNvPr id="10" name="Content Placeholder 14">
            <a:extLst>
              <a:ext uri="{FF2B5EF4-FFF2-40B4-BE49-F238E27FC236}">
                <a16:creationId xmlns:a16="http://schemas.microsoft.com/office/drawing/2014/main" id="{59F00137-7D78-9C7C-EAB1-3931D12C18F1}"/>
              </a:ext>
            </a:extLst>
          </p:cNvPr>
          <p:cNvSpPr>
            <a:spLocks noGrp="1"/>
          </p:cNvSpPr>
          <p:nvPr>
            <p:ph sz="quarter" idx="15" hasCustomPrompt="1"/>
          </p:nvPr>
        </p:nvSpPr>
        <p:spPr>
          <a:xfrm>
            <a:off x="6980582" y="2130863"/>
            <a:ext cx="5084980" cy="4151312"/>
          </a:xfrm>
        </p:spPr>
        <p:txBody>
          <a:bodyPr>
            <a:noAutofit/>
          </a:bodyPr>
          <a:lstStyle>
            <a:lvl1pPr marL="0" indent="0">
              <a:buFontTx/>
              <a:buNone/>
              <a:defRPr b="1">
                <a:solidFill>
                  <a:srgbClr val="B8CDFF"/>
                </a:solidFill>
              </a:defRPr>
            </a:lvl1pPr>
            <a:lvl2pPr>
              <a:defRPr b="1">
                <a:solidFill>
                  <a:srgbClr val="B8CDFF"/>
                </a:solidFill>
              </a:defRPr>
            </a:lvl2pPr>
            <a:lvl3pPr>
              <a:defRPr b="1">
                <a:solidFill>
                  <a:srgbClr val="B8CDFF"/>
                </a:solidFill>
              </a:defRPr>
            </a:lvl3pPr>
            <a:lvl4pPr>
              <a:defRPr b="1">
                <a:solidFill>
                  <a:srgbClr val="B8CDFF"/>
                </a:solidFill>
              </a:defRPr>
            </a:lvl4pPr>
            <a:lvl5pPr>
              <a:defRPr b="1">
                <a:solidFill>
                  <a:srgbClr val="B8CDFF"/>
                </a:solidFill>
              </a:defRPr>
            </a:lvl5pPr>
          </a:lstStyle>
          <a:p>
            <a:pPr lvl="0"/>
            <a:r>
              <a:rPr lang="fi-FI" noProof="0"/>
              <a:t>Teksti</a:t>
            </a:r>
          </a:p>
        </p:txBody>
      </p:sp>
      <p:sp>
        <p:nvSpPr>
          <p:cNvPr id="2" name="Sisällön paikkamerkki 10">
            <a:extLst>
              <a:ext uri="{FF2B5EF4-FFF2-40B4-BE49-F238E27FC236}">
                <a16:creationId xmlns:a16="http://schemas.microsoft.com/office/drawing/2014/main" id="{244D9F23-46FA-F61C-C58B-09CDCCDC5A89}"/>
              </a:ext>
            </a:extLst>
          </p:cNvPr>
          <p:cNvSpPr>
            <a:spLocks noGrp="1"/>
          </p:cNvSpPr>
          <p:nvPr>
            <p:ph sz="quarter" idx="16" hasCustomPrompt="1"/>
          </p:nvPr>
        </p:nvSpPr>
        <p:spPr>
          <a:xfrm>
            <a:off x="838200" y="2113935"/>
            <a:ext cx="5146366" cy="4063028"/>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2675863572"/>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kstikorostus 2">
    <p:bg>
      <p:bgPr>
        <a:solidFill>
          <a:srgbClr val="FFCC99">
            <a:alpha val="90000"/>
          </a:srgbClr>
        </a:solidFill>
        <a:effectLst/>
      </p:bgPr>
    </p:bg>
    <p:spTree>
      <p:nvGrpSpPr>
        <p:cNvPr id="1" name=""/>
        <p:cNvGrpSpPr/>
        <p:nvPr/>
      </p:nvGrpSpPr>
      <p:grpSpPr>
        <a:xfrm>
          <a:off x="0" y="0"/>
          <a:ext cx="0" cy="0"/>
          <a:chOff x="0" y="0"/>
          <a:chExt cx="0" cy="0"/>
        </a:xfrm>
      </p:grpSpPr>
      <p:sp>
        <p:nvSpPr>
          <p:cNvPr id="4" name="Puolivapaa piirto 4">
            <a:extLst>
              <a:ext uri="{FF2B5EF4-FFF2-40B4-BE49-F238E27FC236}">
                <a16:creationId xmlns:a16="http://schemas.microsoft.com/office/drawing/2014/main" id="{BEFF4638-EFDD-AA5F-BC5A-46BD5530757B}"/>
              </a:ext>
            </a:extLst>
          </p:cNvPr>
          <p:cNvSpPr/>
          <p:nvPr/>
        </p:nvSpPr>
        <p:spPr>
          <a:xfrm>
            <a:off x="5627424" y="0"/>
            <a:ext cx="6948889" cy="685800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2877459 w 3273699"/>
              <a:gd name="connsiteY0" fmla="*/ 3220720 h 3230880"/>
              <a:gd name="connsiteX1" fmla="*/ 3273699 w 3273699"/>
              <a:gd name="connsiteY1" fmla="*/ 0 h 3230880"/>
              <a:gd name="connsiteX2" fmla="*/ 754019 w 3273699"/>
              <a:gd name="connsiteY2" fmla="*/ 0 h 3230880"/>
              <a:gd name="connsiteX3" fmla="*/ 0 w 3273699"/>
              <a:gd name="connsiteY3" fmla="*/ 2472562 h 3230880"/>
              <a:gd name="connsiteX4" fmla="*/ 1922419 w 3273699"/>
              <a:gd name="connsiteY4" fmla="*/ 3230880 h 3230880"/>
              <a:gd name="connsiteX5" fmla="*/ 2877459 w 3273699"/>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699" h="3230880">
                <a:moveTo>
                  <a:pt x="2877459" y="3220720"/>
                </a:moveTo>
                <a:lnTo>
                  <a:pt x="3273699" y="0"/>
                </a:lnTo>
                <a:lnTo>
                  <a:pt x="754019" y="0"/>
                </a:lnTo>
                <a:lnTo>
                  <a:pt x="0" y="2472562"/>
                </a:lnTo>
                <a:lnTo>
                  <a:pt x="1922419" y="3230880"/>
                </a:lnTo>
                <a:lnTo>
                  <a:pt x="2877459" y="322072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4">
            <a:extLst>
              <a:ext uri="{FF2B5EF4-FFF2-40B4-BE49-F238E27FC236}">
                <a16:creationId xmlns:a16="http://schemas.microsoft.com/office/drawing/2014/main" id="{DA7D29FE-C2F6-C218-D93E-5FECA8E5F163}"/>
              </a:ext>
            </a:extLst>
          </p:cNvPr>
          <p:cNvSpPr/>
          <p:nvPr/>
        </p:nvSpPr>
        <p:spPr>
          <a:xfrm>
            <a:off x="5627424" y="0"/>
            <a:ext cx="6948889" cy="6858000"/>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2877459 w 3273699"/>
              <a:gd name="connsiteY0" fmla="*/ 3220720 h 3230880"/>
              <a:gd name="connsiteX1" fmla="*/ 3273699 w 3273699"/>
              <a:gd name="connsiteY1" fmla="*/ 0 h 3230880"/>
              <a:gd name="connsiteX2" fmla="*/ 754019 w 3273699"/>
              <a:gd name="connsiteY2" fmla="*/ 0 h 3230880"/>
              <a:gd name="connsiteX3" fmla="*/ 0 w 3273699"/>
              <a:gd name="connsiteY3" fmla="*/ 2472562 h 3230880"/>
              <a:gd name="connsiteX4" fmla="*/ 1922419 w 3273699"/>
              <a:gd name="connsiteY4" fmla="*/ 3230880 h 3230880"/>
              <a:gd name="connsiteX5" fmla="*/ 2877459 w 3273699"/>
              <a:gd name="connsiteY5" fmla="*/ 3220720 h 323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699" h="3230880">
                <a:moveTo>
                  <a:pt x="2877459" y="3220720"/>
                </a:moveTo>
                <a:lnTo>
                  <a:pt x="3273699" y="0"/>
                </a:lnTo>
                <a:lnTo>
                  <a:pt x="754019" y="0"/>
                </a:lnTo>
                <a:lnTo>
                  <a:pt x="0" y="2472562"/>
                </a:lnTo>
                <a:lnTo>
                  <a:pt x="1922419" y="3230880"/>
                </a:lnTo>
                <a:lnTo>
                  <a:pt x="2877459" y="322072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äivämäärän paikkamerkki 3">
            <a:extLst>
              <a:ext uri="{FF2B5EF4-FFF2-40B4-BE49-F238E27FC236}">
                <a16:creationId xmlns:a16="http://schemas.microsoft.com/office/drawing/2014/main" id="{6D74963A-EAC7-FA1E-97B0-99A2A056C4F1}"/>
              </a:ext>
            </a:extLst>
          </p:cNvPr>
          <p:cNvSpPr>
            <a:spLocks noGrp="1"/>
          </p:cNvSpPr>
          <p:nvPr>
            <p:ph type="dt" sz="half" idx="13"/>
          </p:nvPr>
        </p:nvSpPr>
        <p:spPr>
          <a:xfrm>
            <a:off x="838200" y="6356350"/>
            <a:ext cx="2743200" cy="365125"/>
          </a:xfrm>
        </p:spPr>
        <p:txBody>
          <a:bodyPr/>
          <a:lstStyle/>
          <a:p>
            <a:endParaRPr lang="fi-FI" dirty="0"/>
          </a:p>
        </p:txBody>
      </p:sp>
      <p:sp>
        <p:nvSpPr>
          <p:cNvPr id="8" name="Alatunnisteen paikkamerkki 4">
            <a:extLst>
              <a:ext uri="{FF2B5EF4-FFF2-40B4-BE49-F238E27FC236}">
                <a16:creationId xmlns:a16="http://schemas.microsoft.com/office/drawing/2014/main" id="{D218AAFD-36E2-4E6B-4E47-3A4244E44C64}"/>
              </a:ext>
            </a:extLst>
          </p:cNvPr>
          <p:cNvSpPr>
            <a:spLocks noGrp="1"/>
          </p:cNvSpPr>
          <p:nvPr>
            <p:ph type="ftr" sz="quarter" idx="14"/>
          </p:nvPr>
        </p:nvSpPr>
        <p:spPr>
          <a:xfrm>
            <a:off x="4038600" y="6356350"/>
            <a:ext cx="4114800" cy="365125"/>
          </a:xfrm>
        </p:spPr>
        <p:txBody>
          <a:bodyPr/>
          <a:lstStyle/>
          <a:p>
            <a:r>
              <a:rPr lang="fi-FI"/>
              <a:t>7</a:t>
            </a:r>
          </a:p>
        </p:txBody>
      </p:sp>
      <p:sp>
        <p:nvSpPr>
          <p:cNvPr id="9" name="Title Placeholder 1">
            <a:extLst>
              <a:ext uri="{FF2B5EF4-FFF2-40B4-BE49-F238E27FC236}">
                <a16:creationId xmlns:a16="http://schemas.microsoft.com/office/drawing/2014/main" id="{5479077C-2114-D01B-CE7B-14E7D3D18A4A}"/>
              </a:ext>
            </a:extLst>
          </p:cNvPr>
          <p:cNvSpPr>
            <a:spLocks noGrp="1"/>
          </p:cNvSpPr>
          <p:nvPr>
            <p:ph type="title"/>
          </p:nvPr>
        </p:nvSpPr>
        <p:spPr>
          <a:xfrm>
            <a:off x="838200" y="604219"/>
            <a:ext cx="5084980" cy="1325563"/>
          </a:xfrm>
          <a:prstGeom prst="rect">
            <a:avLst/>
          </a:prstGeom>
        </p:spPr>
        <p:txBody>
          <a:bodyPr vert="horz" lIns="90000" tIns="45720" rIns="91440" bIns="45720" rtlCol="0" anchor="t" anchorCtr="0">
            <a:noAutofit/>
          </a:bodyPr>
          <a:lstStyle>
            <a:lvl1pPr>
              <a:defRPr sz="4400" b="1">
                <a:solidFill>
                  <a:srgbClr val="450099"/>
                </a:solidFill>
              </a:defRPr>
            </a:lvl1pPr>
          </a:lstStyle>
          <a:p>
            <a:r>
              <a:rPr lang="fi-FI"/>
              <a:t>Muokkaa ots. perustyyl. napsautt.</a:t>
            </a:r>
            <a:endParaRPr lang="en-FI"/>
          </a:p>
        </p:txBody>
      </p:sp>
      <p:sp>
        <p:nvSpPr>
          <p:cNvPr id="2" name="Content Placeholder 14">
            <a:extLst>
              <a:ext uri="{FF2B5EF4-FFF2-40B4-BE49-F238E27FC236}">
                <a16:creationId xmlns:a16="http://schemas.microsoft.com/office/drawing/2014/main" id="{F0A9419F-BD45-108E-53C2-EA50615FA364}"/>
              </a:ext>
            </a:extLst>
          </p:cNvPr>
          <p:cNvSpPr>
            <a:spLocks noGrp="1"/>
          </p:cNvSpPr>
          <p:nvPr>
            <p:ph sz="quarter" idx="15" hasCustomPrompt="1"/>
          </p:nvPr>
        </p:nvSpPr>
        <p:spPr>
          <a:xfrm>
            <a:off x="6980582" y="2130863"/>
            <a:ext cx="5084980" cy="4151312"/>
          </a:xfrm>
        </p:spPr>
        <p:txBody>
          <a:bodyPr>
            <a:noAutofit/>
          </a:bodyPr>
          <a:lstStyle>
            <a:lvl1pPr marL="0" indent="0">
              <a:buNone/>
              <a:defRPr b="1">
                <a:solidFill>
                  <a:srgbClr val="FFCC99"/>
                </a:solidFill>
              </a:defRPr>
            </a:lvl1pPr>
            <a:lvl2pPr>
              <a:defRPr b="1">
                <a:solidFill>
                  <a:srgbClr val="FFCC99"/>
                </a:solidFill>
              </a:defRPr>
            </a:lvl2pPr>
            <a:lvl3pPr>
              <a:defRPr b="1">
                <a:solidFill>
                  <a:srgbClr val="FFCC99"/>
                </a:solidFill>
              </a:defRPr>
            </a:lvl3pPr>
            <a:lvl4pPr>
              <a:defRPr b="1">
                <a:solidFill>
                  <a:srgbClr val="FFCC99"/>
                </a:solidFill>
              </a:defRPr>
            </a:lvl4pPr>
            <a:lvl5pPr>
              <a:defRPr b="1">
                <a:solidFill>
                  <a:srgbClr val="FFCC99"/>
                </a:solidFill>
              </a:defRPr>
            </a:lvl5pPr>
          </a:lstStyle>
          <a:p>
            <a:pPr lvl="0"/>
            <a:r>
              <a:rPr lang="fi-FI" noProof="0"/>
              <a:t>Teksti</a:t>
            </a:r>
          </a:p>
        </p:txBody>
      </p:sp>
      <p:sp>
        <p:nvSpPr>
          <p:cNvPr id="5" name="Sisällön paikkamerkki 10">
            <a:extLst>
              <a:ext uri="{FF2B5EF4-FFF2-40B4-BE49-F238E27FC236}">
                <a16:creationId xmlns:a16="http://schemas.microsoft.com/office/drawing/2014/main" id="{C9555565-BF26-8E3B-339C-86564D2E41E9}"/>
              </a:ext>
            </a:extLst>
          </p:cNvPr>
          <p:cNvSpPr>
            <a:spLocks noGrp="1"/>
          </p:cNvSpPr>
          <p:nvPr>
            <p:ph sz="quarter" idx="16" hasCustomPrompt="1"/>
          </p:nvPr>
        </p:nvSpPr>
        <p:spPr>
          <a:xfrm>
            <a:off x="838200" y="2113935"/>
            <a:ext cx="5146366" cy="4063028"/>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24141921"/>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ieni kuvapaikka vasen 1">
    <p:bg>
      <p:bgPr>
        <a:solidFill>
          <a:srgbClr val="A2E4B8">
            <a:alpha val="90000"/>
          </a:srgbClr>
        </a:solidFill>
        <a:effectLst/>
      </p:bgPr>
    </p:bg>
    <p:spTree>
      <p:nvGrpSpPr>
        <p:cNvPr id="1" name=""/>
        <p:cNvGrpSpPr/>
        <p:nvPr/>
      </p:nvGrpSpPr>
      <p:grpSpPr>
        <a:xfrm>
          <a:off x="0" y="0"/>
          <a:ext cx="0" cy="0"/>
          <a:chOff x="0" y="0"/>
          <a:chExt cx="0" cy="0"/>
        </a:xfrm>
      </p:grpSpPr>
      <p:sp>
        <p:nvSpPr>
          <p:cNvPr id="2" name="Puolivapaa piirto 5">
            <a:extLst>
              <a:ext uri="{FF2B5EF4-FFF2-40B4-BE49-F238E27FC236}">
                <a16:creationId xmlns:a16="http://schemas.microsoft.com/office/drawing/2014/main" id="{FA09D555-FC5C-94E4-3BDF-E53A6D61D206}"/>
              </a:ext>
            </a:extLst>
          </p:cNvPr>
          <p:cNvSpPr/>
          <p:nvPr/>
        </p:nvSpPr>
        <p:spPr>
          <a:xfrm>
            <a:off x="-116209" y="-101601"/>
            <a:ext cx="3926313" cy="4603263"/>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 name="Puolivapaa piirto 5">
            <a:extLst>
              <a:ext uri="{FF2B5EF4-FFF2-40B4-BE49-F238E27FC236}">
                <a16:creationId xmlns:a16="http://schemas.microsoft.com/office/drawing/2014/main" id="{5130EA07-3ADE-5298-938C-7E20B536C957}"/>
              </a:ext>
            </a:extLst>
          </p:cNvPr>
          <p:cNvSpPr/>
          <p:nvPr/>
        </p:nvSpPr>
        <p:spPr>
          <a:xfrm>
            <a:off x="-116209" y="-101601"/>
            <a:ext cx="3926313" cy="4603263"/>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Picture Placeholder 12">
            <a:extLst>
              <a:ext uri="{FF2B5EF4-FFF2-40B4-BE49-F238E27FC236}">
                <a16:creationId xmlns:a16="http://schemas.microsoft.com/office/drawing/2014/main" id="{3981166E-C83D-46D4-18F8-1473581C9CDB}"/>
              </a:ext>
            </a:extLst>
          </p:cNvPr>
          <p:cNvSpPr>
            <a:spLocks noGrp="1"/>
          </p:cNvSpPr>
          <p:nvPr>
            <p:ph type="pic" sz="quarter" idx="12"/>
          </p:nvPr>
        </p:nvSpPr>
        <p:spPr>
          <a:xfrm>
            <a:off x="-178340" y="-52955"/>
            <a:ext cx="4040943" cy="4545930"/>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95246" h="10231858">
                <a:moveTo>
                  <a:pt x="870" y="38717"/>
                </a:moveTo>
                <a:lnTo>
                  <a:pt x="4008066" y="464"/>
                </a:lnTo>
                <a:cubicBezTo>
                  <a:pt x="4007944" y="-30879"/>
                  <a:pt x="9071921" y="1533344"/>
                  <a:pt x="9095246" y="1513725"/>
                </a:cubicBezTo>
                <a:lnTo>
                  <a:pt x="5128979" y="10231858"/>
                </a:lnTo>
                <a:lnTo>
                  <a:pt x="12021" y="7247100"/>
                </a:lnTo>
                <a:cubicBezTo>
                  <a:pt x="7220" y="7270292"/>
                  <a:pt x="-3038" y="1269559"/>
                  <a:pt x="870" y="38717"/>
                </a:cubicBezTo>
                <a:close/>
              </a:path>
            </a:pathLst>
          </a:custGeom>
        </p:spPr>
        <p:txBody>
          <a:bodyPr/>
          <a:lstStyle/>
          <a:p>
            <a:r>
              <a:rPr lang="fi-FI"/>
              <a:t>Lisää kuva napsauttamalla kuvaketta</a:t>
            </a:r>
            <a:endParaRPr lang="en-FI"/>
          </a:p>
        </p:txBody>
      </p:sp>
      <p:sp>
        <p:nvSpPr>
          <p:cNvPr id="7" name="Päivämäärän paikkamerkki 3">
            <a:extLst>
              <a:ext uri="{FF2B5EF4-FFF2-40B4-BE49-F238E27FC236}">
                <a16:creationId xmlns:a16="http://schemas.microsoft.com/office/drawing/2014/main" id="{77AE5B88-154A-F7E0-A6AF-348F1DC7D817}"/>
              </a:ext>
            </a:extLst>
          </p:cNvPr>
          <p:cNvSpPr>
            <a:spLocks noGrp="1"/>
          </p:cNvSpPr>
          <p:nvPr>
            <p:ph type="dt" sz="half" idx="14"/>
          </p:nvPr>
        </p:nvSpPr>
        <p:spPr>
          <a:xfrm>
            <a:off x="838200" y="6356350"/>
            <a:ext cx="2743200" cy="365125"/>
          </a:xfrm>
        </p:spPr>
        <p:txBody>
          <a:bodyPr/>
          <a:lstStyle/>
          <a:p>
            <a:endParaRPr lang="fi-FI" dirty="0"/>
          </a:p>
        </p:txBody>
      </p:sp>
      <p:sp>
        <p:nvSpPr>
          <p:cNvPr id="8" name="Alatunnisteen paikkamerkki 4">
            <a:extLst>
              <a:ext uri="{FF2B5EF4-FFF2-40B4-BE49-F238E27FC236}">
                <a16:creationId xmlns:a16="http://schemas.microsoft.com/office/drawing/2014/main" id="{672E9CD3-1967-8DB7-659D-B9010536E80E}"/>
              </a:ext>
            </a:extLst>
          </p:cNvPr>
          <p:cNvSpPr>
            <a:spLocks noGrp="1"/>
          </p:cNvSpPr>
          <p:nvPr>
            <p:ph type="ftr" sz="quarter" idx="15"/>
          </p:nvPr>
        </p:nvSpPr>
        <p:spPr>
          <a:xfrm>
            <a:off x="4038600" y="6356350"/>
            <a:ext cx="4114800" cy="365125"/>
          </a:xfrm>
        </p:spPr>
        <p:txBody>
          <a:bodyPr/>
          <a:lstStyle/>
          <a:p>
            <a:r>
              <a:rPr lang="fi-FI"/>
              <a:t>7</a:t>
            </a:r>
          </a:p>
        </p:txBody>
      </p:sp>
      <p:sp>
        <p:nvSpPr>
          <p:cNvPr id="9" name="Sisällön paikkamerkki 10">
            <a:extLst>
              <a:ext uri="{FF2B5EF4-FFF2-40B4-BE49-F238E27FC236}">
                <a16:creationId xmlns:a16="http://schemas.microsoft.com/office/drawing/2014/main" id="{F8029CC7-0E79-A6E0-03A0-9ECCE2490C8B}"/>
              </a:ext>
            </a:extLst>
          </p:cNvPr>
          <p:cNvSpPr>
            <a:spLocks noGrp="1"/>
          </p:cNvSpPr>
          <p:nvPr>
            <p:ph sz="quarter" idx="16" hasCustomPrompt="1"/>
          </p:nvPr>
        </p:nvSpPr>
        <p:spPr>
          <a:xfrm>
            <a:off x="4314092" y="2123768"/>
            <a:ext cx="7335812" cy="4053195"/>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
        <p:nvSpPr>
          <p:cNvPr id="3" name="Title Placeholder 1">
            <a:extLst>
              <a:ext uri="{FF2B5EF4-FFF2-40B4-BE49-F238E27FC236}">
                <a16:creationId xmlns:a16="http://schemas.microsoft.com/office/drawing/2014/main" id="{7A65E0D7-03EA-7321-1528-1B4A5922BC22}"/>
              </a:ext>
            </a:extLst>
          </p:cNvPr>
          <p:cNvSpPr>
            <a:spLocks noGrp="1"/>
          </p:cNvSpPr>
          <p:nvPr>
            <p:ph type="title"/>
          </p:nvPr>
        </p:nvSpPr>
        <p:spPr>
          <a:xfrm>
            <a:off x="4314090" y="604219"/>
            <a:ext cx="7335813" cy="1325563"/>
          </a:xfrm>
          <a:prstGeom prst="rect">
            <a:avLst/>
          </a:prstGeom>
        </p:spPr>
        <p:txBody>
          <a:bodyPr vert="horz" lIns="90000" tIns="45720" rIns="91440" bIns="45720" rtlCol="0" anchor="t" anchorCtr="0">
            <a:noAutofit/>
          </a:bodyPr>
          <a:lstStyle>
            <a:lvl1pPr>
              <a:defRPr sz="4400" b="1">
                <a:solidFill>
                  <a:srgbClr val="152B96"/>
                </a:solidFill>
              </a:defRPr>
            </a:lvl1pPr>
          </a:lstStyle>
          <a:p>
            <a:r>
              <a:rPr lang="fi-FI"/>
              <a:t>Muokkaa ots. perustyyl. napsautt.</a:t>
            </a:r>
            <a:endParaRPr lang="en-FI"/>
          </a:p>
        </p:txBody>
      </p:sp>
    </p:spTree>
    <p:extLst>
      <p:ext uri="{BB962C8B-B14F-4D97-AF65-F5344CB8AC3E}">
        <p14:creationId xmlns:p14="http://schemas.microsoft.com/office/powerpoint/2010/main" val="1566451871"/>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ieni kuvapaikka vasen 2">
    <p:bg>
      <p:bgPr>
        <a:solidFill>
          <a:srgbClr val="C2A6E3">
            <a:alpha val="90000"/>
          </a:srgbClr>
        </a:solidFill>
        <a:effectLst/>
      </p:bgPr>
    </p:bg>
    <p:spTree>
      <p:nvGrpSpPr>
        <p:cNvPr id="1" name=""/>
        <p:cNvGrpSpPr/>
        <p:nvPr/>
      </p:nvGrpSpPr>
      <p:grpSpPr>
        <a:xfrm>
          <a:off x="0" y="0"/>
          <a:ext cx="0" cy="0"/>
          <a:chOff x="0" y="0"/>
          <a:chExt cx="0" cy="0"/>
        </a:xfrm>
      </p:grpSpPr>
      <p:sp>
        <p:nvSpPr>
          <p:cNvPr id="2" name="Puolivapaa piirto 5">
            <a:extLst>
              <a:ext uri="{FF2B5EF4-FFF2-40B4-BE49-F238E27FC236}">
                <a16:creationId xmlns:a16="http://schemas.microsoft.com/office/drawing/2014/main" id="{AD57A7C3-7C82-1590-B095-574FFABBD173}"/>
              </a:ext>
            </a:extLst>
          </p:cNvPr>
          <p:cNvSpPr/>
          <p:nvPr/>
        </p:nvSpPr>
        <p:spPr>
          <a:xfrm>
            <a:off x="-116209" y="-101601"/>
            <a:ext cx="3926313" cy="4603263"/>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 name="Puolivapaa piirto 5">
            <a:extLst>
              <a:ext uri="{FF2B5EF4-FFF2-40B4-BE49-F238E27FC236}">
                <a16:creationId xmlns:a16="http://schemas.microsoft.com/office/drawing/2014/main" id="{5130EA07-3ADE-5298-938C-7E20B536C957}"/>
              </a:ext>
            </a:extLst>
          </p:cNvPr>
          <p:cNvSpPr/>
          <p:nvPr/>
        </p:nvSpPr>
        <p:spPr>
          <a:xfrm>
            <a:off x="-116209" y="-101601"/>
            <a:ext cx="3926313" cy="4603263"/>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Picture Placeholder 12">
            <a:extLst>
              <a:ext uri="{FF2B5EF4-FFF2-40B4-BE49-F238E27FC236}">
                <a16:creationId xmlns:a16="http://schemas.microsoft.com/office/drawing/2014/main" id="{3981166E-C83D-46D4-18F8-1473581C9CDB}"/>
              </a:ext>
            </a:extLst>
          </p:cNvPr>
          <p:cNvSpPr>
            <a:spLocks noGrp="1"/>
          </p:cNvSpPr>
          <p:nvPr>
            <p:ph type="pic" sz="quarter" idx="12"/>
          </p:nvPr>
        </p:nvSpPr>
        <p:spPr>
          <a:xfrm>
            <a:off x="-178340" y="-52955"/>
            <a:ext cx="4040943" cy="4545930"/>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95246" h="10231858">
                <a:moveTo>
                  <a:pt x="870" y="38717"/>
                </a:moveTo>
                <a:lnTo>
                  <a:pt x="4008066" y="464"/>
                </a:lnTo>
                <a:cubicBezTo>
                  <a:pt x="4007944" y="-30879"/>
                  <a:pt x="9071921" y="1533344"/>
                  <a:pt x="9095246" y="1513725"/>
                </a:cubicBezTo>
                <a:lnTo>
                  <a:pt x="5128979" y="10231858"/>
                </a:lnTo>
                <a:lnTo>
                  <a:pt x="12021" y="7247100"/>
                </a:lnTo>
                <a:cubicBezTo>
                  <a:pt x="7220" y="7270292"/>
                  <a:pt x="-3038" y="1269559"/>
                  <a:pt x="870" y="38717"/>
                </a:cubicBezTo>
                <a:close/>
              </a:path>
            </a:pathLst>
          </a:custGeom>
        </p:spPr>
        <p:txBody>
          <a:bodyPr/>
          <a:lstStyle/>
          <a:p>
            <a:r>
              <a:rPr lang="fi-FI"/>
              <a:t>Lisää kuva napsauttamalla kuvaketta</a:t>
            </a:r>
            <a:endParaRPr lang="en-FI"/>
          </a:p>
        </p:txBody>
      </p:sp>
      <p:sp>
        <p:nvSpPr>
          <p:cNvPr id="7" name="Päivämäärän paikkamerkki 3">
            <a:extLst>
              <a:ext uri="{FF2B5EF4-FFF2-40B4-BE49-F238E27FC236}">
                <a16:creationId xmlns:a16="http://schemas.microsoft.com/office/drawing/2014/main" id="{E33EB5BC-3A28-32A1-E6C9-7AF3E3FE9B89}"/>
              </a:ext>
            </a:extLst>
          </p:cNvPr>
          <p:cNvSpPr>
            <a:spLocks noGrp="1"/>
          </p:cNvSpPr>
          <p:nvPr>
            <p:ph type="dt" sz="half" idx="14"/>
          </p:nvPr>
        </p:nvSpPr>
        <p:spPr>
          <a:xfrm>
            <a:off x="838200" y="6356350"/>
            <a:ext cx="2743200" cy="365125"/>
          </a:xfrm>
        </p:spPr>
        <p:txBody>
          <a:bodyPr/>
          <a:lstStyle/>
          <a:p>
            <a:endParaRPr lang="fi-FI" dirty="0"/>
          </a:p>
        </p:txBody>
      </p:sp>
      <p:sp>
        <p:nvSpPr>
          <p:cNvPr id="8" name="Alatunnisteen paikkamerkki 4">
            <a:extLst>
              <a:ext uri="{FF2B5EF4-FFF2-40B4-BE49-F238E27FC236}">
                <a16:creationId xmlns:a16="http://schemas.microsoft.com/office/drawing/2014/main" id="{8E9A36C4-6E98-95D2-1904-7888BA9F0BDD}"/>
              </a:ext>
            </a:extLst>
          </p:cNvPr>
          <p:cNvSpPr>
            <a:spLocks noGrp="1"/>
          </p:cNvSpPr>
          <p:nvPr>
            <p:ph type="ftr" sz="quarter" idx="15"/>
          </p:nvPr>
        </p:nvSpPr>
        <p:spPr>
          <a:xfrm>
            <a:off x="4038600" y="6356350"/>
            <a:ext cx="4114800" cy="365125"/>
          </a:xfrm>
        </p:spPr>
        <p:txBody>
          <a:bodyPr/>
          <a:lstStyle/>
          <a:p>
            <a:r>
              <a:rPr lang="fi-FI"/>
              <a:t>7</a:t>
            </a:r>
          </a:p>
        </p:txBody>
      </p:sp>
      <p:sp>
        <p:nvSpPr>
          <p:cNvPr id="6" name="Title Placeholder 1">
            <a:extLst>
              <a:ext uri="{FF2B5EF4-FFF2-40B4-BE49-F238E27FC236}">
                <a16:creationId xmlns:a16="http://schemas.microsoft.com/office/drawing/2014/main" id="{67DBE040-5047-9C7D-B4CE-4ABA7FEBA777}"/>
              </a:ext>
            </a:extLst>
          </p:cNvPr>
          <p:cNvSpPr>
            <a:spLocks noGrp="1"/>
          </p:cNvSpPr>
          <p:nvPr>
            <p:ph type="title"/>
          </p:nvPr>
        </p:nvSpPr>
        <p:spPr>
          <a:xfrm>
            <a:off x="4314090" y="604219"/>
            <a:ext cx="7335813" cy="1325563"/>
          </a:xfrm>
          <a:prstGeom prst="rect">
            <a:avLst/>
          </a:prstGeom>
        </p:spPr>
        <p:txBody>
          <a:bodyPr vert="horz" lIns="90000" tIns="45720" rIns="91440" bIns="45720" rtlCol="0" anchor="t" anchorCtr="0">
            <a:noAutofit/>
          </a:bodyPr>
          <a:lstStyle>
            <a:lvl1pPr>
              <a:defRPr sz="4400" b="1">
                <a:solidFill>
                  <a:srgbClr val="152B96"/>
                </a:solidFill>
              </a:defRPr>
            </a:lvl1pPr>
          </a:lstStyle>
          <a:p>
            <a:r>
              <a:rPr lang="fi-FI"/>
              <a:t>Muokkaa ots. perustyyl. napsautt.</a:t>
            </a:r>
            <a:endParaRPr lang="en-FI"/>
          </a:p>
        </p:txBody>
      </p:sp>
      <p:sp>
        <p:nvSpPr>
          <p:cNvPr id="9" name="Sisällön paikkamerkki 10">
            <a:extLst>
              <a:ext uri="{FF2B5EF4-FFF2-40B4-BE49-F238E27FC236}">
                <a16:creationId xmlns:a16="http://schemas.microsoft.com/office/drawing/2014/main" id="{4B6FDFC8-DF9C-9FE8-0A5D-9F5A3FDF5AE9}"/>
              </a:ext>
            </a:extLst>
          </p:cNvPr>
          <p:cNvSpPr>
            <a:spLocks noGrp="1"/>
          </p:cNvSpPr>
          <p:nvPr>
            <p:ph sz="quarter" idx="16" hasCustomPrompt="1"/>
          </p:nvPr>
        </p:nvSpPr>
        <p:spPr>
          <a:xfrm>
            <a:off x="4314092" y="2123768"/>
            <a:ext cx="7335812" cy="4053195"/>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1883658668"/>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ieni kuvapaikka vasen 3">
    <p:bg>
      <p:bgPr>
        <a:solidFill>
          <a:schemeClr val="accent2">
            <a:alpha val="90000"/>
          </a:schemeClr>
        </a:solidFill>
        <a:effectLst/>
      </p:bgPr>
    </p:bg>
    <p:spTree>
      <p:nvGrpSpPr>
        <p:cNvPr id="1" name=""/>
        <p:cNvGrpSpPr/>
        <p:nvPr/>
      </p:nvGrpSpPr>
      <p:grpSpPr>
        <a:xfrm>
          <a:off x="0" y="0"/>
          <a:ext cx="0" cy="0"/>
          <a:chOff x="0" y="0"/>
          <a:chExt cx="0" cy="0"/>
        </a:xfrm>
      </p:grpSpPr>
      <p:sp>
        <p:nvSpPr>
          <p:cNvPr id="2" name="Puolivapaa piirto 5">
            <a:extLst>
              <a:ext uri="{FF2B5EF4-FFF2-40B4-BE49-F238E27FC236}">
                <a16:creationId xmlns:a16="http://schemas.microsoft.com/office/drawing/2014/main" id="{1584990B-932D-9E28-7524-9F283F6F3ADB}"/>
              </a:ext>
            </a:extLst>
          </p:cNvPr>
          <p:cNvSpPr/>
          <p:nvPr/>
        </p:nvSpPr>
        <p:spPr>
          <a:xfrm>
            <a:off x="-116209" y="-101601"/>
            <a:ext cx="3926313" cy="4603263"/>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 name="Puolivapaa piirto 5">
            <a:extLst>
              <a:ext uri="{FF2B5EF4-FFF2-40B4-BE49-F238E27FC236}">
                <a16:creationId xmlns:a16="http://schemas.microsoft.com/office/drawing/2014/main" id="{5130EA07-3ADE-5298-938C-7E20B536C957}"/>
              </a:ext>
            </a:extLst>
          </p:cNvPr>
          <p:cNvSpPr/>
          <p:nvPr/>
        </p:nvSpPr>
        <p:spPr>
          <a:xfrm>
            <a:off x="-116209" y="-101601"/>
            <a:ext cx="3926313" cy="4603263"/>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äivämäärän paikkamerkki 3">
            <a:extLst>
              <a:ext uri="{FF2B5EF4-FFF2-40B4-BE49-F238E27FC236}">
                <a16:creationId xmlns:a16="http://schemas.microsoft.com/office/drawing/2014/main" id="{77AE5B88-154A-F7E0-A6AF-348F1DC7D817}"/>
              </a:ext>
            </a:extLst>
          </p:cNvPr>
          <p:cNvSpPr>
            <a:spLocks noGrp="1"/>
          </p:cNvSpPr>
          <p:nvPr>
            <p:ph type="dt" sz="half" idx="14"/>
          </p:nvPr>
        </p:nvSpPr>
        <p:spPr>
          <a:xfrm>
            <a:off x="838200" y="6356350"/>
            <a:ext cx="2743200" cy="365125"/>
          </a:xfrm>
        </p:spPr>
        <p:txBody>
          <a:bodyPr/>
          <a:lstStyle/>
          <a:p>
            <a:endParaRPr lang="fi-FI" dirty="0"/>
          </a:p>
        </p:txBody>
      </p:sp>
      <p:sp>
        <p:nvSpPr>
          <p:cNvPr id="8" name="Alatunnisteen paikkamerkki 4">
            <a:extLst>
              <a:ext uri="{FF2B5EF4-FFF2-40B4-BE49-F238E27FC236}">
                <a16:creationId xmlns:a16="http://schemas.microsoft.com/office/drawing/2014/main" id="{672E9CD3-1967-8DB7-659D-B9010536E80E}"/>
              </a:ext>
            </a:extLst>
          </p:cNvPr>
          <p:cNvSpPr>
            <a:spLocks noGrp="1"/>
          </p:cNvSpPr>
          <p:nvPr>
            <p:ph type="ftr" sz="quarter" idx="15"/>
          </p:nvPr>
        </p:nvSpPr>
        <p:spPr>
          <a:xfrm>
            <a:off x="4038600" y="6356350"/>
            <a:ext cx="4114800" cy="365125"/>
          </a:xfrm>
        </p:spPr>
        <p:txBody>
          <a:bodyPr/>
          <a:lstStyle/>
          <a:p>
            <a:r>
              <a:rPr lang="fi-FI"/>
              <a:t>7</a:t>
            </a:r>
          </a:p>
        </p:txBody>
      </p:sp>
      <p:sp>
        <p:nvSpPr>
          <p:cNvPr id="3" name="Picture Placeholder 12">
            <a:extLst>
              <a:ext uri="{FF2B5EF4-FFF2-40B4-BE49-F238E27FC236}">
                <a16:creationId xmlns:a16="http://schemas.microsoft.com/office/drawing/2014/main" id="{686E56CE-62E7-C0F0-3844-EBAE52DEF89E}"/>
              </a:ext>
            </a:extLst>
          </p:cNvPr>
          <p:cNvSpPr>
            <a:spLocks noGrp="1"/>
          </p:cNvSpPr>
          <p:nvPr>
            <p:ph type="pic" sz="quarter" idx="12"/>
          </p:nvPr>
        </p:nvSpPr>
        <p:spPr>
          <a:xfrm>
            <a:off x="-178340" y="-52955"/>
            <a:ext cx="4040943" cy="4545930"/>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95246" h="10231858">
                <a:moveTo>
                  <a:pt x="870" y="38717"/>
                </a:moveTo>
                <a:lnTo>
                  <a:pt x="4008066" y="464"/>
                </a:lnTo>
                <a:cubicBezTo>
                  <a:pt x="4007944" y="-30879"/>
                  <a:pt x="9071921" y="1533344"/>
                  <a:pt x="9095246" y="1513725"/>
                </a:cubicBezTo>
                <a:lnTo>
                  <a:pt x="5128979" y="10231858"/>
                </a:lnTo>
                <a:lnTo>
                  <a:pt x="12021" y="7247100"/>
                </a:lnTo>
                <a:cubicBezTo>
                  <a:pt x="7220" y="7270292"/>
                  <a:pt x="-3038" y="1269559"/>
                  <a:pt x="870" y="38717"/>
                </a:cubicBezTo>
                <a:close/>
              </a:path>
            </a:pathLst>
          </a:custGeom>
        </p:spPr>
        <p:txBody>
          <a:bodyPr/>
          <a:lstStyle/>
          <a:p>
            <a:r>
              <a:rPr lang="fi-FI"/>
              <a:t>Lisää kuva napsauttamalla kuvaketta</a:t>
            </a:r>
            <a:endParaRPr lang="en-FI"/>
          </a:p>
        </p:txBody>
      </p:sp>
      <p:sp>
        <p:nvSpPr>
          <p:cNvPr id="9" name="Title Placeholder 1">
            <a:extLst>
              <a:ext uri="{FF2B5EF4-FFF2-40B4-BE49-F238E27FC236}">
                <a16:creationId xmlns:a16="http://schemas.microsoft.com/office/drawing/2014/main" id="{7523408E-926C-1AD3-BE09-1E8E0FC3CD91}"/>
              </a:ext>
            </a:extLst>
          </p:cNvPr>
          <p:cNvSpPr>
            <a:spLocks noGrp="1"/>
          </p:cNvSpPr>
          <p:nvPr>
            <p:ph type="title"/>
          </p:nvPr>
        </p:nvSpPr>
        <p:spPr>
          <a:xfrm>
            <a:off x="4314090" y="604219"/>
            <a:ext cx="7335813" cy="1325563"/>
          </a:xfrm>
          <a:prstGeom prst="rect">
            <a:avLst/>
          </a:prstGeom>
        </p:spPr>
        <p:txBody>
          <a:bodyPr vert="horz" lIns="90000" tIns="45720" rIns="91440" bIns="45720" rtlCol="0" anchor="t" anchorCtr="0">
            <a:noAutofit/>
          </a:bodyPr>
          <a:lstStyle>
            <a:lvl1pPr>
              <a:defRPr sz="4400" b="1">
                <a:solidFill>
                  <a:srgbClr val="152B96"/>
                </a:solidFill>
              </a:defRPr>
            </a:lvl1pPr>
          </a:lstStyle>
          <a:p>
            <a:r>
              <a:rPr lang="fi-FI"/>
              <a:t>Muokkaa ots. perustyyl. napsautt.</a:t>
            </a:r>
            <a:endParaRPr lang="en-FI"/>
          </a:p>
        </p:txBody>
      </p:sp>
      <p:sp>
        <p:nvSpPr>
          <p:cNvPr id="6" name="Sisällön paikkamerkki 10">
            <a:extLst>
              <a:ext uri="{FF2B5EF4-FFF2-40B4-BE49-F238E27FC236}">
                <a16:creationId xmlns:a16="http://schemas.microsoft.com/office/drawing/2014/main" id="{3F4F8FF2-C233-53A2-4690-2F02FBCFE361}"/>
              </a:ext>
            </a:extLst>
          </p:cNvPr>
          <p:cNvSpPr>
            <a:spLocks noGrp="1"/>
          </p:cNvSpPr>
          <p:nvPr>
            <p:ph sz="quarter" idx="16" hasCustomPrompt="1"/>
          </p:nvPr>
        </p:nvSpPr>
        <p:spPr>
          <a:xfrm>
            <a:off x="4314092" y="2123768"/>
            <a:ext cx="7335812" cy="4053195"/>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3453190480"/>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Otsikkodia 5">
    <p:bg>
      <p:bgPr>
        <a:solidFill>
          <a:srgbClr val="4500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D508E-DA43-B489-5958-CF698CF85387}"/>
              </a:ext>
            </a:extLst>
          </p:cNvPr>
          <p:cNvSpPr>
            <a:spLocks noGrp="1"/>
          </p:cNvSpPr>
          <p:nvPr>
            <p:ph type="title"/>
          </p:nvPr>
        </p:nvSpPr>
        <p:spPr>
          <a:xfrm>
            <a:off x="914400" y="635001"/>
            <a:ext cx="6870357" cy="5606773"/>
          </a:xfrm>
        </p:spPr>
        <p:txBody>
          <a:bodyPr>
            <a:noAutofit/>
          </a:bodyPr>
          <a:lstStyle>
            <a:lvl1pPr>
              <a:defRPr sz="6000" b="1" i="0">
                <a:solidFill>
                  <a:srgbClr val="FFCC99"/>
                </a:solidFill>
                <a:latin typeface="Poppins" pitchFamily="2" charset="77"/>
                <a:cs typeface="Poppins" pitchFamily="2" charset="77"/>
              </a:defRPr>
            </a:lvl1pPr>
          </a:lstStyle>
          <a:p>
            <a:r>
              <a:rPr lang="fi-FI"/>
              <a:t>Muokkaa ots. perustyyl. napsautt.</a:t>
            </a:r>
            <a:endParaRPr lang="en-FI"/>
          </a:p>
        </p:txBody>
      </p:sp>
      <p:pic>
        <p:nvPicPr>
          <p:cNvPr id="18" name="Kuva 17">
            <a:extLst>
              <a:ext uri="{FF2B5EF4-FFF2-40B4-BE49-F238E27FC236}">
                <a16:creationId xmlns:a16="http://schemas.microsoft.com/office/drawing/2014/main" id="{4B4B8217-E02F-02FA-6443-DAB675BADF5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9395700">
            <a:off x="8872749" y="4184010"/>
            <a:ext cx="3357451" cy="3357451"/>
          </a:xfrm>
          <a:prstGeom prst="rect">
            <a:avLst/>
          </a:prstGeom>
        </p:spPr>
      </p:pic>
      <p:sp>
        <p:nvSpPr>
          <p:cNvPr id="19" name="Subtitle 2">
            <a:extLst>
              <a:ext uri="{FF2B5EF4-FFF2-40B4-BE49-F238E27FC236}">
                <a16:creationId xmlns:a16="http://schemas.microsoft.com/office/drawing/2014/main" id="{AB04E378-ADB8-4A6D-99B2-5824DF5BCE93}"/>
              </a:ext>
            </a:extLst>
          </p:cNvPr>
          <p:cNvSpPr>
            <a:spLocks noGrp="1"/>
          </p:cNvSpPr>
          <p:nvPr>
            <p:ph type="subTitle" idx="1"/>
          </p:nvPr>
        </p:nvSpPr>
        <p:spPr>
          <a:xfrm>
            <a:off x="914400" y="5800724"/>
            <a:ext cx="6870357" cy="441049"/>
          </a:xfrm>
        </p:spPr>
        <p:txBody>
          <a:bodyPr>
            <a:noAutofit/>
          </a:bodyPr>
          <a:lstStyle>
            <a:lvl1pPr marL="0" indent="0" algn="l">
              <a:buNone/>
              <a:defRPr sz="2400">
                <a:solidFill>
                  <a:srgbClr val="FFCC99"/>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5" name="Kuva 4">
            <a:extLst>
              <a:ext uri="{FF2B5EF4-FFF2-40B4-BE49-F238E27FC236}">
                <a16:creationId xmlns:a16="http://schemas.microsoft.com/office/drawing/2014/main" id="{9B51F3C8-3F70-CF4B-9DB0-8B2C9A3494F3}"/>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9395700">
            <a:off x="8872749" y="4184010"/>
            <a:ext cx="3357451" cy="3357451"/>
          </a:xfrm>
          <a:prstGeom prst="rect">
            <a:avLst/>
          </a:prstGeom>
        </p:spPr>
      </p:pic>
      <p:pic>
        <p:nvPicPr>
          <p:cNvPr id="7" name="Graphic 18">
            <a:extLst>
              <a:ext uri="{FF2B5EF4-FFF2-40B4-BE49-F238E27FC236}">
                <a16:creationId xmlns:a16="http://schemas.microsoft.com/office/drawing/2014/main" id="{BE64EBC8-9E40-28ED-AECB-4F3EACF7519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6200000">
            <a:off x="8859911" y="2396167"/>
            <a:ext cx="4414875" cy="971490"/>
          </a:xfrm>
          <a:prstGeom prst="rect">
            <a:avLst/>
          </a:prstGeom>
        </p:spPr>
      </p:pic>
    </p:spTree>
    <p:extLst>
      <p:ext uri="{BB962C8B-B14F-4D97-AF65-F5344CB8AC3E}">
        <p14:creationId xmlns:p14="http://schemas.microsoft.com/office/powerpoint/2010/main" val="1214870476"/>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Korostedia kuvilla">
    <p:bg>
      <p:bgPr>
        <a:solidFill>
          <a:srgbClr val="A2E4B8">
            <a:alpha val="90000"/>
          </a:srgbClr>
        </a:solidFill>
        <a:effectLst/>
      </p:bgPr>
    </p:bg>
    <p:spTree>
      <p:nvGrpSpPr>
        <p:cNvPr id="1" name=""/>
        <p:cNvGrpSpPr/>
        <p:nvPr/>
      </p:nvGrpSpPr>
      <p:grpSpPr>
        <a:xfrm>
          <a:off x="0" y="0"/>
          <a:ext cx="0" cy="0"/>
          <a:chOff x="0" y="0"/>
          <a:chExt cx="0" cy="0"/>
        </a:xfrm>
      </p:grpSpPr>
      <p:sp>
        <p:nvSpPr>
          <p:cNvPr id="2" name="Puolivapaa piirto 14">
            <a:extLst>
              <a:ext uri="{FF2B5EF4-FFF2-40B4-BE49-F238E27FC236}">
                <a16:creationId xmlns:a16="http://schemas.microsoft.com/office/drawing/2014/main" id="{507AEECB-B149-DEFD-5919-E3D0E9680B92}"/>
              </a:ext>
            </a:extLst>
          </p:cNvPr>
          <p:cNvSpPr/>
          <p:nvPr/>
        </p:nvSpPr>
        <p:spPr>
          <a:xfrm>
            <a:off x="6812422" y="-14068"/>
            <a:ext cx="5507915" cy="3808207"/>
          </a:xfrm>
          <a:custGeom>
            <a:avLst/>
            <a:gdLst>
              <a:gd name="connsiteX0" fmla="*/ 0 w 5507915"/>
              <a:gd name="connsiteY0" fmla="*/ 10758 h 3808207"/>
              <a:gd name="connsiteX1" fmla="*/ 4421393 w 5507915"/>
              <a:gd name="connsiteY1" fmla="*/ 3808207 h 3808207"/>
              <a:gd name="connsiteX2" fmla="*/ 5507915 w 5507915"/>
              <a:gd name="connsiteY2" fmla="*/ 968189 h 3808207"/>
              <a:gd name="connsiteX3" fmla="*/ 5497158 w 5507915"/>
              <a:gd name="connsiteY3" fmla="*/ 0 h 3808207"/>
              <a:gd name="connsiteX4" fmla="*/ 0 w 5507915"/>
              <a:gd name="connsiteY4" fmla="*/ 10758 h 3808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915" h="3808207">
                <a:moveTo>
                  <a:pt x="0" y="10758"/>
                </a:moveTo>
                <a:lnTo>
                  <a:pt x="4421393" y="3808207"/>
                </a:lnTo>
                <a:lnTo>
                  <a:pt x="5507915" y="968189"/>
                </a:lnTo>
                <a:lnTo>
                  <a:pt x="5497158" y="0"/>
                </a:lnTo>
                <a:lnTo>
                  <a:pt x="0" y="10758"/>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Puolivapaa piirto 5">
            <a:extLst>
              <a:ext uri="{FF2B5EF4-FFF2-40B4-BE49-F238E27FC236}">
                <a16:creationId xmlns:a16="http://schemas.microsoft.com/office/drawing/2014/main" id="{32B120EC-8808-F145-2834-FB2C3573DD43}"/>
              </a:ext>
            </a:extLst>
          </p:cNvPr>
          <p:cNvSpPr/>
          <p:nvPr/>
        </p:nvSpPr>
        <p:spPr>
          <a:xfrm>
            <a:off x="3778901" y="3195131"/>
            <a:ext cx="3698240" cy="3677194"/>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3247572 w 3698240"/>
              <a:gd name="connsiteY0" fmla="*/ 3481977 h 3481977"/>
              <a:gd name="connsiteX1" fmla="*/ 3698240 w 3698240"/>
              <a:gd name="connsiteY1" fmla="*/ 0 h 3481977"/>
              <a:gd name="connsiteX2" fmla="*/ 1178560 w 3698240"/>
              <a:gd name="connsiteY2" fmla="*/ 0 h 3481977"/>
              <a:gd name="connsiteX3" fmla="*/ 0 w 3698240"/>
              <a:gd name="connsiteY3" fmla="*/ 2316480 h 3481977"/>
              <a:gd name="connsiteX4" fmla="*/ 2346960 w 3698240"/>
              <a:gd name="connsiteY4" fmla="*/ 3230880 h 3481977"/>
              <a:gd name="connsiteX5" fmla="*/ 3247572 w 3698240"/>
              <a:gd name="connsiteY5" fmla="*/ 3481977 h 3481977"/>
              <a:gd name="connsiteX0" fmla="*/ 3247572 w 3698240"/>
              <a:gd name="connsiteY0" fmla="*/ 3481977 h 3492137"/>
              <a:gd name="connsiteX1" fmla="*/ 3698240 w 3698240"/>
              <a:gd name="connsiteY1" fmla="*/ 0 h 3492137"/>
              <a:gd name="connsiteX2" fmla="*/ 1178560 w 3698240"/>
              <a:gd name="connsiteY2" fmla="*/ 0 h 3492137"/>
              <a:gd name="connsiteX3" fmla="*/ 0 w 3698240"/>
              <a:gd name="connsiteY3" fmla="*/ 2316480 h 3492137"/>
              <a:gd name="connsiteX4" fmla="*/ 3239589 w 3698240"/>
              <a:gd name="connsiteY4" fmla="*/ 3492137 h 3492137"/>
              <a:gd name="connsiteX5" fmla="*/ 3247572 w 3698240"/>
              <a:gd name="connsiteY5" fmla="*/ 3481977 h 3492137"/>
              <a:gd name="connsiteX0" fmla="*/ 3312886 w 3698240"/>
              <a:gd name="connsiteY0" fmla="*/ 3634377 h 3634377"/>
              <a:gd name="connsiteX1" fmla="*/ 3698240 w 3698240"/>
              <a:gd name="connsiteY1" fmla="*/ 0 h 3634377"/>
              <a:gd name="connsiteX2" fmla="*/ 1178560 w 3698240"/>
              <a:gd name="connsiteY2" fmla="*/ 0 h 3634377"/>
              <a:gd name="connsiteX3" fmla="*/ 0 w 3698240"/>
              <a:gd name="connsiteY3" fmla="*/ 2316480 h 3634377"/>
              <a:gd name="connsiteX4" fmla="*/ 3239589 w 3698240"/>
              <a:gd name="connsiteY4" fmla="*/ 3492137 h 3634377"/>
              <a:gd name="connsiteX5" fmla="*/ 3312886 w 3698240"/>
              <a:gd name="connsiteY5" fmla="*/ 3634377 h 3634377"/>
              <a:gd name="connsiteX0" fmla="*/ 3312886 w 3698240"/>
              <a:gd name="connsiteY0" fmla="*/ 3634377 h 3677194"/>
              <a:gd name="connsiteX1" fmla="*/ 3698240 w 3698240"/>
              <a:gd name="connsiteY1" fmla="*/ 0 h 3677194"/>
              <a:gd name="connsiteX2" fmla="*/ 1178560 w 3698240"/>
              <a:gd name="connsiteY2" fmla="*/ 0 h 3677194"/>
              <a:gd name="connsiteX3" fmla="*/ 0 w 3698240"/>
              <a:gd name="connsiteY3" fmla="*/ 2316480 h 3677194"/>
              <a:gd name="connsiteX4" fmla="*/ 3304903 w 3698240"/>
              <a:gd name="connsiteY4" fmla="*/ 3677194 h 3677194"/>
              <a:gd name="connsiteX5" fmla="*/ 3312886 w 3698240"/>
              <a:gd name="connsiteY5" fmla="*/ 3634377 h 367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677194">
                <a:moveTo>
                  <a:pt x="3312886" y="3634377"/>
                </a:moveTo>
                <a:lnTo>
                  <a:pt x="3698240" y="0"/>
                </a:lnTo>
                <a:lnTo>
                  <a:pt x="1178560" y="0"/>
                </a:lnTo>
                <a:lnTo>
                  <a:pt x="0" y="2316480"/>
                </a:lnTo>
                <a:lnTo>
                  <a:pt x="3304903" y="3677194"/>
                </a:lnTo>
                <a:lnTo>
                  <a:pt x="3312886" y="3634377"/>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Puolivapaa piirto 7">
            <a:extLst>
              <a:ext uri="{FF2B5EF4-FFF2-40B4-BE49-F238E27FC236}">
                <a16:creationId xmlns:a16="http://schemas.microsoft.com/office/drawing/2014/main" id="{1A65AF6C-0F49-A739-782F-6348317BD083}"/>
              </a:ext>
            </a:extLst>
          </p:cNvPr>
          <p:cNvSpPr/>
          <p:nvPr/>
        </p:nvSpPr>
        <p:spPr>
          <a:xfrm rot="18191242">
            <a:off x="8119554" y="4008003"/>
            <a:ext cx="3698240" cy="3677194"/>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3247572 w 3698240"/>
              <a:gd name="connsiteY0" fmla="*/ 3481977 h 3481977"/>
              <a:gd name="connsiteX1" fmla="*/ 3698240 w 3698240"/>
              <a:gd name="connsiteY1" fmla="*/ 0 h 3481977"/>
              <a:gd name="connsiteX2" fmla="*/ 1178560 w 3698240"/>
              <a:gd name="connsiteY2" fmla="*/ 0 h 3481977"/>
              <a:gd name="connsiteX3" fmla="*/ 0 w 3698240"/>
              <a:gd name="connsiteY3" fmla="*/ 2316480 h 3481977"/>
              <a:gd name="connsiteX4" fmla="*/ 2346960 w 3698240"/>
              <a:gd name="connsiteY4" fmla="*/ 3230880 h 3481977"/>
              <a:gd name="connsiteX5" fmla="*/ 3247572 w 3698240"/>
              <a:gd name="connsiteY5" fmla="*/ 3481977 h 3481977"/>
              <a:gd name="connsiteX0" fmla="*/ 3247572 w 3698240"/>
              <a:gd name="connsiteY0" fmla="*/ 3481977 h 3492137"/>
              <a:gd name="connsiteX1" fmla="*/ 3698240 w 3698240"/>
              <a:gd name="connsiteY1" fmla="*/ 0 h 3492137"/>
              <a:gd name="connsiteX2" fmla="*/ 1178560 w 3698240"/>
              <a:gd name="connsiteY2" fmla="*/ 0 h 3492137"/>
              <a:gd name="connsiteX3" fmla="*/ 0 w 3698240"/>
              <a:gd name="connsiteY3" fmla="*/ 2316480 h 3492137"/>
              <a:gd name="connsiteX4" fmla="*/ 3239589 w 3698240"/>
              <a:gd name="connsiteY4" fmla="*/ 3492137 h 3492137"/>
              <a:gd name="connsiteX5" fmla="*/ 3247572 w 3698240"/>
              <a:gd name="connsiteY5" fmla="*/ 3481977 h 3492137"/>
              <a:gd name="connsiteX0" fmla="*/ 3312886 w 3698240"/>
              <a:gd name="connsiteY0" fmla="*/ 3634377 h 3634377"/>
              <a:gd name="connsiteX1" fmla="*/ 3698240 w 3698240"/>
              <a:gd name="connsiteY1" fmla="*/ 0 h 3634377"/>
              <a:gd name="connsiteX2" fmla="*/ 1178560 w 3698240"/>
              <a:gd name="connsiteY2" fmla="*/ 0 h 3634377"/>
              <a:gd name="connsiteX3" fmla="*/ 0 w 3698240"/>
              <a:gd name="connsiteY3" fmla="*/ 2316480 h 3634377"/>
              <a:gd name="connsiteX4" fmla="*/ 3239589 w 3698240"/>
              <a:gd name="connsiteY4" fmla="*/ 3492137 h 3634377"/>
              <a:gd name="connsiteX5" fmla="*/ 3312886 w 3698240"/>
              <a:gd name="connsiteY5" fmla="*/ 3634377 h 3634377"/>
              <a:gd name="connsiteX0" fmla="*/ 3312886 w 3698240"/>
              <a:gd name="connsiteY0" fmla="*/ 3634377 h 3677194"/>
              <a:gd name="connsiteX1" fmla="*/ 3698240 w 3698240"/>
              <a:gd name="connsiteY1" fmla="*/ 0 h 3677194"/>
              <a:gd name="connsiteX2" fmla="*/ 1178560 w 3698240"/>
              <a:gd name="connsiteY2" fmla="*/ 0 h 3677194"/>
              <a:gd name="connsiteX3" fmla="*/ 0 w 3698240"/>
              <a:gd name="connsiteY3" fmla="*/ 2316480 h 3677194"/>
              <a:gd name="connsiteX4" fmla="*/ 3304903 w 3698240"/>
              <a:gd name="connsiteY4" fmla="*/ 3677194 h 3677194"/>
              <a:gd name="connsiteX5" fmla="*/ 3312886 w 3698240"/>
              <a:gd name="connsiteY5" fmla="*/ 3634377 h 367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677194">
                <a:moveTo>
                  <a:pt x="3312886" y="3634377"/>
                </a:moveTo>
                <a:lnTo>
                  <a:pt x="3698240" y="0"/>
                </a:lnTo>
                <a:lnTo>
                  <a:pt x="1178560" y="0"/>
                </a:lnTo>
                <a:lnTo>
                  <a:pt x="0" y="2316480"/>
                </a:lnTo>
                <a:lnTo>
                  <a:pt x="3304903" y="3677194"/>
                </a:lnTo>
                <a:lnTo>
                  <a:pt x="3312886" y="3634377"/>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5" name="Puolivapaa piirto 14">
            <a:extLst>
              <a:ext uri="{FF2B5EF4-FFF2-40B4-BE49-F238E27FC236}">
                <a16:creationId xmlns:a16="http://schemas.microsoft.com/office/drawing/2014/main" id="{7178B96B-CA56-EA45-D3D3-6C692338B849}"/>
              </a:ext>
            </a:extLst>
          </p:cNvPr>
          <p:cNvSpPr/>
          <p:nvPr/>
        </p:nvSpPr>
        <p:spPr>
          <a:xfrm>
            <a:off x="6812422" y="-14068"/>
            <a:ext cx="5507915" cy="3808207"/>
          </a:xfrm>
          <a:custGeom>
            <a:avLst/>
            <a:gdLst>
              <a:gd name="connsiteX0" fmla="*/ 0 w 5507915"/>
              <a:gd name="connsiteY0" fmla="*/ 10758 h 3808207"/>
              <a:gd name="connsiteX1" fmla="*/ 4421393 w 5507915"/>
              <a:gd name="connsiteY1" fmla="*/ 3808207 h 3808207"/>
              <a:gd name="connsiteX2" fmla="*/ 5507915 w 5507915"/>
              <a:gd name="connsiteY2" fmla="*/ 968189 h 3808207"/>
              <a:gd name="connsiteX3" fmla="*/ 5497158 w 5507915"/>
              <a:gd name="connsiteY3" fmla="*/ 0 h 3808207"/>
              <a:gd name="connsiteX4" fmla="*/ 0 w 5507915"/>
              <a:gd name="connsiteY4" fmla="*/ 10758 h 3808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915" h="3808207">
                <a:moveTo>
                  <a:pt x="0" y="10758"/>
                </a:moveTo>
                <a:lnTo>
                  <a:pt x="4421393" y="3808207"/>
                </a:lnTo>
                <a:lnTo>
                  <a:pt x="5507915" y="968189"/>
                </a:lnTo>
                <a:lnTo>
                  <a:pt x="5497158" y="0"/>
                </a:lnTo>
                <a:lnTo>
                  <a:pt x="0" y="10758"/>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7">
            <a:extLst>
              <a:ext uri="{FF2B5EF4-FFF2-40B4-BE49-F238E27FC236}">
                <a16:creationId xmlns:a16="http://schemas.microsoft.com/office/drawing/2014/main" id="{CF010EFE-E3E4-A318-8C9B-C7A88E628A64}"/>
              </a:ext>
            </a:extLst>
          </p:cNvPr>
          <p:cNvSpPr>
            <a:spLocks noGrp="1"/>
          </p:cNvSpPr>
          <p:nvPr>
            <p:ph type="pic" sz="quarter" idx="10"/>
          </p:nvPr>
        </p:nvSpPr>
        <p:spPr>
          <a:xfrm>
            <a:off x="7802711" y="-30127"/>
            <a:ext cx="4517626" cy="3500820"/>
          </a:xfrm>
          <a:custGeom>
            <a:avLst/>
            <a:gdLst>
              <a:gd name="connsiteX0" fmla="*/ 0 w 5919787"/>
              <a:gd name="connsiteY0" fmla="*/ 0 h 5264150"/>
              <a:gd name="connsiteX1" fmla="*/ 5919787 w 5919787"/>
              <a:gd name="connsiteY1" fmla="*/ 0 h 5264150"/>
              <a:gd name="connsiteX2" fmla="*/ 5919787 w 5919787"/>
              <a:gd name="connsiteY2" fmla="*/ 5264150 h 5264150"/>
              <a:gd name="connsiteX3" fmla="*/ 0 w 5919787"/>
              <a:gd name="connsiteY3" fmla="*/ 5264150 h 5264150"/>
              <a:gd name="connsiteX4" fmla="*/ 0 w 5919787"/>
              <a:gd name="connsiteY4" fmla="*/ 0 h 5264150"/>
              <a:gd name="connsiteX0" fmla="*/ 363416 w 5919787"/>
              <a:gd name="connsiteY0" fmla="*/ 0 h 5779965"/>
              <a:gd name="connsiteX1" fmla="*/ 5919787 w 5919787"/>
              <a:gd name="connsiteY1" fmla="*/ 515815 h 5779965"/>
              <a:gd name="connsiteX2" fmla="*/ 5919787 w 5919787"/>
              <a:gd name="connsiteY2" fmla="*/ 5779965 h 5779965"/>
              <a:gd name="connsiteX3" fmla="*/ 0 w 5919787"/>
              <a:gd name="connsiteY3" fmla="*/ 5779965 h 5779965"/>
              <a:gd name="connsiteX4" fmla="*/ 363416 w 5919787"/>
              <a:gd name="connsiteY4" fmla="*/ 0 h 5779965"/>
              <a:gd name="connsiteX0" fmla="*/ 1630290 w 7186661"/>
              <a:gd name="connsiteY0" fmla="*/ 0 h 5779965"/>
              <a:gd name="connsiteX1" fmla="*/ 7186661 w 7186661"/>
              <a:gd name="connsiteY1" fmla="*/ 515815 h 5779965"/>
              <a:gd name="connsiteX2" fmla="*/ 7186661 w 7186661"/>
              <a:gd name="connsiteY2" fmla="*/ 5779965 h 5779965"/>
              <a:gd name="connsiteX3" fmla="*/ 1266874 w 7186661"/>
              <a:gd name="connsiteY3" fmla="*/ 5779965 h 5779965"/>
              <a:gd name="connsiteX4" fmla="*/ 415 w 7186661"/>
              <a:gd name="connsiteY4" fmla="*/ 2403720 h 5779965"/>
              <a:gd name="connsiteX5" fmla="*/ 1630290 w 7186661"/>
              <a:gd name="connsiteY5" fmla="*/ 0 h 5779965"/>
              <a:gd name="connsiteX0" fmla="*/ 1629875 w 7186246"/>
              <a:gd name="connsiteY0" fmla="*/ 0 h 5779965"/>
              <a:gd name="connsiteX1" fmla="*/ 7186246 w 7186246"/>
              <a:gd name="connsiteY1" fmla="*/ 515815 h 5779965"/>
              <a:gd name="connsiteX2" fmla="*/ 7186246 w 7186246"/>
              <a:gd name="connsiteY2" fmla="*/ 5779965 h 5779965"/>
              <a:gd name="connsiteX3" fmla="*/ 1266459 w 7186246"/>
              <a:gd name="connsiteY3" fmla="*/ 5779965 h 5779965"/>
              <a:gd name="connsiteX4" fmla="*/ 0 w 7186246"/>
              <a:gd name="connsiteY4" fmla="*/ 2403720 h 5779965"/>
              <a:gd name="connsiteX5" fmla="*/ 1629875 w 7186246"/>
              <a:gd name="connsiteY5" fmla="*/ 0 h 5779965"/>
              <a:gd name="connsiteX0" fmla="*/ 1629875 w 7186246"/>
              <a:gd name="connsiteY0" fmla="*/ 0 h 5780086"/>
              <a:gd name="connsiteX1" fmla="*/ 7186246 w 7186246"/>
              <a:gd name="connsiteY1" fmla="*/ 515815 h 5780086"/>
              <a:gd name="connsiteX2" fmla="*/ 7186246 w 7186246"/>
              <a:gd name="connsiteY2" fmla="*/ 5779965 h 5780086"/>
              <a:gd name="connsiteX3" fmla="*/ 1266459 w 7186246"/>
              <a:gd name="connsiteY3" fmla="*/ 5779965 h 5780086"/>
              <a:gd name="connsiteX4" fmla="*/ 0 w 7186246"/>
              <a:gd name="connsiteY4" fmla="*/ 2403720 h 5780086"/>
              <a:gd name="connsiteX5" fmla="*/ 1629875 w 7186246"/>
              <a:gd name="connsiteY5" fmla="*/ 0 h 5780086"/>
              <a:gd name="connsiteX0" fmla="*/ 1782275 w 7186246"/>
              <a:gd name="connsiteY0" fmla="*/ 0 h 6131778"/>
              <a:gd name="connsiteX1" fmla="*/ 7186246 w 7186246"/>
              <a:gd name="connsiteY1" fmla="*/ 867507 h 6131778"/>
              <a:gd name="connsiteX2" fmla="*/ 7186246 w 7186246"/>
              <a:gd name="connsiteY2" fmla="*/ 6131657 h 6131778"/>
              <a:gd name="connsiteX3" fmla="*/ 1266459 w 7186246"/>
              <a:gd name="connsiteY3" fmla="*/ 6131657 h 6131778"/>
              <a:gd name="connsiteX4" fmla="*/ 0 w 7186246"/>
              <a:gd name="connsiteY4" fmla="*/ 2755412 h 6131778"/>
              <a:gd name="connsiteX5" fmla="*/ 1782275 w 7186246"/>
              <a:gd name="connsiteY5" fmla="*/ 0 h 6131778"/>
              <a:gd name="connsiteX0" fmla="*/ 1782275 w 7186246"/>
              <a:gd name="connsiteY0" fmla="*/ 0 h 6143501"/>
              <a:gd name="connsiteX1" fmla="*/ 7186246 w 7186246"/>
              <a:gd name="connsiteY1" fmla="*/ 867507 h 6143501"/>
              <a:gd name="connsiteX2" fmla="*/ 7186246 w 7186246"/>
              <a:gd name="connsiteY2" fmla="*/ 6131657 h 6143501"/>
              <a:gd name="connsiteX3" fmla="*/ 2309813 w 7186246"/>
              <a:gd name="connsiteY3" fmla="*/ 6143380 h 6143501"/>
              <a:gd name="connsiteX4" fmla="*/ 0 w 7186246"/>
              <a:gd name="connsiteY4" fmla="*/ 2755412 h 6143501"/>
              <a:gd name="connsiteX5" fmla="*/ 1782275 w 7186246"/>
              <a:gd name="connsiteY5" fmla="*/ 0 h 6143501"/>
              <a:gd name="connsiteX0" fmla="*/ 985106 w 6389077"/>
              <a:gd name="connsiteY0" fmla="*/ 0 h 6143553"/>
              <a:gd name="connsiteX1" fmla="*/ 6389077 w 6389077"/>
              <a:gd name="connsiteY1" fmla="*/ 867507 h 6143553"/>
              <a:gd name="connsiteX2" fmla="*/ 6389077 w 6389077"/>
              <a:gd name="connsiteY2" fmla="*/ 6131657 h 6143553"/>
              <a:gd name="connsiteX3" fmla="*/ 1512644 w 6389077"/>
              <a:gd name="connsiteY3" fmla="*/ 6143380 h 6143553"/>
              <a:gd name="connsiteX4" fmla="*/ 0 w 6389077"/>
              <a:gd name="connsiteY4" fmla="*/ 3787042 h 6143553"/>
              <a:gd name="connsiteX5" fmla="*/ 985106 w 6389077"/>
              <a:gd name="connsiteY5" fmla="*/ 0 h 6143553"/>
              <a:gd name="connsiteX0" fmla="*/ 1207844 w 6389077"/>
              <a:gd name="connsiteY0" fmla="*/ 0 h 6589030"/>
              <a:gd name="connsiteX1" fmla="*/ 6389077 w 6389077"/>
              <a:gd name="connsiteY1" fmla="*/ 1312984 h 6589030"/>
              <a:gd name="connsiteX2" fmla="*/ 6389077 w 6389077"/>
              <a:gd name="connsiteY2" fmla="*/ 6577134 h 6589030"/>
              <a:gd name="connsiteX3" fmla="*/ 1512644 w 6389077"/>
              <a:gd name="connsiteY3" fmla="*/ 6588857 h 6589030"/>
              <a:gd name="connsiteX4" fmla="*/ 0 w 6389077"/>
              <a:gd name="connsiteY4" fmla="*/ 4232519 h 6589030"/>
              <a:gd name="connsiteX5" fmla="*/ 1207844 w 6389077"/>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8857"/>
              <a:gd name="connsiteX1" fmla="*/ 6412523 w 6412523"/>
              <a:gd name="connsiteY1" fmla="*/ 726831 h 6588857"/>
              <a:gd name="connsiteX2" fmla="*/ 6389077 w 6412523"/>
              <a:gd name="connsiteY2" fmla="*/ 6577134 h 6588857"/>
              <a:gd name="connsiteX3" fmla="*/ 1512644 w 6412523"/>
              <a:gd name="connsiteY3" fmla="*/ 6588857 h 6588857"/>
              <a:gd name="connsiteX4" fmla="*/ 0 w 6412523"/>
              <a:gd name="connsiteY4" fmla="*/ 4232519 h 6588857"/>
              <a:gd name="connsiteX5" fmla="*/ 1207844 w 6412523"/>
              <a:gd name="connsiteY5" fmla="*/ 0 h 6588857"/>
              <a:gd name="connsiteX0" fmla="*/ 3395294 w 8599973"/>
              <a:gd name="connsiteY0" fmla="*/ 0 h 6577142"/>
              <a:gd name="connsiteX1" fmla="*/ 8599973 w 8599973"/>
              <a:gd name="connsiteY1" fmla="*/ 726831 h 6577142"/>
              <a:gd name="connsiteX2" fmla="*/ 8576527 w 8599973"/>
              <a:gd name="connsiteY2" fmla="*/ 6577134 h 6577142"/>
              <a:gd name="connsiteX3" fmla="*/ 0 w 8599973"/>
              <a:gd name="connsiteY3" fmla="*/ 5079880 h 6577142"/>
              <a:gd name="connsiteX4" fmla="*/ 2187450 w 8599973"/>
              <a:gd name="connsiteY4" fmla="*/ 4232519 h 6577142"/>
              <a:gd name="connsiteX5" fmla="*/ 3395294 w 8599973"/>
              <a:gd name="connsiteY5" fmla="*/ 0 h 6577142"/>
              <a:gd name="connsiteX0" fmla="*/ 3395294 w 8599973"/>
              <a:gd name="connsiteY0" fmla="*/ 67034 h 6644174"/>
              <a:gd name="connsiteX1" fmla="*/ 8599973 w 8599973"/>
              <a:gd name="connsiteY1" fmla="*/ 793865 h 6644174"/>
              <a:gd name="connsiteX2" fmla="*/ 8576527 w 8599973"/>
              <a:gd name="connsiteY2" fmla="*/ 6644168 h 6644174"/>
              <a:gd name="connsiteX3" fmla="*/ 0 w 8599973"/>
              <a:gd name="connsiteY3" fmla="*/ 5146914 h 6644174"/>
              <a:gd name="connsiteX4" fmla="*/ 347737 w 8599973"/>
              <a:gd name="connsiteY4" fmla="*/ 0 h 6644174"/>
              <a:gd name="connsiteX5" fmla="*/ 3395294 w 8599973"/>
              <a:gd name="connsiteY5" fmla="*/ 67034 h 6644174"/>
              <a:gd name="connsiteX0" fmla="*/ 3395294 w 8641314"/>
              <a:gd name="connsiteY0" fmla="*/ 67034 h 6644176"/>
              <a:gd name="connsiteX1" fmla="*/ 8641314 w 8641314"/>
              <a:gd name="connsiteY1" fmla="*/ 49711 h 6644176"/>
              <a:gd name="connsiteX2" fmla="*/ 8576527 w 8641314"/>
              <a:gd name="connsiteY2" fmla="*/ 6644168 h 6644176"/>
              <a:gd name="connsiteX3" fmla="*/ 0 w 8641314"/>
              <a:gd name="connsiteY3" fmla="*/ 5146914 h 6644176"/>
              <a:gd name="connsiteX4" fmla="*/ 347737 w 8641314"/>
              <a:gd name="connsiteY4" fmla="*/ 0 h 6644176"/>
              <a:gd name="connsiteX5" fmla="*/ 3395294 w 8641314"/>
              <a:gd name="connsiteY5" fmla="*/ 67034 h 6644176"/>
              <a:gd name="connsiteX0" fmla="*/ 3395294 w 8680657"/>
              <a:gd name="connsiteY0" fmla="*/ 67034 h 6726860"/>
              <a:gd name="connsiteX1" fmla="*/ 8641314 w 8680657"/>
              <a:gd name="connsiteY1" fmla="*/ 49711 h 6726860"/>
              <a:gd name="connsiteX2" fmla="*/ 8679883 w 8680657"/>
              <a:gd name="connsiteY2" fmla="*/ 6726853 h 6726860"/>
              <a:gd name="connsiteX3" fmla="*/ 0 w 8680657"/>
              <a:gd name="connsiteY3" fmla="*/ 5146914 h 6726860"/>
              <a:gd name="connsiteX4" fmla="*/ 347737 w 8680657"/>
              <a:gd name="connsiteY4" fmla="*/ 0 h 6726860"/>
              <a:gd name="connsiteX5" fmla="*/ 3395294 w 8680657"/>
              <a:gd name="connsiteY5" fmla="*/ 67034 h 6726860"/>
              <a:gd name="connsiteX0" fmla="*/ 3395294 w 8680655"/>
              <a:gd name="connsiteY0" fmla="*/ 67034 h 6726852"/>
              <a:gd name="connsiteX1" fmla="*/ 8641314 w 8680655"/>
              <a:gd name="connsiteY1" fmla="*/ 49711 h 6726852"/>
              <a:gd name="connsiteX2" fmla="*/ 8679883 w 8680655"/>
              <a:gd name="connsiteY2" fmla="*/ 6726853 h 6726852"/>
              <a:gd name="connsiteX3" fmla="*/ 0 w 8680655"/>
              <a:gd name="connsiteY3" fmla="*/ 5146914 h 6726852"/>
              <a:gd name="connsiteX4" fmla="*/ 347737 w 8680655"/>
              <a:gd name="connsiteY4" fmla="*/ 0 h 6726852"/>
              <a:gd name="connsiteX5" fmla="*/ 3395294 w 8680655"/>
              <a:gd name="connsiteY5" fmla="*/ 67034 h 6726852"/>
              <a:gd name="connsiteX0" fmla="*/ 3395300 w 8680663"/>
              <a:gd name="connsiteY0" fmla="*/ 67034 h 6726854"/>
              <a:gd name="connsiteX1" fmla="*/ 8641320 w 8680663"/>
              <a:gd name="connsiteY1" fmla="*/ 49711 h 6726854"/>
              <a:gd name="connsiteX2" fmla="*/ 8679889 w 8680663"/>
              <a:gd name="connsiteY2" fmla="*/ 6726853 h 6726854"/>
              <a:gd name="connsiteX3" fmla="*/ 6 w 8680663"/>
              <a:gd name="connsiteY3" fmla="*/ 5146914 h 6726854"/>
              <a:gd name="connsiteX4" fmla="*/ 347743 w 8680663"/>
              <a:gd name="connsiteY4" fmla="*/ 0 h 6726854"/>
              <a:gd name="connsiteX5" fmla="*/ 3395300 w 8680663"/>
              <a:gd name="connsiteY5" fmla="*/ 67034 h 6726854"/>
              <a:gd name="connsiteX0" fmla="*/ 3395298 w 8680659"/>
              <a:gd name="connsiteY0" fmla="*/ 67034 h 6726860"/>
              <a:gd name="connsiteX1" fmla="*/ 8641318 w 8680659"/>
              <a:gd name="connsiteY1" fmla="*/ 49711 h 6726860"/>
              <a:gd name="connsiteX2" fmla="*/ 8679887 w 8680659"/>
              <a:gd name="connsiteY2" fmla="*/ 6726853 h 6726860"/>
              <a:gd name="connsiteX3" fmla="*/ 4 w 8680659"/>
              <a:gd name="connsiteY3" fmla="*/ 5146914 h 6726860"/>
              <a:gd name="connsiteX4" fmla="*/ 347741 w 8680659"/>
              <a:gd name="connsiteY4" fmla="*/ 0 h 6726860"/>
              <a:gd name="connsiteX5" fmla="*/ 3395298 w 8680659"/>
              <a:gd name="connsiteY5" fmla="*/ 67034 h 6726860"/>
              <a:gd name="connsiteX0" fmla="*/ 347741 w 8680661"/>
              <a:gd name="connsiteY0" fmla="*/ 0 h 6726860"/>
              <a:gd name="connsiteX1" fmla="*/ 8641318 w 8680661"/>
              <a:gd name="connsiteY1" fmla="*/ 49711 h 6726860"/>
              <a:gd name="connsiteX2" fmla="*/ 8679887 w 8680661"/>
              <a:gd name="connsiteY2" fmla="*/ 6726853 h 6726860"/>
              <a:gd name="connsiteX3" fmla="*/ 4 w 8680661"/>
              <a:gd name="connsiteY3" fmla="*/ 5146914 h 6726860"/>
              <a:gd name="connsiteX4" fmla="*/ 347741 w 8680661"/>
              <a:gd name="connsiteY4" fmla="*/ 0 h 6726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0661" h="6726860">
                <a:moveTo>
                  <a:pt x="347741" y="0"/>
                </a:moveTo>
                <a:lnTo>
                  <a:pt x="8641318" y="49711"/>
                </a:lnTo>
                <a:cubicBezTo>
                  <a:pt x="8633503" y="1999812"/>
                  <a:pt x="8687702" y="4776752"/>
                  <a:pt x="8679887" y="6726853"/>
                </a:cubicBezTo>
                <a:cubicBezTo>
                  <a:pt x="8728753" y="6730760"/>
                  <a:pt x="-7521" y="5163675"/>
                  <a:pt x="4" y="5146914"/>
                </a:cubicBezTo>
                <a:cubicBezTo>
                  <a:pt x="3791" y="5111746"/>
                  <a:pt x="367402" y="23446"/>
                  <a:pt x="347741" y="0"/>
                </a:cubicBezTo>
                <a:close/>
              </a:path>
            </a:pathLst>
          </a:custGeom>
        </p:spPr>
        <p:txBody>
          <a:bodyPr/>
          <a:lstStyle/>
          <a:p>
            <a:r>
              <a:rPr lang="fi-FI"/>
              <a:t>Lisää kuva napsauttamalla kuvaketta</a:t>
            </a:r>
            <a:endParaRPr lang="en-FI"/>
          </a:p>
        </p:txBody>
      </p:sp>
      <p:sp>
        <p:nvSpPr>
          <p:cNvPr id="3" name="Puolivapaa piirto 2">
            <a:extLst>
              <a:ext uri="{FF2B5EF4-FFF2-40B4-BE49-F238E27FC236}">
                <a16:creationId xmlns:a16="http://schemas.microsoft.com/office/drawing/2014/main" id="{AAAEB528-2933-970E-0DDC-D0F22827E77F}"/>
              </a:ext>
            </a:extLst>
          </p:cNvPr>
          <p:cNvSpPr/>
          <p:nvPr/>
        </p:nvSpPr>
        <p:spPr>
          <a:xfrm>
            <a:off x="0" y="3291877"/>
            <a:ext cx="3398333" cy="3984253"/>
          </a:xfrm>
          <a:custGeom>
            <a:avLst/>
            <a:gdLst>
              <a:gd name="connsiteX0" fmla="*/ 2814320 w 3830320"/>
              <a:gd name="connsiteY0" fmla="*/ 0 h 4490720"/>
              <a:gd name="connsiteX1" fmla="*/ 3830320 w 3830320"/>
              <a:gd name="connsiteY1" fmla="*/ 1330960 h 4490720"/>
              <a:gd name="connsiteX2" fmla="*/ 2631440 w 3830320"/>
              <a:gd name="connsiteY2" fmla="*/ 4490720 h 4490720"/>
              <a:gd name="connsiteX3" fmla="*/ 0 w 3830320"/>
              <a:gd name="connsiteY3" fmla="*/ 3413760 h 4490720"/>
              <a:gd name="connsiteX4" fmla="*/ 0 w 3830320"/>
              <a:gd name="connsiteY4" fmla="*/ 60960 h 4490720"/>
              <a:gd name="connsiteX5" fmla="*/ 2814320 w 3830320"/>
              <a:gd name="connsiteY5" fmla="*/ 0 h 449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0320" h="4490720">
                <a:moveTo>
                  <a:pt x="2814320" y="0"/>
                </a:moveTo>
                <a:lnTo>
                  <a:pt x="3830320" y="1330960"/>
                </a:lnTo>
                <a:lnTo>
                  <a:pt x="2631440" y="4490720"/>
                </a:lnTo>
                <a:lnTo>
                  <a:pt x="0" y="3413760"/>
                </a:lnTo>
                <a:lnTo>
                  <a:pt x="0" y="60960"/>
                </a:lnTo>
                <a:lnTo>
                  <a:pt x="2814320" y="0"/>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 name="Picture Placeholder 12">
            <a:extLst>
              <a:ext uri="{FF2B5EF4-FFF2-40B4-BE49-F238E27FC236}">
                <a16:creationId xmlns:a16="http://schemas.microsoft.com/office/drawing/2014/main" id="{06A29733-17E6-45D9-BF69-6E66077404F4}"/>
              </a:ext>
            </a:extLst>
          </p:cNvPr>
          <p:cNvSpPr>
            <a:spLocks noGrp="1"/>
          </p:cNvSpPr>
          <p:nvPr>
            <p:ph type="pic" sz="quarter" idx="12"/>
          </p:nvPr>
        </p:nvSpPr>
        <p:spPr>
          <a:xfrm>
            <a:off x="-109607" y="2909439"/>
            <a:ext cx="3545026" cy="4359406"/>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210195 w 9304571"/>
              <a:gd name="connsiteY0" fmla="*/ 756283 h 10949424"/>
              <a:gd name="connsiteX1" fmla="*/ 410151 w 9304571"/>
              <a:gd name="connsiteY1" fmla="*/ 319 h 10949424"/>
              <a:gd name="connsiteX2" fmla="*/ 9304571 w 9304571"/>
              <a:gd name="connsiteY2" fmla="*/ 2231291 h 10949424"/>
              <a:gd name="connsiteX3" fmla="*/ 5338304 w 9304571"/>
              <a:gd name="connsiteY3" fmla="*/ 10949424 h 10949424"/>
              <a:gd name="connsiteX4" fmla="*/ 221346 w 9304571"/>
              <a:gd name="connsiteY4" fmla="*/ 7964666 h 10949424"/>
              <a:gd name="connsiteX5" fmla="*/ 210195 w 9304571"/>
              <a:gd name="connsiteY5" fmla="*/ 756283 h 10949424"/>
              <a:gd name="connsiteX0" fmla="*/ 785227 w 9868452"/>
              <a:gd name="connsiteY0" fmla="*/ 7964666 h 10949424"/>
              <a:gd name="connsiteX1" fmla="*/ 974032 w 9868452"/>
              <a:gd name="connsiteY1" fmla="*/ 319 h 10949424"/>
              <a:gd name="connsiteX2" fmla="*/ 9868452 w 9868452"/>
              <a:gd name="connsiteY2" fmla="*/ 2231291 h 10949424"/>
              <a:gd name="connsiteX3" fmla="*/ 5902185 w 9868452"/>
              <a:gd name="connsiteY3" fmla="*/ 10949424 h 10949424"/>
              <a:gd name="connsiteX4" fmla="*/ 785227 w 9868452"/>
              <a:gd name="connsiteY4" fmla="*/ 7964666 h 10949424"/>
              <a:gd name="connsiteX0" fmla="*/ 330826 w 9414051"/>
              <a:gd name="connsiteY0" fmla="*/ 7964666 h 10949424"/>
              <a:gd name="connsiteX1" fmla="*/ 519631 w 9414051"/>
              <a:gd name="connsiteY1" fmla="*/ 319 h 10949424"/>
              <a:gd name="connsiteX2" fmla="*/ 9414051 w 9414051"/>
              <a:gd name="connsiteY2" fmla="*/ 2231291 h 10949424"/>
              <a:gd name="connsiteX3" fmla="*/ 5447784 w 9414051"/>
              <a:gd name="connsiteY3" fmla="*/ 10949424 h 10949424"/>
              <a:gd name="connsiteX4" fmla="*/ 330826 w 9414051"/>
              <a:gd name="connsiteY4" fmla="*/ 7964666 h 10949424"/>
              <a:gd name="connsiteX0" fmla="*/ -1 w 9083224"/>
              <a:gd name="connsiteY0" fmla="*/ 7964666 h 10949424"/>
              <a:gd name="connsiteX1" fmla="*/ 188804 w 9083224"/>
              <a:gd name="connsiteY1" fmla="*/ 319 h 10949424"/>
              <a:gd name="connsiteX2" fmla="*/ 9083224 w 9083224"/>
              <a:gd name="connsiteY2" fmla="*/ 2231291 h 10949424"/>
              <a:gd name="connsiteX3" fmla="*/ 5116957 w 9083224"/>
              <a:gd name="connsiteY3" fmla="*/ 10949424 h 10949424"/>
              <a:gd name="connsiteX4" fmla="*/ -1 w 9083224"/>
              <a:gd name="connsiteY4" fmla="*/ 7964666 h 1094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3224" h="10949424">
                <a:moveTo>
                  <a:pt x="-1" y="7964666"/>
                </a:moveTo>
                <a:cubicBezTo>
                  <a:pt x="20626" y="7898207"/>
                  <a:pt x="139255" y="94627"/>
                  <a:pt x="188804" y="319"/>
                </a:cubicBezTo>
                <a:cubicBezTo>
                  <a:pt x="188682" y="-31024"/>
                  <a:pt x="9059899" y="2250910"/>
                  <a:pt x="9083224" y="2231291"/>
                </a:cubicBezTo>
                <a:lnTo>
                  <a:pt x="5116957" y="10949424"/>
                </a:lnTo>
                <a:lnTo>
                  <a:pt x="-1" y="7964666"/>
                </a:lnTo>
                <a:close/>
              </a:path>
            </a:pathLst>
          </a:custGeom>
        </p:spPr>
        <p:txBody>
          <a:bodyPr/>
          <a:lstStyle/>
          <a:p>
            <a:r>
              <a:rPr lang="fi-FI"/>
              <a:t>Lisää kuva napsauttamalla kuvaketta</a:t>
            </a:r>
            <a:endParaRPr lang="en-FI"/>
          </a:p>
        </p:txBody>
      </p:sp>
      <p:sp>
        <p:nvSpPr>
          <p:cNvPr id="7" name="Picture Placeholder 12">
            <a:extLst>
              <a:ext uri="{FF2B5EF4-FFF2-40B4-BE49-F238E27FC236}">
                <a16:creationId xmlns:a16="http://schemas.microsoft.com/office/drawing/2014/main" id="{D4FC3703-5A75-C3A9-5C5F-2BD1E5163CFA}"/>
              </a:ext>
            </a:extLst>
          </p:cNvPr>
          <p:cNvSpPr>
            <a:spLocks noGrp="1"/>
          </p:cNvSpPr>
          <p:nvPr>
            <p:ph type="pic" sz="quarter" idx="13"/>
          </p:nvPr>
        </p:nvSpPr>
        <p:spPr>
          <a:xfrm>
            <a:off x="3691975" y="2786064"/>
            <a:ext cx="4201996" cy="4267808"/>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sp>
        <p:nvSpPr>
          <p:cNvPr id="8" name="Puolivapaa piirto 7">
            <a:extLst>
              <a:ext uri="{FF2B5EF4-FFF2-40B4-BE49-F238E27FC236}">
                <a16:creationId xmlns:a16="http://schemas.microsoft.com/office/drawing/2014/main" id="{738C183F-38FB-39D4-27A7-9A2FC61F7665}"/>
              </a:ext>
            </a:extLst>
          </p:cNvPr>
          <p:cNvSpPr/>
          <p:nvPr/>
        </p:nvSpPr>
        <p:spPr>
          <a:xfrm rot="18191242">
            <a:off x="8119554" y="4008003"/>
            <a:ext cx="3698240" cy="3677194"/>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3247572 w 3698240"/>
              <a:gd name="connsiteY0" fmla="*/ 3481977 h 3481977"/>
              <a:gd name="connsiteX1" fmla="*/ 3698240 w 3698240"/>
              <a:gd name="connsiteY1" fmla="*/ 0 h 3481977"/>
              <a:gd name="connsiteX2" fmla="*/ 1178560 w 3698240"/>
              <a:gd name="connsiteY2" fmla="*/ 0 h 3481977"/>
              <a:gd name="connsiteX3" fmla="*/ 0 w 3698240"/>
              <a:gd name="connsiteY3" fmla="*/ 2316480 h 3481977"/>
              <a:gd name="connsiteX4" fmla="*/ 2346960 w 3698240"/>
              <a:gd name="connsiteY4" fmla="*/ 3230880 h 3481977"/>
              <a:gd name="connsiteX5" fmla="*/ 3247572 w 3698240"/>
              <a:gd name="connsiteY5" fmla="*/ 3481977 h 3481977"/>
              <a:gd name="connsiteX0" fmla="*/ 3247572 w 3698240"/>
              <a:gd name="connsiteY0" fmla="*/ 3481977 h 3492137"/>
              <a:gd name="connsiteX1" fmla="*/ 3698240 w 3698240"/>
              <a:gd name="connsiteY1" fmla="*/ 0 h 3492137"/>
              <a:gd name="connsiteX2" fmla="*/ 1178560 w 3698240"/>
              <a:gd name="connsiteY2" fmla="*/ 0 h 3492137"/>
              <a:gd name="connsiteX3" fmla="*/ 0 w 3698240"/>
              <a:gd name="connsiteY3" fmla="*/ 2316480 h 3492137"/>
              <a:gd name="connsiteX4" fmla="*/ 3239589 w 3698240"/>
              <a:gd name="connsiteY4" fmla="*/ 3492137 h 3492137"/>
              <a:gd name="connsiteX5" fmla="*/ 3247572 w 3698240"/>
              <a:gd name="connsiteY5" fmla="*/ 3481977 h 3492137"/>
              <a:gd name="connsiteX0" fmla="*/ 3312886 w 3698240"/>
              <a:gd name="connsiteY0" fmla="*/ 3634377 h 3634377"/>
              <a:gd name="connsiteX1" fmla="*/ 3698240 w 3698240"/>
              <a:gd name="connsiteY1" fmla="*/ 0 h 3634377"/>
              <a:gd name="connsiteX2" fmla="*/ 1178560 w 3698240"/>
              <a:gd name="connsiteY2" fmla="*/ 0 h 3634377"/>
              <a:gd name="connsiteX3" fmla="*/ 0 w 3698240"/>
              <a:gd name="connsiteY3" fmla="*/ 2316480 h 3634377"/>
              <a:gd name="connsiteX4" fmla="*/ 3239589 w 3698240"/>
              <a:gd name="connsiteY4" fmla="*/ 3492137 h 3634377"/>
              <a:gd name="connsiteX5" fmla="*/ 3312886 w 3698240"/>
              <a:gd name="connsiteY5" fmla="*/ 3634377 h 3634377"/>
              <a:gd name="connsiteX0" fmla="*/ 3312886 w 3698240"/>
              <a:gd name="connsiteY0" fmla="*/ 3634377 h 3677194"/>
              <a:gd name="connsiteX1" fmla="*/ 3698240 w 3698240"/>
              <a:gd name="connsiteY1" fmla="*/ 0 h 3677194"/>
              <a:gd name="connsiteX2" fmla="*/ 1178560 w 3698240"/>
              <a:gd name="connsiteY2" fmla="*/ 0 h 3677194"/>
              <a:gd name="connsiteX3" fmla="*/ 0 w 3698240"/>
              <a:gd name="connsiteY3" fmla="*/ 2316480 h 3677194"/>
              <a:gd name="connsiteX4" fmla="*/ 3304903 w 3698240"/>
              <a:gd name="connsiteY4" fmla="*/ 3677194 h 3677194"/>
              <a:gd name="connsiteX5" fmla="*/ 3312886 w 3698240"/>
              <a:gd name="connsiteY5" fmla="*/ 3634377 h 367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677194">
                <a:moveTo>
                  <a:pt x="3312886" y="3634377"/>
                </a:moveTo>
                <a:lnTo>
                  <a:pt x="3698240" y="0"/>
                </a:lnTo>
                <a:lnTo>
                  <a:pt x="1178560" y="0"/>
                </a:lnTo>
                <a:lnTo>
                  <a:pt x="0" y="2316480"/>
                </a:lnTo>
                <a:lnTo>
                  <a:pt x="3304903" y="3677194"/>
                </a:lnTo>
                <a:lnTo>
                  <a:pt x="3312886" y="3634377"/>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Picture Placeholder 12">
            <a:extLst>
              <a:ext uri="{FF2B5EF4-FFF2-40B4-BE49-F238E27FC236}">
                <a16:creationId xmlns:a16="http://schemas.microsoft.com/office/drawing/2014/main" id="{A69728E7-C96E-D226-B6DD-C0DD2D52A57A}"/>
              </a:ext>
            </a:extLst>
          </p:cNvPr>
          <p:cNvSpPr>
            <a:spLocks noGrp="1"/>
          </p:cNvSpPr>
          <p:nvPr>
            <p:ph type="pic" sz="quarter" idx="14"/>
          </p:nvPr>
        </p:nvSpPr>
        <p:spPr>
          <a:xfrm>
            <a:off x="7960526" y="3429000"/>
            <a:ext cx="4201996" cy="4267808"/>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sp>
        <p:nvSpPr>
          <p:cNvPr id="5" name="Title 1">
            <a:extLst>
              <a:ext uri="{FF2B5EF4-FFF2-40B4-BE49-F238E27FC236}">
                <a16:creationId xmlns:a16="http://schemas.microsoft.com/office/drawing/2014/main" id="{79D06A53-4C67-937A-F9E4-4A41480310BB}"/>
              </a:ext>
            </a:extLst>
          </p:cNvPr>
          <p:cNvSpPr>
            <a:spLocks noGrp="1"/>
          </p:cNvSpPr>
          <p:nvPr>
            <p:ph type="title"/>
          </p:nvPr>
        </p:nvSpPr>
        <p:spPr>
          <a:xfrm>
            <a:off x="838200" y="681037"/>
            <a:ext cx="6176375" cy="1009651"/>
          </a:xfrm>
        </p:spPr>
        <p:txBody>
          <a:bodyPr>
            <a:noAutofit/>
          </a:bodyPr>
          <a:lstStyle>
            <a:lvl1pPr>
              <a:lnSpc>
                <a:spcPct val="100000"/>
              </a:lnSpc>
              <a:defRPr b="1" i="0">
                <a:solidFill>
                  <a:srgbClr val="450099"/>
                </a:solidFill>
                <a:latin typeface="Poppins" pitchFamily="2" charset="77"/>
                <a:cs typeface="Poppins" pitchFamily="2" charset="77"/>
              </a:defRPr>
            </a:lvl1pPr>
          </a:lstStyle>
          <a:p>
            <a:r>
              <a:rPr lang="fi-FI"/>
              <a:t>Muokkaa ots. perustyyl. napsautt.</a:t>
            </a:r>
          </a:p>
        </p:txBody>
      </p:sp>
      <p:sp>
        <p:nvSpPr>
          <p:cNvPr id="12" name="Tekstin paikkamerkki 11">
            <a:extLst>
              <a:ext uri="{FF2B5EF4-FFF2-40B4-BE49-F238E27FC236}">
                <a16:creationId xmlns:a16="http://schemas.microsoft.com/office/drawing/2014/main" id="{CBD4C55A-B650-6E41-3D22-2DE58B14C0E4}"/>
              </a:ext>
            </a:extLst>
          </p:cNvPr>
          <p:cNvSpPr>
            <a:spLocks noGrp="1"/>
          </p:cNvSpPr>
          <p:nvPr>
            <p:ph type="body" sz="quarter" idx="15"/>
          </p:nvPr>
        </p:nvSpPr>
        <p:spPr>
          <a:xfrm>
            <a:off x="838200" y="1946277"/>
            <a:ext cx="6176963" cy="839787"/>
          </a:xfrm>
        </p:spPr>
        <p:txBody>
          <a:bodyPr/>
          <a:lstStyle/>
          <a:p>
            <a:pPr lvl="0"/>
            <a:r>
              <a:rPr lang="fi-FI"/>
              <a:t>Muokkaa tekstin perustyylejä napsauttamalla</a:t>
            </a:r>
          </a:p>
        </p:txBody>
      </p:sp>
    </p:spTree>
    <p:extLst>
      <p:ext uri="{BB962C8B-B14F-4D97-AF65-F5344CB8AC3E}">
        <p14:creationId xmlns:p14="http://schemas.microsoft.com/office/powerpoint/2010/main" val="2707406838"/>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8_Mukautettu asettelu">
    <p:bg>
      <p:bgPr>
        <a:solidFill>
          <a:srgbClr val="450099"/>
        </a:solidFill>
        <a:effectLst/>
      </p:bgPr>
    </p:bg>
    <p:spTree>
      <p:nvGrpSpPr>
        <p:cNvPr id="1" name=""/>
        <p:cNvGrpSpPr/>
        <p:nvPr/>
      </p:nvGrpSpPr>
      <p:grpSpPr>
        <a:xfrm>
          <a:off x="0" y="0"/>
          <a:ext cx="0" cy="0"/>
          <a:chOff x="0" y="0"/>
          <a:chExt cx="0" cy="0"/>
        </a:xfrm>
      </p:grpSpPr>
      <p:pic>
        <p:nvPicPr>
          <p:cNvPr id="17" name="Kuva 16">
            <a:extLst>
              <a:ext uri="{FF2B5EF4-FFF2-40B4-BE49-F238E27FC236}">
                <a16:creationId xmlns:a16="http://schemas.microsoft.com/office/drawing/2014/main" id="{BD75AB82-A117-D735-3EE8-B7A3D196CAE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835424">
            <a:off x="8686213" y="-474636"/>
            <a:ext cx="3346199" cy="3346199"/>
          </a:xfrm>
          <a:prstGeom prst="rect">
            <a:avLst/>
          </a:prstGeom>
        </p:spPr>
      </p:pic>
      <p:sp>
        <p:nvSpPr>
          <p:cNvPr id="2" name="Otsikko 1">
            <a:extLst>
              <a:ext uri="{FF2B5EF4-FFF2-40B4-BE49-F238E27FC236}">
                <a16:creationId xmlns:a16="http://schemas.microsoft.com/office/drawing/2014/main" id="{4D1DB7B8-B39C-6BC3-BD6C-9D1C2189A962}"/>
              </a:ext>
            </a:extLst>
          </p:cNvPr>
          <p:cNvSpPr>
            <a:spLocks noGrp="1"/>
          </p:cNvSpPr>
          <p:nvPr>
            <p:ph type="title"/>
          </p:nvPr>
        </p:nvSpPr>
        <p:spPr>
          <a:xfrm>
            <a:off x="0" y="376848"/>
            <a:ext cx="12192000" cy="6143695"/>
          </a:xfrm>
        </p:spPr>
        <p:txBody>
          <a:bodyPr>
            <a:noAutofit/>
          </a:bodyPr>
          <a:lstStyle>
            <a:lvl1pPr algn="ctr">
              <a:defRPr>
                <a:solidFill>
                  <a:srgbClr val="FFCC99"/>
                </a:solidFill>
              </a:defRPr>
            </a:lvl1pPr>
          </a:lstStyle>
          <a:p>
            <a:r>
              <a:rPr lang="fi-FI"/>
              <a:t>Muokkaa ots. perustyyl. napsautt.</a:t>
            </a:r>
          </a:p>
        </p:txBody>
      </p:sp>
      <p:pic>
        <p:nvPicPr>
          <p:cNvPr id="4" name="Kuva 3">
            <a:extLst>
              <a:ext uri="{FF2B5EF4-FFF2-40B4-BE49-F238E27FC236}">
                <a16:creationId xmlns:a16="http://schemas.microsoft.com/office/drawing/2014/main" id="{0092F710-F064-E3A9-E4BA-2662F4E179E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835424">
            <a:off x="8686213" y="-474636"/>
            <a:ext cx="3346199" cy="3346199"/>
          </a:xfrm>
          <a:prstGeom prst="rect">
            <a:avLst/>
          </a:prstGeom>
        </p:spPr>
      </p:pic>
      <p:pic>
        <p:nvPicPr>
          <p:cNvPr id="5" name="Graphic 18">
            <a:extLst>
              <a:ext uri="{FF2B5EF4-FFF2-40B4-BE49-F238E27FC236}">
                <a16:creationId xmlns:a16="http://schemas.microsoft.com/office/drawing/2014/main" id="{7D619825-3F90-E12F-E1FF-AC61B39D4CA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1943433079"/>
      </p:ext>
    </p:extLst>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Mukautettu asettelu">
    <p:bg>
      <p:bgPr>
        <a:solidFill>
          <a:srgbClr val="B01685"/>
        </a:solidFill>
        <a:effectLst/>
      </p:bgPr>
    </p:bg>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540B27DB-443A-33F8-9553-60E8AE4219CD}"/>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00009" y="-230287"/>
            <a:ext cx="2857500" cy="2857500"/>
          </a:xfrm>
          <a:prstGeom prst="rect">
            <a:avLst/>
          </a:prstGeom>
        </p:spPr>
      </p:pic>
      <p:sp>
        <p:nvSpPr>
          <p:cNvPr id="2" name="Otsikko 1">
            <a:extLst>
              <a:ext uri="{FF2B5EF4-FFF2-40B4-BE49-F238E27FC236}">
                <a16:creationId xmlns:a16="http://schemas.microsoft.com/office/drawing/2014/main" id="{37310071-44AB-D296-9436-4CC53169E3EB}"/>
              </a:ext>
            </a:extLst>
          </p:cNvPr>
          <p:cNvSpPr>
            <a:spLocks noGrp="1"/>
          </p:cNvSpPr>
          <p:nvPr>
            <p:ph type="title"/>
          </p:nvPr>
        </p:nvSpPr>
        <p:spPr>
          <a:xfrm>
            <a:off x="0" y="376848"/>
            <a:ext cx="12192000" cy="6143695"/>
          </a:xfrm>
        </p:spPr>
        <p:txBody>
          <a:bodyPr>
            <a:noAutofit/>
          </a:bodyPr>
          <a:lstStyle>
            <a:lvl1pPr algn="ctr">
              <a:defRPr>
                <a:solidFill>
                  <a:srgbClr val="D4EB91"/>
                </a:solidFill>
              </a:defRPr>
            </a:lvl1pPr>
          </a:lstStyle>
          <a:p>
            <a:r>
              <a:rPr lang="fi-FI"/>
              <a:t>Muokkaa ots. perustyyl. napsautt.</a:t>
            </a:r>
          </a:p>
        </p:txBody>
      </p:sp>
      <p:pic>
        <p:nvPicPr>
          <p:cNvPr id="5" name="Kuva 4">
            <a:extLst>
              <a:ext uri="{FF2B5EF4-FFF2-40B4-BE49-F238E27FC236}">
                <a16:creationId xmlns:a16="http://schemas.microsoft.com/office/drawing/2014/main" id="{32AE6775-95B6-5E84-7BD7-44D682FB7F4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00009" y="-230287"/>
            <a:ext cx="2857500" cy="2857500"/>
          </a:xfrm>
          <a:prstGeom prst="rect">
            <a:avLst/>
          </a:prstGeom>
        </p:spPr>
      </p:pic>
      <p:pic>
        <p:nvPicPr>
          <p:cNvPr id="6" name="Graphic 18">
            <a:extLst>
              <a:ext uri="{FF2B5EF4-FFF2-40B4-BE49-F238E27FC236}">
                <a16:creationId xmlns:a16="http://schemas.microsoft.com/office/drawing/2014/main" id="{1676426F-7E61-5333-56FB-5EE0D158905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4155334587"/>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0_Mukautettu asettelu">
    <p:bg>
      <p:bgPr>
        <a:solidFill>
          <a:srgbClr val="962C02"/>
        </a:solidFill>
        <a:effectLst/>
      </p:bgPr>
    </p:bg>
    <p:spTree>
      <p:nvGrpSpPr>
        <p:cNvPr id="1" name=""/>
        <p:cNvGrpSpPr/>
        <p:nvPr/>
      </p:nvGrpSpPr>
      <p:grpSpPr>
        <a:xfrm>
          <a:off x="0" y="0"/>
          <a:ext cx="0" cy="0"/>
          <a:chOff x="0" y="0"/>
          <a:chExt cx="0" cy="0"/>
        </a:xfrm>
      </p:grpSpPr>
      <p:pic>
        <p:nvPicPr>
          <p:cNvPr id="2" name="Kuva 1">
            <a:extLst>
              <a:ext uri="{FF2B5EF4-FFF2-40B4-BE49-F238E27FC236}">
                <a16:creationId xmlns:a16="http://schemas.microsoft.com/office/drawing/2014/main" id="{AC463B71-F394-3A25-F570-6C9DE9C9650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9260457">
            <a:off x="-716755" y="-1348017"/>
            <a:ext cx="4333518" cy="4333518"/>
          </a:xfrm>
          <a:prstGeom prst="rect">
            <a:avLst/>
          </a:prstGeom>
        </p:spPr>
      </p:pic>
      <p:sp>
        <p:nvSpPr>
          <p:cNvPr id="4" name="Otsikko 1">
            <a:extLst>
              <a:ext uri="{FF2B5EF4-FFF2-40B4-BE49-F238E27FC236}">
                <a16:creationId xmlns:a16="http://schemas.microsoft.com/office/drawing/2014/main" id="{C0EB0CEE-D253-65F0-53A3-C883150529A5}"/>
              </a:ext>
            </a:extLst>
          </p:cNvPr>
          <p:cNvSpPr>
            <a:spLocks noGrp="1"/>
          </p:cNvSpPr>
          <p:nvPr>
            <p:ph type="title"/>
          </p:nvPr>
        </p:nvSpPr>
        <p:spPr>
          <a:xfrm>
            <a:off x="0" y="376848"/>
            <a:ext cx="12192000" cy="6143695"/>
          </a:xfrm>
        </p:spPr>
        <p:txBody>
          <a:bodyPr>
            <a:noAutofit/>
          </a:bodyPr>
          <a:lstStyle>
            <a:lvl1pPr algn="ctr">
              <a:defRPr>
                <a:solidFill>
                  <a:srgbClr val="E6B595"/>
                </a:solidFill>
              </a:defRPr>
            </a:lvl1pPr>
          </a:lstStyle>
          <a:p>
            <a:r>
              <a:rPr lang="fi-FI"/>
              <a:t>Muokkaa ots. perustyyl. napsautt.</a:t>
            </a:r>
          </a:p>
        </p:txBody>
      </p:sp>
      <p:pic>
        <p:nvPicPr>
          <p:cNvPr id="5" name="Kuva 4">
            <a:extLst>
              <a:ext uri="{FF2B5EF4-FFF2-40B4-BE49-F238E27FC236}">
                <a16:creationId xmlns:a16="http://schemas.microsoft.com/office/drawing/2014/main" id="{4BE3AF7E-F5B9-BD1F-3DB5-8CE12208CC4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9260457">
            <a:off x="-716755" y="-1348017"/>
            <a:ext cx="4333518" cy="4333518"/>
          </a:xfrm>
          <a:prstGeom prst="rect">
            <a:avLst/>
          </a:prstGeom>
        </p:spPr>
      </p:pic>
      <p:pic>
        <p:nvPicPr>
          <p:cNvPr id="6" name="Graphic 18">
            <a:extLst>
              <a:ext uri="{FF2B5EF4-FFF2-40B4-BE49-F238E27FC236}">
                <a16:creationId xmlns:a16="http://schemas.microsoft.com/office/drawing/2014/main" id="{FF1619AA-FEBC-8153-0C16-1AFF421AC1B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618342029"/>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6_Mukautettu asettelu">
    <p:bg>
      <p:bgPr>
        <a:solidFill>
          <a:srgbClr val="006173"/>
        </a:solidFill>
        <a:effectLst/>
      </p:bgPr>
    </p:bg>
    <p:spTree>
      <p:nvGrpSpPr>
        <p:cNvPr id="1" name=""/>
        <p:cNvGrpSpPr/>
        <p:nvPr/>
      </p:nvGrpSpPr>
      <p:grpSpPr>
        <a:xfrm>
          <a:off x="0" y="0"/>
          <a:ext cx="0" cy="0"/>
          <a:chOff x="0" y="0"/>
          <a:chExt cx="0" cy="0"/>
        </a:xfrm>
      </p:grpSpPr>
      <p:pic>
        <p:nvPicPr>
          <p:cNvPr id="2" name="Kuva 1">
            <a:extLst>
              <a:ext uri="{FF2B5EF4-FFF2-40B4-BE49-F238E27FC236}">
                <a16:creationId xmlns:a16="http://schemas.microsoft.com/office/drawing/2014/main" id="{AC463B71-F394-3A25-F570-6C9DE9C9650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9260457">
            <a:off x="-716755" y="-1335317"/>
            <a:ext cx="4333518" cy="4333518"/>
          </a:xfrm>
          <a:prstGeom prst="rect">
            <a:avLst/>
          </a:prstGeom>
        </p:spPr>
      </p:pic>
      <p:sp>
        <p:nvSpPr>
          <p:cNvPr id="4" name="Otsikko 1">
            <a:extLst>
              <a:ext uri="{FF2B5EF4-FFF2-40B4-BE49-F238E27FC236}">
                <a16:creationId xmlns:a16="http://schemas.microsoft.com/office/drawing/2014/main" id="{DDC810C5-6151-1F93-D6D3-E8C1FA674026}"/>
              </a:ext>
            </a:extLst>
          </p:cNvPr>
          <p:cNvSpPr>
            <a:spLocks noGrp="1"/>
          </p:cNvSpPr>
          <p:nvPr>
            <p:ph type="title"/>
          </p:nvPr>
        </p:nvSpPr>
        <p:spPr>
          <a:xfrm>
            <a:off x="0" y="376848"/>
            <a:ext cx="12191999" cy="6143695"/>
          </a:xfrm>
        </p:spPr>
        <p:txBody>
          <a:bodyPr>
            <a:noAutofit/>
          </a:bodyPr>
          <a:lstStyle>
            <a:lvl1pPr algn="ctr">
              <a:defRPr>
                <a:solidFill>
                  <a:srgbClr val="A2E4B8"/>
                </a:solidFill>
              </a:defRPr>
            </a:lvl1pPr>
          </a:lstStyle>
          <a:p>
            <a:r>
              <a:rPr lang="fi-FI"/>
              <a:t>Muokkaa ots. perustyyl. napsautt.</a:t>
            </a:r>
          </a:p>
        </p:txBody>
      </p:sp>
      <p:pic>
        <p:nvPicPr>
          <p:cNvPr id="5" name="Kuva 4">
            <a:extLst>
              <a:ext uri="{FF2B5EF4-FFF2-40B4-BE49-F238E27FC236}">
                <a16:creationId xmlns:a16="http://schemas.microsoft.com/office/drawing/2014/main" id="{2F3700C6-0494-112E-46D8-96362458BF8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9260457">
            <a:off x="-716755" y="-1335317"/>
            <a:ext cx="4333518" cy="4333518"/>
          </a:xfrm>
          <a:prstGeom prst="rect">
            <a:avLst/>
          </a:prstGeom>
        </p:spPr>
      </p:pic>
      <p:pic>
        <p:nvPicPr>
          <p:cNvPr id="6" name="Graphic 18">
            <a:extLst>
              <a:ext uri="{FF2B5EF4-FFF2-40B4-BE49-F238E27FC236}">
                <a16:creationId xmlns:a16="http://schemas.microsoft.com/office/drawing/2014/main" id="{AEB72793-D9A8-6FE3-4E9C-E715929A383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3182482907"/>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7_Mukautettu asettelu">
    <p:bg>
      <p:bgPr>
        <a:solidFill>
          <a:srgbClr val="152B96"/>
        </a:solidFill>
        <a:effectLst/>
      </p:bgPr>
    </p:bg>
    <p:spTree>
      <p:nvGrpSpPr>
        <p:cNvPr id="1" name=""/>
        <p:cNvGrpSpPr/>
        <p:nvPr/>
      </p:nvGrpSpPr>
      <p:grpSpPr>
        <a:xfrm>
          <a:off x="0" y="0"/>
          <a:ext cx="0" cy="0"/>
          <a:chOff x="0" y="0"/>
          <a:chExt cx="0" cy="0"/>
        </a:xfrm>
      </p:grpSpPr>
      <p:pic>
        <p:nvPicPr>
          <p:cNvPr id="2" name="Kuva 1">
            <a:extLst>
              <a:ext uri="{FF2B5EF4-FFF2-40B4-BE49-F238E27FC236}">
                <a16:creationId xmlns:a16="http://schemas.microsoft.com/office/drawing/2014/main" id="{AC463B71-F394-3A25-F570-6C9DE9C9650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9260457">
            <a:off x="-716755" y="-1335317"/>
            <a:ext cx="4333518" cy="4333518"/>
          </a:xfrm>
          <a:prstGeom prst="rect">
            <a:avLst/>
          </a:prstGeom>
        </p:spPr>
      </p:pic>
      <p:sp>
        <p:nvSpPr>
          <p:cNvPr id="4" name="Otsikko 1">
            <a:extLst>
              <a:ext uri="{FF2B5EF4-FFF2-40B4-BE49-F238E27FC236}">
                <a16:creationId xmlns:a16="http://schemas.microsoft.com/office/drawing/2014/main" id="{B8987620-0EE3-3564-9A81-2043CD46C9E3}"/>
              </a:ext>
            </a:extLst>
          </p:cNvPr>
          <p:cNvSpPr>
            <a:spLocks noGrp="1"/>
          </p:cNvSpPr>
          <p:nvPr>
            <p:ph type="title"/>
          </p:nvPr>
        </p:nvSpPr>
        <p:spPr>
          <a:xfrm>
            <a:off x="0" y="376848"/>
            <a:ext cx="12192000" cy="6143695"/>
          </a:xfrm>
        </p:spPr>
        <p:txBody>
          <a:bodyPr>
            <a:noAutofit/>
          </a:bodyPr>
          <a:lstStyle>
            <a:lvl1pPr algn="ctr">
              <a:defRPr>
                <a:solidFill>
                  <a:srgbClr val="B8CDFF"/>
                </a:solidFill>
              </a:defRPr>
            </a:lvl1pPr>
          </a:lstStyle>
          <a:p>
            <a:r>
              <a:rPr lang="fi-FI"/>
              <a:t>Muokkaa ots. perustyyl. napsautt.</a:t>
            </a:r>
          </a:p>
        </p:txBody>
      </p:sp>
      <p:pic>
        <p:nvPicPr>
          <p:cNvPr id="5" name="Kuva 4">
            <a:extLst>
              <a:ext uri="{FF2B5EF4-FFF2-40B4-BE49-F238E27FC236}">
                <a16:creationId xmlns:a16="http://schemas.microsoft.com/office/drawing/2014/main" id="{68CE3BB9-A7D9-FD93-37B8-D3F0364E6E7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9260457">
            <a:off x="-716755" y="-1335317"/>
            <a:ext cx="4333518" cy="4333518"/>
          </a:xfrm>
          <a:prstGeom prst="rect">
            <a:avLst/>
          </a:prstGeom>
        </p:spPr>
      </p:pic>
      <p:pic>
        <p:nvPicPr>
          <p:cNvPr id="6" name="Graphic 18">
            <a:extLst>
              <a:ext uri="{FF2B5EF4-FFF2-40B4-BE49-F238E27FC236}">
                <a16:creationId xmlns:a16="http://schemas.microsoft.com/office/drawing/2014/main" id="{7CA73525-FDEA-73C4-0F51-2843949F722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2930363025"/>
      </p:ext>
    </p:extLst>
  </p:cSld>
  <p:clrMapOvr>
    <a:masterClrMapping/>
  </p:clrMapOvr>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_Mukautettu asettelu">
    <p:bg>
      <p:bgPr>
        <a:solidFill>
          <a:srgbClr val="753BBD"/>
        </a:solidFill>
        <a:effectLst/>
      </p:bgPr>
    </p:bg>
    <p:spTree>
      <p:nvGrpSpPr>
        <p:cNvPr id="1" name=""/>
        <p:cNvGrpSpPr/>
        <p:nvPr/>
      </p:nvGrpSpPr>
      <p:grpSpPr>
        <a:xfrm>
          <a:off x="0" y="0"/>
          <a:ext cx="0" cy="0"/>
          <a:chOff x="0" y="0"/>
          <a:chExt cx="0" cy="0"/>
        </a:xfrm>
      </p:grpSpPr>
      <p:sp>
        <p:nvSpPr>
          <p:cNvPr id="4" name="Otsikko 1">
            <a:extLst>
              <a:ext uri="{FF2B5EF4-FFF2-40B4-BE49-F238E27FC236}">
                <a16:creationId xmlns:a16="http://schemas.microsoft.com/office/drawing/2014/main" id="{6647EC65-D64B-1F55-293D-5E08ED7EC59D}"/>
              </a:ext>
            </a:extLst>
          </p:cNvPr>
          <p:cNvSpPr>
            <a:spLocks noGrp="1"/>
          </p:cNvSpPr>
          <p:nvPr>
            <p:ph type="title"/>
          </p:nvPr>
        </p:nvSpPr>
        <p:spPr>
          <a:xfrm>
            <a:off x="0" y="376848"/>
            <a:ext cx="12192000" cy="6143695"/>
          </a:xfrm>
        </p:spPr>
        <p:txBody>
          <a:bodyPr>
            <a:noAutofit/>
          </a:bodyPr>
          <a:lstStyle>
            <a:lvl1pPr algn="ctr">
              <a:defRPr>
                <a:solidFill>
                  <a:srgbClr val="F9E51E"/>
                </a:solidFill>
              </a:defRPr>
            </a:lvl1pPr>
          </a:lstStyle>
          <a:p>
            <a:r>
              <a:rPr lang="fi-FI"/>
              <a:t>Muokkaa ots. perustyyl. napsautt.</a:t>
            </a:r>
          </a:p>
        </p:txBody>
      </p:sp>
      <p:pic>
        <p:nvPicPr>
          <p:cNvPr id="5" name="Kuva 4">
            <a:extLst>
              <a:ext uri="{FF2B5EF4-FFF2-40B4-BE49-F238E27FC236}">
                <a16:creationId xmlns:a16="http://schemas.microsoft.com/office/drawing/2014/main" id="{43E2DF37-1A27-3CF8-81DA-E8F8D51D4E2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835424">
            <a:off x="8686213" y="-474636"/>
            <a:ext cx="3346199" cy="3346199"/>
          </a:xfrm>
          <a:prstGeom prst="rect">
            <a:avLst/>
          </a:prstGeom>
        </p:spPr>
      </p:pic>
      <p:pic>
        <p:nvPicPr>
          <p:cNvPr id="2" name="Kuva 1">
            <a:extLst>
              <a:ext uri="{FF2B5EF4-FFF2-40B4-BE49-F238E27FC236}">
                <a16:creationId xmlns:a16="http://schemas.microsoft.com/office/drawing/2014/main" id="{5B2D74FA-F954-0934-A3D0-BF28782CEDE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835424">
            <a:off x="8686213" y="-474636"/>
            <a:ext cx="3346199" cy="3346199"/>
          </a:xfrm>
          <a:prstGeom prst="rect">
            <a:avLst/>
          </a:prstGeom>
        </p:spPr>
      </p:pic>
      <p:pic>
        <p:nvPicPr>
          <p:cNvPr id="6" name="Graphic 18">
            <a:extLst>
              <a:ext uri="{FF2B5EF4-FFF2-40B4-BE49-F238E27FC236}">
                <a16:creationId xmlns:a16="http://schemas.microsoft.com/office/drawing/2014/main" id="{2B8540A1-851A-3C72-B44A-63B73C4E820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121109907"/>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Mukautettu asettelu">
    <p:bg>
      <p:bgPr>
        <a:solidFill>
          <a:srgbClr val="006173"/>
        </a:solidFill>
        <a:effectLst/>
      </p:bgPr>
    </p:bg>
    <p:spTree>
      <p:nvGrpSpPr>
        <p:cNvPr id="1" name=""/>
        <p:cNvGrpSpPr/>
        <p:nvPr/>
      </p:nvGrpSpPr>
      <p:grpSpPr>
        <a:xfrm>
          <a:off x="0" y="0"/>
          <a:ext cx="0" cy="0"/>
          <a:chOff x="0" y="0"/>
          <a:chExt cx="0" cy="0"/>
        </a:xfrm>
      </p:grpSpPr>
      <p:pic>
        <p:nvPicPr>
          <p:cNvPr id="17" name="Kuva 16">
            <a:extLst>
              <a:ext uri="{FF2B5EF4-FFF2-40B4-BE49-F238E27FC236}">
                <a16:creationId xmlns:a16="http://schemas.microsoft.com/office/drawing/2014/main" id="{BD75AB82-A117-D735-3EE8-B7A3D196CAE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835424">
            <a:off x="8686213" y="-474636"/>
            <a:ext cx="3346199" cy="3346199"/>
          </a:xfrm>
          <a:prstGeom prst="rect">
            <a:avLst/>
          </a:prstGeom>
        </p:spPr>
      </p:pic>
      <p:sp>
        <p:nvSpPr>
          <p:cNvPr id="4" name="Otsikko 1">
            <a:extLst>
              <a:ext uri="{FF2B5EF4-FFF2-40B4-BE49-F238E27FC236}">
                <a16:creationId xmlns:a16="http://schemas.microsoft.com/office/drawing/2014/main" id="{D2874134-CC66-63E0-44F8-CFCDDE2506C9}"/>
              </a:ext>
            </a:extLst>
          </p:cNvPr>
          <p:cNvSpPr>
            <a:spLocks noGrp="1"/>
          </p:cNvSpPr>
          <p:nvPr>
            <p:ph type="title"/>
          </p:nvPr>
        </p:nvSpPr>
        <p:spPr>
          <a:xfrm>
            <a:off x="0" y="376848"/>
            <a:ext cx="12191999" cy="6143695"/>
          </a:xfrm>
        </p:spPr>
        <p:txBody>
          <a:bodyPr>
            <a:noAutofit/>
          </a:bodyPr>
          <a:lstStyle>
            <a:lvl1pPr algn="ctr">
              <a:defRPr>
                <a:solidFill>
                  <a:srgbClr val="FFCC99"/>
                </a:solidFill>
              </a:defRPr>
            </a:lvl1pPr>
          </a:lstStyle>
          <a:p>
            <a:r>
              <a:rPr lang="fi-FI"/>
              <a:t>Muokkaa ots. perustyyl. napsautt.</a:t>
            </a:r>
          </a:p>
        </p:txBody>
      </p:sp>
      <p:pic>
        <p:nvPicPr>
          <p:cNvPr id="2" name="Kuva 1">
            <a:extLst>
              <a:ext uri="{FF2B5EF4-FFF2-40B4-BE49-F238E27FC236}">
                <a16:creationId xmlns:a16="http://schemas.microsoft.com/office/drawing/2014/main" id="{2377D676-7463-A06D-0DA1-B4B6A7701DB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835424">
            <a:off x="8686213" y="-474636"/>
            <a:ext cx="3346199" cy="3346199"/>
          </a:xfrm>
          <a:prstGeom prst="rect">
            <a:avLst/>
          </a:prstGeom>
        </p:spPr>
      </p:pic>
      <p:pic>
        <p:nvPicPr>
          <p:cNvPr id="5" name="Graphic 18">
            <a:extLst>
              <a:ext uri="{FF2B5EF4-FFF2-40B4-BE49-F238E27FC236}">
                <a16:creationId xmlns:a16="http://schemas.microsoft.com/office/drawing/2014/main" id="{9FE438C6-67C6-E3C8-46D4-93429F3140C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1778548941"/>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_Mukautettu asettelu">
    <p:bg>
      <p:bgPr>
        <a:solidFill>
          <a:srgbClr val="F3AFDE">
            <a:alpha val="90000"/>
          </a:srgbClr>
        </a:solidFill>
        <a:effectLst/>
      </p:bgPr>
    </p:bg>
    <p:spTree>
      <p:nvGrpSpPr>
        <p:cNvPr id="1" name=""/>
        <p:cNvGrpSpPr/>
        <p:nvPr/>
      </p:nvGrpSpPr>
      <p:grpSpPr>
        <a:xfrm>
          <a:off x="0" y="0"/>
          <a:ext cx="0" cy="0"/>
          <a:chOff x="0" y="0"/>
          <a:chExt cx="0" cy="0"/>
        </a:xfrm>
      </p:grpSpPr>
      <p:sp>
        <p:nvSpPr>
          <p:cNvPr id="4" name="Otsikko 1">
            <a:extLst>
              <a:ext uri="{FF2B5EF4-FFF2-40B4-BE49-F238E27FC236}">
                <a16:creationId xmlns:a16="http://schemas.microsoft.com/office/drawing/2014/main" id="{F1F16A77-5AA7-E417-4947-E3B82E2C541F}"/>
              </a:ext>
            </a:extLst>
          </p:cNvPr>
          <p:cNvSpPr>
            <a:spLocks noGrp="1"/>
          </p:cNvSpPr>
          <p:nvPr>
            <p:ph type="title"/>
          </p:nvPr>
        </p:nvSpPr>
        <p:spPr>
          <a:xfrm>
            <a:off x="0" y="376848"/>
            <a:ext cx="12192000" cy="6143695"/>
          </a:xfrm>
        </p:spPr>
        <p:txBody>
          <a:bodyPr>
            <a:noAutofit/>
          </a:bodyPr>
          <a:lstStyle>
            <a:lvl1pPr algn="ctr">
              <a:defRPr>
                <a:solidFill>
                  <a:srgbClr val="152A96"/>
                </a:solidFill>
              </a:defRPr>
            </a:lvl1pPr>
          </a:lstStyle>
          <a:p>
            <a:r>
              <a:rPr lang="fi-FI"/>
              <a:t>Muokkaa ots. perustyyl. napsautt.</a:t>
            </a:r>
          </a:p>
        </p:txBody>
      </p:sp>
      <p:pic>
        <p:nvPicPr>
          <p:cNvPr id="6" name="Kuva 5">
            <a:extLst>
              <a:ext uri="{FF2B5EF4-FFF2-40B4-BE49-F238E27FC236}">
                <a16:creationId xmlns:a16="http://schemas.microsoft.com/office/drawing/2014/main" id="{D9D9360F-D4F5-E49D-784F-DEA14018664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flipH="1">
            <a:off x="9495137" y="-242813"/>
            <a:ext cx="2857500" cy="2857500"/>
          </a:xfrm>
          <a:prstGeom prst="rect">
            <a:avLst/>
          </a:prstGeom>
        </p:spPr>
      </p:pic>
      <p:pic>
        <p:nvPicPr>
          <p:cNvPr id="2" name="Kuva 1">
            <a:extLst>
              <a:ext uri="{FF2B5EF4-FFF2-40B4-BE49-F238E27FC236}">
                <a16:creationId xmlns:a16="http://schemas.microsoft.com/office/drawing/2014/main" id="{5DA13E7C-5383-5EB4-680C-0A8087559FA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flipH="1">
            <a:off x="9495137" y="-242813"/>
            <a:ext cx="2857500" cy="2857500"/>
          </a:xfrm>
          <a:prstGeom prst="rect">
            <a:avLst/>
          </a:prstGeom>
        </p:spPr>
      </p:pic>
      <p:pic>
        <p:nvPicPr>
          <p:cNvPr id="3" name="Graphic 18">
            <a:extLst>
              <a:ext uri="{FF2B5EF4-FFF2-40B4-BE49-F238E27FC236}">
                <a16:creationId xmlns:a16="http://schemas.microsoft.com/office/drawing/2014/main" id="{C6F294CC-E16E-097B-D131-75FA8ABBBE4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3873063902"/>
      </p:ext>
    </p:extLst>
  </p:cSld>
  <p:clrMapOvr>
    <a:masterClrMapping/>
  </p:clrMapOvr>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Korostedia jaottelu 1">
    <p:bg>
      <p:bgPr>
        <a:solidFill>
          <a:srgbClr val="FFCC99">
            <a:alpha val="90000"/>
          </a:srgbClr>
        </a:solidFill>
        <a:effectLst/>
      </p:bgPr>
    </p:bg>
    <p:spTree>
      <p:nvGrpSpPr>
        <p:cNvPr id="1" name=""/>
        <p:cNvGrpSpPr/>
        <p:nvPr/>
      </p:nvGrpSpPr>
      <p:grpSpPr>
        <a:xfrm>
          <a:off x="0" y="0"/>
          <a:ext cx="0" cy="0"/>
          <a:chOff x="0" y="0"/>
          <a:chExt cx="0" cy="0"/>
        </a:xfrm>
      </p:grpSpPr>
      <p:sp>
        <p:nvSpPr>
          <p:cNvPr id="6" name="Graphic 4">
            <a:extLst>
              <a:ext uri="{FF2B5EF4-FFF2-40B4-BE49-F238E27FC236}">
                <a16:creationId xmlns:a16="http://schemas.microsoft.com/office/drawing/2014/main" id="{AF1B0308-13E6-2A77-257D-5CEE1DAB203D}"/>
              </a:ext>
            </a:extLst>
          </p:cNvPr>
          <p:cNvSpPr/>
          <p:nvPr/>
        </p:nvSpPr>
        <p:spPr>
          <a:xfrm rot="20933169">
            <a:off x="2891439" y="266223"/>
            <a:ext cx="10157811" cy="6325551"/>
          </a:xfrm>
          <a:custGeom>
            <a:avLst/>
            <a:gdLst>
              <a:gd name="connsiteX0" fmla="*/ 7918155 w 7918155"/>
              <a:gd name="connsiteY0" fmla="*/ 252099 h 4930855"/>
              <a:gd name="connsiteX1" fmla="*/ 5480071 w 7918155"/>
              <a:gd name="connsiteY1" fmla="*/ 806761 h 4930855"/>
              <a:gd name="connsiteX2" fmla="*/ 5718621 w 7918155"/>
              <a:gd name="connsiteY2" fmla="*/ 1596646 h 4930855"/>
              <a:gd name="connsiteX3" fmla="*/ 2292625 w 7918155"/>
              <a:gd name="connsiteY3" fmla="*/ 1099230 h 4930855"/>
              <a:gd name="connsiteX4" fmla="*/ 2231796 w 7918155"/>
              <a:gd name="connsiteY4" fmla="*/ 3405765 h 4930855"/>
              <a:gd name="connsiteX5" fmla="*/ 139262 w 7918155"/>
              <a:gd name="connsiteY5" fmla="*/ 4019874 h 4930855"/>
              <a:gd name="connsiteX6" fmla="*/ 15040 w 7918155"/>
              <a:gd name="connsiteY6" fmla="*/ 4930856 h 493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8155" h="4930855">
                <a:moveTo>
                  <a:pt x="7918155" y="252099"/>
                </a:moveTo>
                <a:cubicBezTo>
                  <a:pt x="7097155" y="-200547"/>
                  <a:pt x="6027160" y="-60001"/>
                  <a:pt x="5480071" y="806761"/>
                </a:cubicBezTo>
                <a:cubicBezTo>
                  <a:pt x="4349065" y="2598817"/>
                  <a:pt x="6325806" y="2558818"/>
                  <a:pt x="5718621" y="1596646"/>
                </a:cubicBezTo>
                <a:cubicBezTo>
                  <a:pt x="4979885" y="425856"/>
                  <a:pt x="2991419" y="319437"/>
                  <a:pt x="2292625" y="1099230"/>
                </a:cubicBezTo>
                <a:cubicBezTo>
                  <a:pt x="1528239" y="1952231"/>
                  <a:pt x="2231796" y="3405765"/>
                  <a:pt x="2231796" y="3405765"/>
                </a:cubicBezTo>
                <a:cubicBezTo>
                  <a:pt x="2231796" y="3405765"/>
                  <a:pt x="800863" y="2516984"/>
                  <a:pt x="139262" y="4019874"/>
                </a:cubicBezTo>
                <a:cubicBezTo>
                  <a:pt x="12475" y="4307756"/>
                  <a:pt x="-24352" y="4621875"/>
                  <a:pt x="15040" y="4930856"/>
                </a:cubicBezTo>
              </a:path>
            </a:pathLst>
          </a:custGeom>
          <a:noFill/>
          <a:ln w="38100" cap="rnd">
            <a:solidFill>
              <a:srgbClr val="450099"/>
            </a:solidFill>
            <a:prstDash val="solid"/>
            <a:round/>
          </a:ln>
        </p:spPr>
        <p:txBody>
          <a:bodyPr rtlCol="0" anchor="ctr"/>
          <a:lstStyle/>
          <a:p>
            <a:endParaRPr lang="fi-FI"/>
          </a:p>
        </p:txBody>
      </p:sp>
      <p:sp>
        <p:nvSpPr>
          <p:cNvPr id="5" name="Tekstin paikkamerkki 4">
            <a:extLst>
              <a:ext uri="{FF2B5EF4-FFF2-40B4-BE49-F238E27FC236}">
                <a16:creationId xmlns:a16="http://schemas.microsoft.com/office/drawing/2014/main" id="{22681FBD-0D80-1C1A-2CD3-6892E4631EF3}"/>
              </a:ext>
            </a:extLst>
          </p:cNvPr>
          <p:cNvSpPr>
            <a:spLocks noGrp="1"/>
          </p:cNvSpPr>
          <p:nvPr>
            <p:ph type="body" sz="quarter" idx="10"/>
          </p:nvPr>
        </p:nvSpPr>
        <p:spPr>
          <a:xfrm>
            <a:off x="628650" y="714375"/>
            <a:ext cx="4286250" cy="3771900"/>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sp>
        <p:nvSpPr>
          <p:cNvPr id="7" name="Tekstin paikkamerkki 4">
            <a:extLst>
              <a:ext uri="{FF2B5EF4-FFF2-40B4-BE49-F238E27FC236}">
                <a16:creationId xmlns:a16="http://schemas.microsoft.com/office/drawing/2014/main" id="{261762D5-B3F0-4B8B-744C-9DE02065DA6F}"/>
              </a:ext>
            </a:extLst>
          </p:cNvPr>
          <p:cNvSpPr>
            <a:spLocks noGrp="1"/>
          </p:cNvSpPr>
          <p:nvPr>
            <p:ph type="body" sz="quarter" idx="11"/>
          </p:nvPr>
        </p:nvSpPr>
        <p:spPr>
          <a:xfrm>
            <a:off x="6867524" y="3428998"/>
            <a:ext cx="4695825" cy="2800352"/>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spTree>
    <p:extLst>
      <p:ext uri="{BB962C8B-B14F-4D97-AF65-F5344CB8AC3E}">
        <p14:creationId xmlns:p14="http://schemas.microsoft.com/office/powerpoint/2010/main" val="4192861042"/>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tsikkodia 6">
    <p:bg>
      <p:bgPr>
        <a:solidFill>
          <a:srgbClr val="4500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D508E-DA43-B489-5958-CF698CF85387}"/>
              </a:ext>
            </a:extLst>
          </p:cNvPr>
          <p:cNvSpPr>
            <a:spLocks noGrp="1"/>
          </p:cNvSpPr>
          <p:nvPr>
            <p:ph type="title"/>
          </p:nvPr>
        </p:nvSpPr>
        <p:spPr>
          <a:xfrm>
            <a:off x="914400" y="635001"/>
            <a:ext cx="6870357" cy="5606773"/>
          </a:xfrm>
        </p:spPr>
        <p:txBody>
          <a:bodyPr>
            <a:noAutofit/>
          </a:bodyPr>
          <a:lstStyle>
            <a:lvl1pPr>
              <a:defRPr sz="6000" b="1" i="0">
                <a:solidFill>
                  <a:srgbClr val="87DBE8"/>
                </a:solidFill>
                <a:latin typeface="Poppins" pitchFamily="2" charset="77"/>
                <a:cs typeface="Poppins" pitchFamily="2" charset="77"/>
              </a:defRPr>
            </a:lvl1pPr>
          </a:lstStyle>
          <a:p>
            <a:r>
              <a:rPr lang="fi-FI"/>
              <a:t>Muokkaa ots. perustyyl. napsautt.</a:t>
            </a:r>
            <a:endParaRPr lang="en-FI"/>
          </a:p>
        </p:txBody>
      </p:sp>
      <p:pic>
        <p:nvPicPr>
          <p:cNvPr id="4" name="Kuva 3">
            <a:extLst>
              <a:ext uri="{FF2B5EF4-FFF2-40B4-BE49-F238E27FC236}">
                <a16:creationId xmlns:a16="http://schemas.microsoft.com/office/drawing/2014/main" id="{81A9CD40-4FC1-BBBE-ADB4-779C5EFC424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9395700">
            <a:off x="8872749" y="4184010"/>
            <a:ext cx="3357451" cy="3357451"/>
          </a:xfrm>
          <a:prstGeom prst="rect">
            <a:avLst/>
          </a:prstGeom>
        </p:spPr>
      </p:pic>
      <p:sp>
        <p:nvSpPr>
          <p:cNvPr id="5" name="Subtitle 2">
            <a:extLst>
              <a:ext uri="{FF2B5EF4-FFF2-40B4-BE49-F238E27FC236}">
                <a16:creationId xmlns:a16="http://schemas.microsoft.com/office/drawing/2014/main" id="{221A81EB-A3E6-3B0C-4EE6-84898B57995B}"/>
              </a:ext>
            </a:extLst>
          </p:cNvPr>
          <p:cNvSpPr>
            <a:spLocks noGrp="1"/>
          </p:cNvSpPr>
          <p:nvPr>
            <p:ph type="subTitle" idx="1"/>
          </p:nvPr>
        </p:nvSpPr>
        <p:spPr>
          <a:xfrm>
            <a:off x="914400" y="5800724"/>
            <a:ext cx="6870357" cy="441049"/>
          </a:xfrm>
        </p:spPr>
        <p:txBody>
          <a:bodyPr>
            <a:noAutofit/>
          </a:bodyPr>
          <a:lstStyle>
            <a:lvl1pPr marL="0" indent="0" algn="l">
              <a:buNone/>
              <a:defRPr sz="2400">
                <a:solidFill>
                  <a:srgbClr val="88DBE8"/>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7" name="Kuva 6">
            <a:extLst>
              <a:ext uri="{FF2B5EF4-FFF2-40B4-BE49-F238E27FC236}">
                <a16:creationId xmlns:a16="http://schemas.microsoft.com/office/drawing/2014/main" id="{9A8695C5-E1AB-A0B5-C52F-80EA39D6CBB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9395700">
            <a:off x="8872749" y="4184010"/>
            <a:ext cx="3357451" cy="3357451"/>
          </a:xfrm>
          <a:prstGeom prst="rect">
            <a:avLst/>
          </a:prstGeom>
        </p:spPr>
      </p:pic>
      <p:pic>
        <p:nvPicPr>
          <p:cNvPr id="8" name="Graphic 18">
            <a:extLst>
              <a:ext uri="{FF2B5EF4-FFF2-40B4-BE49-F238E27FC236}">
                <a16:creationId xmlns:a16="http://schemas.microsoft.com/office/drawing/2014/main" id="{38D5DB43-3E3D-1173-C1B9-584D194AFE9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6200000">
            <a:off x="8859911" y="2396167"/>
            <a:ext cx="4414875" cy="971490"/>
          </a:xfrm>
          <a:prstGeom prst="rect">
            <a:avLst/>
          </a:prstGeom>
        </p:spPr>
      </p:pic>
    </p:spTree>
    <p:extLst>
      <p:ext uri="{BB962C8B-B14F-4D97-AF65-F5344CB8AC3E}">
        <p14:creationId xmlns:p14="http://schemas.microsoft.com/office/powerpoint/2010/main" val="2080113372"/>
      </p:ext>
    </p:extLst>
  </p:cSld>
  <p:clrMapOvr>
    <a:masterClrMapping/>
  </p:clrMapOvr>
  <p:hf sldNum="0"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Korostedia jaottelu 2">
    <p:bg>
      <p:bgPr>
        <a:solidFill>
          <a:srgbClr val="A2E4B8">
            <a:alpha val="90000"/>
          </a:srgbClr>
        </a:solidFill>
        <a:effectLst/>
      </p:bgPr>
    </p:bg>
    <p:spTree>
      <p:nvGrpSpPr>
        <p:cNvPr id="1" name=""/>
        <p:cNvGrpSpPr/>
        <p:nvPr/>
      </p:nvGrpSpPr>
      <p:grpSpPr>
        <a:xfrm>
          <a:off x="0" y="0"/>
          <a:ext cx="0" cy="0"/>
          <a:chOff x="0" y="0"/>
          <a:chExt cx="0" cy="0"/>
        </a:xfrm>
      </p:grpSpPr>
      <p:sp>
        <p:nvSpPr>
          <p:cNvPr id="6" name="Graphic 4">
            <a:extLst>
              <a:ext uri="{FF2B5EF4-FFF2-40B4-BE49-F238E27FC236}">
                <a16:creationId xmlns:a16="http://schemas.microsoft.com/office/drawing/2014/main" id="{AF1B0308-13E6-2A77-257D-5CEE1DAB203D}"/>
              </a:ext>
            </a:extLst>
          </p:cNvPr>
          <p:cNvSpPr/>
          <p:nvPr/>
        </p:nvSpPr>
        <p:spPr>
          <a:xfrm rot="20933169">
            <a:off x="2891439" y="266223"/>
            <a:ext cx="10157811" cy="6325551"/>
          </a:xfrm>
          <a:custGeom>
            <a:avLst/>
            <a:gdLst>
              <a:gd name="connsiteX0" fmla="*/ 7918155 w 7918155"/>
              <a:gd name="connsiteY0" fmla="*/ 252099 h 4930855"/>
              <a:gd name="connsiteX1" fmla="*/ 5480071 w 7918155"/>
              <a:gd name="connsiteY1" fmla="*/ 806761 h 4930855"/>
              <a:gd name="connsiteX2" fmla="*/ 5718621 w 7918155"/>
              <a:gd name="connsiteY2" fmla="*/ 1596646 h 4930855"/>
              <a:gd name="connsiteX3" fmla="*/ 2292625 w 7918155"/>
              <a:gd name="connsiteY3" fmla="*/ 1099230 h 4930855"/>
              <a:gd name="connsiteX4" fmla="*/ 2231796 w 7918155"/>
              <a:gd name="connsiteY4" fmla="*/ 3405765 h 4930855"/>
              <a:gd name="connsiteX5" fmla="*/ 139262 w 7918155"/>
              <a:gd name="connsiteY5" fmla="*/ 4019874 h 4930855"/>
              <a:gd name="connsiteX6" fmla="*/ 15040 w 7918155"/>
              <a:gd name="connsiteY6" fmla="*/ 4930856 h 493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8155" h="4930855">
                <a:moveTo>
                  <a:pt x="7918155" y="252099"/>
                </a:moveTo>
                <a:cubicBezTo>
                  <a:pt x="7097155" y="-200547"/>
                  <a:pt x="6027160" y="-60001"/>
                  <a:pt x="5480071" y="806761"/>
                </a:cubicBezTo>
                <a:cubicBezTo>
                  <a:pt x="4349065" y="2598817"/>
                  <a:pt x="6325806" y="2558818"/>
                  <a:pt x="5718621" y="1596646"/>
                </a:cubicBezTo>
                <a:cubicBezTo>
                  <a:pt x="4979885" y="425856"/>
                  <a:pt x="2991419" y="319437"/>
                  <a:pt x="2292625" y="1099230"/>
                </a:cubicBezTo>
                <a:cubicBezTo>
                  <a:pt x="1528239" y="1952231"/>
                  <a:pt x="2231796" y="3405765"/>
                  <a:pt x="2231796" y="3405765"/>
                </a:cubicBezTo>
                <a:cubicBezTo>
                  <a:pt x="2231796" y="3405765"/>
                  <a:pt x="800863" y="2516984"/>
                  <a:pt x="139262" y="4019874"/>
                </a:cubicBezTo>
                <a:cubicBezTo>
                  <a:pt x="12475" y="4307756"/>
                  <a:pt x="-24352" y="4621875"/>
                  <a:pt x="15040" y="4930856"/>
                </a:cubicBezTo>
              </a:path>
            </a:pathLst>
          </a:custGeom>
          <a:noFill/>
          <a:ln w="38100" cap="rnd">
            <a:solidFill>
              <a:srgbClr val="152A96"/>
            </a:solidFill>
            <a:prstDash val="solid"/>
            <a:round/>
          </a:ln>
        </p:spPr>
        <p:txBody>
          <a:bodyPr rtlCol="0" anchor="ctr"/>
          <a:lstStyle/>
          <a:p>
            <a:endParaRPr lang="fi-FI"/>
          </a:p>
        </p:txBody>
      </p:sp>
      <p:sp>
        <p:nvSpPr>
          <p:cNvPr id="5" name="Tekstin paikkamerkki 4">
            <a:extLst>
              <a:ext uri="{FF2B5EF4-FFF2-40B4-BE49-F238E27FC236}">
                <a16:creationId xmlns:a16="http://schemas.microsoft.com/office/drawing/2014/main" id="{22681FBD-0D80-1C1A-2CD3-6892E4631EF3}"/>
              </a:ext>
            </a:extLst>
          </p:cNvPr>
          <p:cNvSpPr>
            <a:spLocks noGrp="1"/>
          </p:cNvSpPr>
          <p:nvPr>
            <p:ph type="body" sz="quarter" idx="10"/>
          </p:nvPr>
        </p:nvSpPr>
        <p:spPr>
          <a:xfrm>
            <a:off x="628650" y="714375"/>
            <a:ext cx="4286250" cy="3771900"/>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sp>
        <p:nvSpPr>
          <p:cNvPr id="7" name="Tekstin paikkamerkki 4">
            <a:extLst>
              <a:ext uri="{FF2B5EF4-FFF2-40B4-BE49-F238E27FC236}">
                <a16:creationId xmlns:a16="http://schemas.microsoft.com/office/drawing/2014/main" id="{261762D5-B3F0-4B8B-744C-9DE02065DA6F}"/>
              </a:ext>
            </a:extLst>
          </p:cNvPr>
          <p:cNvSpPr>
            <a:spLocks noGrp="1"/>
          </p:cNvSpPr>
          <p:nvPr>
            <p:ph type="body" sz="quarter" idx="11"/>
          </p:nvPr>
        </p:nvSpPr>
        <p:spPr>
          <a:xfrm>
            <a:off x="6867524" y="3428998"/>
            <a:ext cx="4695825" cy="280035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spTree>
    <p:extLst>
      <p:ext uri="{BB962C8B-B14F-4D97-AF65-F5344CB8AC3E}">
        <p14:creationId xmlns:p14="http://schemas.microsoft.com/office/powerpoint/2010/main" val="3019040456"/>
      </p:ext>
    </p:extLst>
  </p:cSld>
  <p:clrMapOvr>
    <a:masterClrMapping/>
  </p:clrMapOvr>
  <p:hf sldNum="0"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Korostedia jaottelu 3">
    <p:bg>
      <p:bgPr>
        <a:solidFill>
          <a:srgbClr val="F3AFDE">
            <a:alpha val="90000"/>
          </a:srgbClr>
        </a:solidFill>
        <a:effectLst/>
      </p:bgPr>
    </p:bg>
    <p:spTree>
      <p:nvGrpSpPr>
        <p:cNvPr id="1" name=""/>
        <p:cNvGrpSpPr/>
        <p:nvPr/>
      </p:nvGrpSpPr>
      <p:grpSpPr>
        <a:xfrm>
          <a:off x="0" y="0"/>
          <a:ext cx="0" cy="0"/>
          <a:chOff x="0" y="0"/>
          <a:chExt cx="0" cy="0"/>
        </a:xfrm>
      </p:grpSpPr>
      <p:sp>
        <p:nvSpPr>
          <p:cNvPr id="5" name="Tekstin paikkamerkki 4">
            <a:extLst>
              <a:ext uri="{FF2B5EF4-FFF2-40B4-BE49-F238E27FC236}">
                <a16:creationId xmlns:a16="http://schemas.microsoft.com/office/drawing/2014/main" id="{22681FBD-0D80-1C1A-2CD3-6892E4631EF3}"/>
              </a:ext>
            </a:extLst>
          </p:cNvPr>
          <p:cNvSpPr>
            <a:spLocks noGrp="1"/>
          </p:cNvSpPr>
          <p:nvPr>
            <p:ph type="body" sz="quarter" idx="10"/>
          </p:nvPr>
        </p:nvSpPr>
        <p:spPr>
          <a:xfrm>
            <a:off x="628650" y="714375"/>
            <a:ext cx="4286250" cy="3771900"/>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sp>
        <p:nvSpPr>
          <p:cNvPr id="7" name="Tekstin paikkamerkki 4">
            <a:extLst>
              <a:ext uri="{FF2B5EF4-FFF2-40B4-BE49-F238E27FC236}">
                <a16:creationId xmlns:a16="http://schemas.microsoft.com/office/drawing/2014/main" id="{261762D5-B3F0-4B8B-744C-9DE02065DA6F}"/>
              </a:ext>
            </a:extLst>
          </p:cNvPr>
          <p:cNvSpPr>
            <a:spLocks noGrp="1"/>
          </p:cNvSpPr>
          <p:nvPr>
            <p:ph type="body" sz="quarter" idx="11"/>
          </p:nvPr>
        </p:nvSpPr>
        <p:spPr>
          <a:xfrm>
            <a:off x="6867524" y="3428998"/>
            <a:ext cx="4695825" cy="280035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pic>
        <p:nvPicPr>
          <p:cNvPr id="2" name="Kuva 1">
            <a:extLst>
              <a:ext uri="{FF2B5EF4-FFF2-40B4-BE49-F238E27FC236}">
                <a16:creationId xmlns:a16="http://schemas.microsoft.com/office/drawing/2014/main" id="{0E278396-03CE-8E36-561A-65338D88673D}"/>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4923230" flipH="1">
            <a:off x="2618275" y="-469387"/>
            <a:ext cx="7249352" cy="7249352"/>
          </a:xfrm>
          <a:prstGeom prst="rect">
            <a:avLst/>
          </a:prstGeom>
        </p:spPr>
      </p:pic>
      <p:pic>
        <p:nvPicPr>
          <p:cNvPr id="3" name="Kuva 2">
            <a:extLst>
              <a:ext uri="{FF2B5EF4-FFF2-40B4-BE49-F238E27FC236}">
                <a16:creationId xmlns:a16="http://schemas.microsoft.com/office/drawing/2014/main" id="{361A5628-65FD-E8BE-4D67-CC4FEAE104D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4923230" flipH="1">
            <a:off x="2618275" y="-469387"/>
            <a:ext cx="7249352" cy="7249352"/>
          </a:xfrm>
          <a:prstGeom prst="rect">
            <a:avLst/>
          </a:prstGeom>
        </p:spPr>
      </p:pic>
    </p:spTree>
    <p:extLst>
      <p:ext uri="{BB962C8B-B14F-4D97-AF65-F5344CB8AC3E}">
        <p14:creationId xmlns:p14="http://schemas.microsoft.com/office/powerpoint/2010/main" val="1467494779"/>
      </p:ext>
    </p:extLst>
  </p:cSld>
  <p:clrMapOvr>
    <a:masterClrMapping/>
  </p:clrMapOvr>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Korostedia jaottelu 4">
    <p:bg>
      <p:bgPr>
        <a:solidFill>
          <a:srgbClr val="B8CDFF">
            <a:alpha val="90000"/>
          </a:srgbClr>
        </a:solidFill>
        <a:effectLst/>
      </p:bgPr>
    </p:bg>
    <p:spTree>
      <p:nvGrpSpPr>
        <p:cNvPr id="1" name=""/>
        <p:cNvGrpSpPr/>
        <p:nvPr/>
      </p:nvGrpSpPr>
      <p:grpSpPr>
        <a:xfrm>
          <a:off x="0" y="0"/>
          <a:ext cx="0" cy="0"/>
          <a:chOff x="0" y="0"/>
          <a:chExt cx="0" cy="0"/>
        </a:xfrm>
      </p:grpSpPr>
      <p:sp>
        <p:nvSpPr>
          <p:cNvPr id="5" name="Tekstin paikkamerkki 4">
            <a:extLst>
              <a:ext uri="{FF2B5EF4-FFF2-40B4-BE49-F238E27FC236}">
                <a16:creationId xmlns:a16="http://schemas.microsoft.com/office/drawing/2014/main" id="{22681FBD-0D80-1C1A-2CD3-6892E4631EF3}"/>
              </a:ext>
            </a:extLst>
          </p:cNvPr>
          <p:cNvSpPr>
            <a:spLocks noGrp="1"/>
          </p:cNvSpPr>
          <p:nvPr>
            <p:ph type="body" sz="quarter" idx="10"/>
          </p:nvPr>
        </p:nvSpPr>
        <p:spPr>
          <a:xfrm>
            <a:off x="628650" y="714375"/>
            <a:ext cx="4286250" cy="3771900"/>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sp>
        <p:nvSpPr>
          <p:cNvPr id="7" name="Tekstin paikkamerkki 4">
            <a:extLst>
              <a:ext uri="{FF2B5EF4-FFF2-40B4-BE49-F238E27FC236}">
                <a16:creationId xmlns:a16="http://schemas.microsoft.com/office/drawing/2014/main" id="{261762D5-B3F0-4B8B-744C-9DE02065DA6F}"/>
              </a:ext>
            </a:extLst>
          </p:cNvPr>
          <p:cNvSpPr>
            <a:spLocks noGrp="1"/>
          </p:cNvSpPr>
          <p:nvPr>
            <p:ph type="body" sz="quarter" idx="11"/>
          </p:nvPr>
        </p:nvSpPr>
        <p:spPr>
          <a:xfrm>
            <a:off x="6867524" y="3428998"/>
            <a:ext cx="4695825" cy="280035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pic>
        <p:nvPicPr>
          <p:cNvPr id="2" name="Kuva 1">
            <a:extLst>
              <a:ext uri="{FF2B5EF4-FFF2-40B4-BE49-F238E27FC236}">
                <a16:creationId xmlns:a16="http://schemas.microsoft.com/office/drawing/2014/main" id="{0E278396-03CE-8E36-561A-65338D88673D}"/>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4923230" flipH="1">
            <a:off x="2618275" y="-469387"/>
            <a:ext cx="7249352" cy="7249352"/>
          </a:xfrm>
          <a:prstGeom prst="rect">
            <a:avLst/>
          </a:prstGeom>
        </p:spPr>
      </p:pic>
      <p:pic>
        <p:nvPicPr>
          <p:cNvPr id="3" name="Kuva 2">
            <a:extLst>
              <a:ext uri="{FF2B5EF4-FFF2-40B4-BE49-F238E27FC236}">
                <a16:creationId xmlns:a16="http://schemas.microsoft.com/office/drawing/2014/main" id="{251F7881-D75C-6579-2870-6DA91A0086B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4923230" flipH="1">
            <a:off x="2618275" y="-469387"/>
            <a:ext cx="7249352" cy="7249352"/>
          </a:xfrm>
          <a:prstGeom prst="rect">
            <a:avLst/>
          </a:prstGeom>
        </p:spPr>
      </p:pic>
    </p:spTree>
    <p:extLst>
      <p:ext uri="{BB962C8B-B14F-4D97-AF65-F5344CB8AC3E}">
        <p14:creationId xmlns:p14="http://schemas.microsoft.com/office/powerpoint/2010/main" val="2895019305"/>
      </p:ext>
    </p:extLst>
  </p:cSld>
  <p:clrMapOvr>
    <a:masterClrMapping/>
  </p:clrMapOvr>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Korostedia jaottelu 5">
    <p:bg>
      <p:bgPr>
        <a:solidFill>
          <a:srgbClr val="FFCC99">
            <a:alpha val="90000"/>
          </a:srgbClr>
        </a:solidFill>
        <a:effectLst/>
      </p:bgPr>
    </p:bg>
    <p:spTree>
      <p:nvGrpSpPr>
        <p:cNvPr id="1" name=""/>
        <p:cNvGrpSpPr/>
        <p:nvPr/>
      </p:nvGrpSpPr>
      <p:grpSpPr>
        <a:xfrm>
          <a:off x="0" y="0"/>
          <a:ext cx="0" cy="0"/>
          <a:chOff x="0" y="0"/>
          <a:chExt cx="0" cy="0"/>
        </a:xfrm>
      </p:grpSpPr>
      <p:sp>
        <p:nvSpPr>
          <p:cNvPr id="7" name="Tekstin paikkamerkki 4">
            <a:extLst>
              <a:ext uri="{FF2B5EF4-FFF2-40B4-BE49-F238E27FC236}">
                <a16:creationId xmlns:a16="http://schemas.microsoft.com/office/drawing/2014/main" id="{261762D5-B3F0-4B8B-744C-9DE02065DA6F}"/>
              </a:ext>
            </a:extLst>
          </p:cNvPr>
          <p:cNvSpPr>
            <a:spLocks noGrp="1"/>
          </p:cNvSpPr>
          <p:nvPr>
            <p:ph type="body" sz="quarter" idx="11"/>
          </p:nvPr>
        </p:nvSpPr>
        <p:spPr>
          <a:xfrm>
            <a:off x="7277099" y="2457450"/>
            <a:ext cx="4286250" cy="3771900"/>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pic>
        <p:nvPicPr>
          <p:cNvPr id="2" name="Kuva 1">
            <a:extLst>
              <a:ext uri="{FF2B5EF4-FFF2-40B4-BE49-F238E27FC236}">
                <a16:creationId xmlns:a16="http://schemas.microsoft.com/office/drawing/2014/main" id="{DDE04ECD-233E-8A39-CFF4-7BF8AFDA685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4923230" flipH="1">
            <a:off x="2618275" y="-469387"/>
            <a:ext cx="7249352" cy="7249352"/>
          </a:xfrm>
          <a:prstGeom prst="rect">
            <a:avLst/>
          </a:prstGeom>
        </p:spPr>
      </p:pic>
      <p:sp>
        <p:nvSpPr>
          <p:cNvPr id="3" name="Tekstin paikkamerkki 4">
            <a:extLst>
              <a:ext uri="{FF2B5EF4-FFF2-40B4-BE49-F238E27FC236}">
                <a16:creationId xmlns:a16="http://schemas.microsoft.com/office/drawing/2014/main" id="{C0794E00-DC61-8586-B351-F37C024743DD}"/>
              </a:ext>
            </a:extLst>
          </p:cNvPr>
          <p:cNvSpPr>
            <a:spLocks noGrp="1"/>
          </p:cNvSpPr>
          <p:nvPr>
            <p:ph type="body" sz="quarter" idx="12"/>
          </p:nvPr>
        </p:nvSpPr>
        <p:spPr>
          <a:xfrm>
            <a:off x="628652" y="752475"/>
            <a:ext cx="4286250" cy="3605213"/>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i-FI"/>
              <a:t>Muokkaa tekstin perustyylejä napsauttamalla</a:t>
            </a:r>
          </a:p>
        </p:txBody>
      </p:sp>
      <p:pic>
        <p:nvPicPr>
          <p:cNvPr id="4" name="Kuva 3">
            <a:extLst>
              <a:ext uri="{FF2B5EF4-FFF2-40B4-BE49-F238E27FC236}">
                <a16:creationId xmlns:a16="http://schemas.microsoft.com/office/drawing/2014/main" id="{BF78C712-7BDA-3403-5078-875E0EAFA8EA}"/>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4923230" flipH="1">
            <a:off x="2618275" y="-469387"/>
            <a:ext cx="7249352" cy="7249352"/>
          </a:xfrm>
          <a:prstGeom prst="rect">
            <a:avLst/>
          </a:prstGeom>
        </p:spPr>
      </p:pic>
    </p:spTree>
    <p:extLst>
      <p:ext uri="{BB962C8B-B14F-4D97-AF65-F5344CB8AC3E}">
        <p14:creationId xmlns:p14="http://schemas.microsoft.com/office/powerpoint/2010/main" val="417385591"/>
      </p:ext>
    </p:extLst>
  </p:cSld>
  <p:clrMapOvr>
    <a:masterClrMapping/>
  </p:clrMapOvr>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isältö kuvalla oikea 1">
    <p:bg>
      <p:bgPr>
        <a:solidFill>
          <a:srgbClr val="B8CDFF">
            <a:alpha val="90000"/>
          </a:srgbClr>
        </a:solidFill>
        <a:effectLst/>
      </p:bgPr>
    </p:bg>
    <p:spTree>
      <p:nvGrpSpPr>
        <p:cNvPr id="1" name=""/>
        <p:cNvGrpSpPr/>
        <p:nvPr/>
      </p:nvGrpSpPr>
      <p:grpSpPr>
        <a:xfrm>
          <a:off x="0" y="0"/>
          <a:ext cx="0" cy="0"/>
          <a:chOff x="0" y="0"/>
          <a:chExt cx="0" cy="0"/>
        </a:xfrm>
      </p:grpSpPr>
      <p:sp>
        <p:nvSpPr>
          <p:cNvPr id="7" name="Puolivapaa piirto 6">
            <a:extLst>
              <a:ext uri="{FF2B5EF4-FFF2-40B4-BE49-F238E27FC236}">
                <a16:creationId xmlns:a16="http://schemas.microsoft.com/office/drawing/2014/main" id="{C16E8C5C-B311-55F4-BCC8-C22EB8C2A210}"/>
              </a:ext>
            </a:extLst>
          </p:cNvPr>
          <p:cNvSpPr/>
          <p:nvPr/>
        </p:nvSpPr>
        <p:spPr>
          <a:xfrm>
            <a:off x="6651913" y="1926543"/>
            <a:ext cx="4918630" cy="4890639"/>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3247572 w 3698240"/>
              <a:gd name="connsiteY0" fmla="*/ 3481977 h 3481977"/>
              <a:gd name="connsiteX1" fmla="*/ 3698240 w 3698240"/>
              <a:gd name="connsiteY1" fmla="*/ 0 h 3481977"/>
              <a:gd name="connsiteX2" fmla="*/ 1178560 w 3698240"/>
              <a:gd name="connsiteY2" fmla="*/ 0 h 3481977"/>
              <a:gd name="connsiteX3" fmla="*/ 0 w 3698240"/>
              <a:gd name="connsiteY3" fmla="*/ 2316480 h 3481977"/>
              <a:gd name="connsiteX4" fmla="*/ 2346960 w 3698240"/>
              <a:gd name="connsiteY4" fmla="*/ 3230880 h 3481977"/>
              <a:gd name="connsiteX5" fmla="*/ 3247572 w 3698240"/>
              <a:gd name="connsiteY5" fmla="*/ 3481977 h 3481977"/>
              <a:gd name="connsiteX0" fmla="*/ 3247572 w 3698240"/>
              <a:gd name="connsiteY0" fmla="*/ 3481977 h 3492137"/>
              <a:gd name="connsiteX1" fmla="*/ 3698240 w 3698240"/>
              <a:gd name="connsiteY1" fmla="*/ 0 h 3492137"/>
              <a:gd name="connsiteX2" fmla="*/ 1178560 w 3698240"/>
              <a:gd name="connsiteY2" fmla="*/ 0 h 3492137"/>
              <a:gd name="connsiteX3" fmla="*/ 0 w 3698240"/>
              <a:gd name="connsiteY3" fmla="*/ 2316480 h 3492137"/>
              <a:gd name="connsiteX4" fmla="*/ 3239589 w 3698240"/>
              <a:gd name="connsiteY4" fmla="*/ 3492137 h 3492137"/>
              <a:gd name="connsiteX5" fmla="*/ 3247572 w 3698240"/>
              <a:gd name="connsiteY5" fmla="*/ 3481977 h 3492137"/>
              <a:gd name="connsiteX0" fmla="*/ 3312886 w 3698240"/>
              <a:gd name="connsiteY0" fmla="*/ 3634377 h 3634377"/>
              <a:gd name="connsiteX1" fmla="*/ 3698240 w 3698240"/>
              <a:gd name="connsiteY1" fmla="*/ 0 h 3634377"/>
              <a:gd name="connsiteX2" fmla="*/ 1178560 w 3698240"/>
              <a:gd name="connsiteY2" fmla="*/ 0 h 3634377"/>
              <a:gd name="connsiteX3" fmla="*/ 0 w 3698240"/>
              <a:gd name="connsiteY3" fmla="*/ 2316480 h 3634377"/>
              <a:gd name="connsiteX4" fmla="*/ 3239589 w 3698240"/>
              <a:gd name="connsiteY4" fmla="*/ 3492137 h 3634377"/>
              <a:gd name="connsiteX5" fmla="*/ 3312886 w 3698240"/>
              <a:gd name="connsiteY5" fmla="*/ 3634377 h 3634377"/>
              <a:gd name="connsiteX0" fmla="*/ 3312886 w 3698240"/>
              <a:gd name="connsiteY0" fmla="*/ 3634377 h 3677194"/>
              <a:gd name="connsiteX1" fmla="*/ 3698240 w 3698240"/>
              <a:gd name="connsiteY1" fmla="*/ 0 h 3677194"/>
              <a:gd name="connsiteX2" fmla="*/ 1178560 w 3698240"/>
              <a:gd name="connsiteY2" fmla="*/ 0 h 3677194"/>
              <a:gd name="connsiteX3" fmla="*/ 0 w 3698240"/>
              <a:gd name="connsiteY3" fmla="*/ 2316480 h 3677194"/>
              <a:gd name="connsiteX4" fmla="*/ 3304903 w 3698240"/>
              <a:gd name="connsiteY4" fmla="*/ 3677194 h 3677194"/>
              <a:gd name="connsiteX5" fmla="*/ 3312886 w 3698240"/>
              <a:gd name="connsiteY5" fmla="*/ 3634377 h 367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677194">
                <a:moveTo>
                  <a:pt x="3312886" y="3634377"/>
                </a:moveTo>
                <a:lnTo>
                  <a:pt x="3698240" y="0"/>
                </a:lnTo>
                <a:lnTo>
                  <a:pt x="1178560" y="0"/>
                </a:lnTo>
                <a:lnTo>
                  <a:pt x="0" y="2316480"/>
                </a:lnTo>
                <a:lnTo>
                  <a:pt x="3304903" y="3677194"/>
                </a:lnTo>
                <a:lnTo>
                  <a:pt x="3312886" y="3634377"/>
                </a:lnTo>
                <a:close/>
              </a:path>
            </a:pathLst>
          </a:cu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rgbClr val="152B96"/>
              </a:solidFill>
            </a:endParaRPr>
          </a:p>
        </p:txBody>
      </p:sp>
      <p:sp>
        <p:nvSpPr>
          <p:cNvPr id="4" name="Title 3">
            <a:extLst>
              <a:ext uri="{FF2B5EF4-FFF2-40B4-BE49-F238E27FC236}">
                <a16:creationId xmlns:a16="http://schemas.microsoft.com/office/drawing/2014/main" id="{2C64349B-9113-9E60-C5C5-2CCFC1B72791}"/>
              </a:ext>
            </a:extLst>
          </p:cNvPr>
          <p:cNvSpPr>
            <a:spLocks noGrp="1"/>
          </p:cNvSpPr>
          <p:nvPr>
            <p:ph type="title"/>
          </p:nvPr>
        </p:nvSpPr>
        <p:spPr>
          <a:xfrm>
            <a:off x="838200" y="769189"/>
            <a:ext cx="10515600" cy="921499"/>
          </a:xfrm>
        </p:spPr>
        <p:txBody>
          <a:bodyPr anchor="t"/>
          <a:lstStyle>
            <a:lvl1pPr>
              <a:defRPr>
                <a:solidFill>
                  <a:srgbClr val="152B96"/>
                </a:solidFill>
              </a:defRPr>
            </a:lvl1pPr>
          </a:lstStyle>
          <a:p>
            <a:r>
              <a:rPr lang="fi-FI"/>
              <a:t>Muokkaa ots. perustyyl. napsautt.</a:t>
            </a:r>
          </a:p>
        </p:txBody>
      </p:sp>
      <p:sp>
        <p:nvSpPr>
          <p:cNvPr id="12" name="Content Placeholder 11">
            <a:extLst>
              <a:ext uri="{FF2B5EF4-FFF2-40B4-BE49-F238E27FC236}">
                <a16:creationId xmlns:a16="http://schemas.microsoft.com/office/drawing/2014/main" id="{904BF437-682C-8403-7980-4B00516BA82C}"/>
              </a:ext>
            </a:extLst>
          </p:cNvPr>
          <p:cNvSpPr>
            <a:spLocks noGrp="1"/>
          </p:cNvSpPr>
          <p:nvPr>
            <p:ph sz="quarter" idx="10" hasCustomPrompt="1"/>
          </p:nvPr>
        </p:nvSpPr>
        <p:spPr>
          <a:xfrm>
            <a:off x="838200" y="351676"/>
            <a:ext cx="10515600" cy="417513"/>
          </a:xfrm>
        </p:spPr>
        <p:txBody>
          <a:bodyPr anchor="b"/>
          <a:lstStyle>
            <a:lvl1pPr>
              <a:buNone/>
              <a:defRPr sz="1800" b="1">
                <a:solidFill>
                  <a:srgbClr val="152B96"/>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5" name="Picture Placeholder 12">
            <a:extLst>
              <a:ext uri="{FF2B5EF4-FFF2-40B4-BE49-F238E27FC236}">
                <a16:creationId xmlns:a16="http://schemas.microsoft.com/office/drawing/2014/main" id="{8882870E-7754-BF91-6B61-AF951E7F810C}"/>
              </a:ext>
            </a:extLst>
          </p:cNvPr>
          <p:cNvSpPr>
            <a:spLocks noGrp="1"/>
          </p:cNvSpPr>
          <p:nvPr>
            <p:ph type="pic" sz="quarter" idx="13"/>
          </p:nvPr>
        </p:nvSpPr>
        <p:spPr>
          <a:xfrm>
            <a:off x="6398752" y="1322579"/>
            <a:ext cx="5588621" cy="5676150"/>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sp>
        <p:nvSpPr>
          <p:cNvPr id="3" name="Päivämäärän paikkamerkki 3">
            <a:extLst>
              <a:ext uri="{FF2B5EF4-FFF2-40B4-BE49-F238E27FC236}">
                <a16:creationId xmlns:a16="http://schemas.microsoft.com/office/drawing/2014/main" id="{8F56F609-8E84-7E2D-0EE8-428C2AA39297}"/>
              </a:ext>
            </a:extLst>
          </p:cNvPr>
          <p:cNvSpPr>
            <a:spLocks noGrp="1"/>
          </p:cNvSpPr>
          <p:nvPr>
            <p:ph type="dt" sz="half" idx="15"/>
          </p:nvPr>
        </p:nvSpPr>
        <p:spPr>
          <a:xfrm>
            <a:off x="838200" y="6356350"/>
            <a:ext cx="2743200" cy="365125"/>
          </a:xfrm>
        </p:spPr>
        <p:txBody>
          <a:bodyPr/>
          <a:lstStyle/>
          <a:p>
            <a:endParaRPr lang="fi-FI" dirty="0"/>
          </a:p>
        </p:txBody>
      </p:sp>
      <p:sp>
        <p:nvSpPr>
          <p:cNvPr id="6" name="Alatunnisteen paikkamerkki 4">
            <a:extLst>
              <a:ext uri="{FF2B5EF4-FFF2-40B4-BE49-F238E27FC236}">
                <a16:creationId xmlns:a16="http://schemas.microsoft.com/office/drawing/2014/main" id="{8278FACF-B64F-4EB0-F880-556D6864D8AF}"/>
              </a:ext>
            </a:extLst>
          </p:cNvPr>
          <p:cNvSpPr>
            <a:spLocks noGrp="1"/>
          </p:cNvSpPr>
          <p:nvPr>
            <p:ph type="ftr" sz="quarter" idx="16"/>
          </p:nvPr>
        </p:nvSpPr>
        <p:spPr>
          <a:xfrm>
            <a:off x="4038600" y="6356350"/>
            <a:ext cx="4114800" cy="365125"/>
          </a:xfrm>
        </p:spPr>
        <p:txBody>
          <a:bodyPr/>
          <a:lstStyle/>
          <a:p>
            <a:r>
              <a:rPr lang="fi-FI"/>
              <a:t>7</a:t>
            </a:r>
          </a:p>
        </p:txBody>
      </p:sp>
      <p:sp>
        <p:nvSpPr>
          <p:cNvPr id="9" name="Sisällön paikkamerkki 10">
            <a:extLst>
              <a:ext uri="{FF2B5EF4-FFF2-40B4-BE49-F238E27FC236}">
                <a16:creationId xmlns:a16="http://schemas.microsoft.com/office/drawing/2014/main" id="{F06984CE-8B1E-BEF4-1E28-2276801E4167}"/>
              </a:ext>
            </a:extLst>
          </p:cNvPr>
          <p:cNvSpPr>
            <a:spLocks noGrp="1"/>
          </p:cNvSpPr>
          <p:nvPr>
            <p:ph sz="quarter" idx="17" hasCustomPrompt="1"/>
          </p:nvPr>
        </p:nvSpPr>
        <p:spPr>
          <a:xfrm>
            <a:off x="838200" y="2036618"/>
            <a:ext cx="5143722" cy="414034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3570513679"/>
      </p:ext>
    </p:extLst>
  </p:cSld>
  <p:clrMapOvr>
    <a:masterClrMapping/>
  </p:clrMapOvr>
  <p:hf sldNum="0"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isältö kuvalla oikea 2">
    <p:bg>
      <p:bgPr>
        <a:solidFill>
          <a:srgbClr val="FFCC99">
            <a:alpha val="90000"/>
          </a:srgb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64349B-9113-9E60-C5C5-2CCFC1B72791}"/>
              </a:ext>
            </a:extLst>
          </p:cNvPr>
          <p:cNvSpPr>
            <a:spLocks noGrp="1"/>
          </p:cNvSpPr>
          <p:nvPr>
            <p:ph type="title"/>
          </p:nvPr>
        </p:nvSpPr>
        <p:spPr>
          <a:xfrm>
            <a:off x="838200" y="769189"/>
            <a:ext cx="10515600" cy="921499"/>
          </a:xfrm>
        </p:spPr>
        <p:txBody>
          <a:bodyPr anchor="t"/>
          <a:lstStyle>
            <a:lvl1pPr>
              <a:defRPr>
                <a:solidFill>
                  <a:srgbClr val="450099"/>
                </a:solidFill>
              </a:defRPr>
            </a:lvl1pPr>
          </a:lstStyle>
          <a:p>
            <a:r>
              <a:rPr lang="fi-FI"/>
              <a:t>Muokkaa ots. perustyyl. napsautt.</a:t>
            </a:r>
          </a:p>
        </p:txBody>
      </p:sp>
      <p:sp>
        <p:nvSpPr>
          <p:cNvPr id="12" name="Content Placeholder 11">
            <a:extLst>
              <a:ext uri="{FF2B5EF4-FFF2-40B4-BE49-F238E27FC236}">
                <a16:creationId xmlns:a16="http://schemas.microsoft.com/office/drawing/2014/main" id="{904BF437-682C-8403-7980-4B00516BA82C}"/>
              </a:ext>
            </a:extLst>
          </p:cNvPr>
          <p:cNvSpPr>
            <a:spLocks noGrp="1"/>
          </p:cNvSpPr>
          <p:nvPr>
            <p:ph sz="quarter" idx="10" hasCustomPrompt="1"/>
          </p:nvPr>
        </p:nvSpPr>
        <p:spPr>
          <a:xfrm>
            <a:off x="838200" y="351676"/>
            <a:ext cx="10515600" cy="417513"/>
          </a:xfrm>
        </p:spPr>
        <p:txBody>
          <a:bodyPr anchor="b"/>
          <a:lstStyle>
            <a:lvl1pPr>
              <a:buNone/>
              <a:defRPr sz="1800" b="1">
                <a:solidFill>
                  <a:srgbClr val="450099"/>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2" name="Puolivapaa piirto 6">
            <a:extLst>
              <a:ext uri="{FF2B5EF4-FFF2-40B4-BE49-F238E27FC236}">
                <a16:creationId xmlns:a16="http://schemas.microsoft.com/office/drawing/2014/main" id="{44106FC7-40E4-5982-2979-2A763BCAF8DC}"/>
              </a:ext>
            </a:extLst>
          </p:cNvPr>
          <p:cNvSpPr/>
          <p:nvPr/>
        </p:nvSpPr>
        <p:spPr>
          <a:xfrm>
            <a:off x="7366661" y="2133892"/>
            <a:ext cx="4267574" cy="4243287"/>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3247572 w 3698240"/>
              <a:gd name="connsiteY0" fmla="*/ 3481977 h 3481977"/>
              <a:gd name="connsiteX1" fmla="*/ 3698240 w 3698240"/>
              <a:gd name="connsiteY1" fmla="*/ 0 h 3481977"/>
              <a:gd name="connsiteX2" fmla="*/ 1178560 w 3698240"/>
              <a:gd name="connsiteY2" fmla="*/ 0 h 3481977"/>
              <a:gd name="connsiteX3" fmla="*/ 0 w 3698240"/>
              <a:gd name="connsiteY3" fmla="*/ 2316480 h 3481977"/>
              <a:gd name="connsiteX4" fmla="*/ 2346960 w 3698240"/>
              <a:gd name="connsiteY4" fmla="*/ 3230880 h 3481977"/>
              <a:gd name="connsiteX5" fmla="*/ 3247572 w 3698240"/>
              <a:gd name="connsiteY5" fmla="*/ 3481977 h 3481977"/>
              <a:gd name="connsiteX0" fmla="*/ 3247572 w 3698240"/>
              <a:gd name="connsiteY0" fmla="*/ 3481977 h 3492137"/>
              <a:gd name="connsiteX1" fmla="*/ 3698240 w 3698240"/>
              <a:gd name="connsiteY1" fmla="*/ 0 h 3492137"/>
              <a:gd name="connsiteX2" fmla="*/ 1178560 w 3698240"/>
              <a:gd name="connsiteY2" fmla="*/ 0 h 3492137"/>
              <a:gd name="connsiteX3" fmla="*/ 0 w 3698240"/>
              <a:gd name="connsiteY3" fmla="*/ 2316480 h 3492137"/>
              <a:gd name="connsiteX4" fmla="*/ 3239589 w 3698240"/>
              <a:gd name="connsiteY4" fmla="*/ 3492137 h 3492137"/>
              <a:gd name="connsiteX5" fmla="*/ 3247572 w 3698240"/>
              <a:gd name="connsiteY5" fmla="*/ 3481977 h 3492137"/>
              <a:gd name="connsiteX0" fmla="*/ 3312886 w 3698240"/>
              <a:gd name="connsiteY0" fmla="*/ 3634377 h 3634377"/>
              <a:gd name="connsiteX1" fmla="*/ 3698240 w 3698240"/>
              <a:gd name="connsiteY1" fmla="*/ 0 h 3634377"/>
              <a:gd name="connsiteX2" fmla="*/ 1178560 w 3698240"/>
              <a:gd name="connsiteY2" fmla="*/ 0 h 3634377"/>
              <a:gd name="connsiteX3" fmla="*/ 0 w 3698240"/>
              <a:gd name="connsiteY3" fmla="*/ 2316480 h 3634377"/>
              <a:gd name="connsiteX4" fmla="*/ 3239589 w 3698240"/>
              <a:gd name="connsiteY4" fmla="*/ 3492137 h 3634377"/>
              <a:gd name="connsiteX5" fmla="*/ 3312886 w 3698240"/>
              <a:gd name="connsiteY5" fmla="*/ 3634377 h 3634377"/>
              <a:gd name="connsiteX0" fmla="*/ 3312886 w 3698240"/>
              <a:gd name="connsiteY0" fmla="*/ 3634377 h 3677194"/>
              <a:gd name="connsiteX1" fmla="*/ 3698240 w 3698240"/>
              <a:gd name="connsiteY1" fmla="*/ 0 h 3677194"/>
              <a:gd name="connsiteX2" fmla="*/ 1178560 w 3698240"/>
              <a:gd name="connsiteY2" fmla="*/ 0 h 3677194"/>
              <a:gd name="connsiteX3" fmla="*/ 0 w 3698240"/>
              <a:gd name="connsiteY3" fmla="*/ 2316480 h 3677194"/>
              <a:gd name="connsiteX4" fmla="*/ 3304903 w 3698240"/>
              <a:gd name="connsiteY4" fmla="*/ 3677194 h 3677194"/>
              <a:gd name="connsiteX5" fmla="*/ 3312886 w 3698240"/>
              <a:gd name="connsiteY5" fmla="*/ 3634377 h 367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677194">
                <a:moveTo>
                  <a:pt x="3312886" y="3634377"/>
                </a:moveTo>
                <a:lnTo>
                  <a:pt x="3698240" y="0"/>
                </a:lnTo>
                <a:lnTo>
                  <a:pt x="1178560" y="0"/>
                </a:lnTo>
                <a:lnTo>
                  <a:pt x="0" y="2316480"/>
                </a:lnTo>
                <a:lnTo>
                  <a:pt x="3304903" y="3677194"/>
                </a:lnTo>
                <a:lnTo>
                  <a:pt x="3312886" y="3634377"/>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rgbClr val="450099"/>
              </a:solidFill>
            </a:endParaRPr>
          </a:p>
        </p:txBody>
      </p:sp>
      <p:sp>
        <p:nvSpPr>
          <p:cNvPr id="5" name="Picture Placeholder 12">
            <a:extLst>
              <a:ext uri="{FF2B5EF4-FFF2-40B4-BE49-F238E27FC236}">
                <a16:creationId xmlns:a16="http://schemas.microsoft.com/office/drawing/2014/main" id="{8882870E-7754-BF91-6B61-AF951E7F810C}"/>
              </a:ext>
            </a:extLst>
          </p:cNvPr>
          <p:cNvSpPr>
            <a:spLocks noGrp="1"/>
          </p:cNvSpPr>
          <p:nvPr>
            <p:ph type="pic" sz="quarter" idx="13"/>
          </p:nvPr>
        </p:nvSpPr>
        <p:spPr>
          <a:xfrm>
            <a:off x="7202184" y="1581498"/>
            <a:ext cx="4848882" cy="4924826"/>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sp>
        <p:nvSpPr>
          <p:cNvPr id="3" name="Päivämäärän paikkamerkki 3">
            <a:extLst>
              <a:ext uri="{FF2B5EF4-FFF2-40B4-BE49-F238E27FC236}">
                <a16:creationId xmlns:a16="http://schemas.microsoft.com/office/drawing/2014/main" id="{5FFFD0F8-49B4-4DEA-7F19-C352BFE91036}"/>
              </a:ext>
            </a:extLst>
          </p:cNvPr>
          <p:cNvSpPr>
            <a:spLocks noGrp="1"/>
          </p:cNvSpPr>
          <p:nvPr>
            <p:ph type="dt" sz="half" idx="15"/>
          </p:nvPr>
        </p:nvSpPr>
        <p:spPr>
          <a:xfrm>
            <a:off x="838200" y="6356350"/>
            <a:ext cx="2743200" cy="365125"/>
          </a:xfrm>
        </p:spPr>
        <p:txBody>
          <a:bodyPr/>
          <a:lstStyle/>
          <a:p>
            <a:endParaRPr lang="fi-FI" dirty="0"/>
          </a:p>
        </p:txBody>
      </p:sp>
      <p:sp>
        <p:nvSpPr>
          <p:cNvPr id="6" name="Alatunnisteen paikkamerkki 4">
            <a:extLst>
              <a:ext uri="{FF2B5EF4-FFF2-40B4-BE49-F238E27FC236}">
                <a16:creationId xmlns:a16="http://schemas.microsoft.com/office/drawing/2014/main" id="{E88931AF-39C6-AD81-78EA-C4F7EF86AD55}"/>
              </a:ext>
            </a:extLst>
          </p:cNvPr>
          <p:cNvSpPr>
            <a:spLocks noGrp="1"/>
          </p:cNvSpPr>
          <p:nvPr>
            <p:ph type="ftr" sz="quarter" idx="16"/>
          </p:nvPr>
        </p:nvSpPr>
        <p:spPr>
          <a:xfrm>
            <a:off x="4038600" y="6356350"/>
            <a:ext cx="4114800" cy="365125"/>
          </a:xfrm>
        </p:spPr>
        <p:txBody>
          <a:bodyPr/>
          <a:lstStyle/>
          <a:p>
            <a:r>
              <a:rPr lang="fi-FI"/>
              <a:t>7</a:t>
            </a:r>
          </a:p>
        </p:txBody>
      </p:sp>
      <p:sp>
        <p:nvSpPr>
          <p:cNvPr id="7" name="Sisällön paikkamerkki 10">
            <a:extLst>
              <a:ext uri="{FF2B5EF4-FFF2-40B4-BE49-F238E27FC236}">
                <a16:creationId xmlns:a16="http://schemas.microsoft.com/office/drawing/2014/main" id="{597F4C8A-0A0B-DCAC-32EE-178E99A6E418}"/>
              </a:ext>
            </a:extLst>
          </p:cNvPr>
          <p:cNvSpPr>
            <a:spLocks noGrp="1"/>
          </p:cNvSpPr>
          <p:nvPr>
            <p:ph sz="quarter" idx="17" hasCustomPrompt="1"/>
          </p:nvPr>
        </p:nvSpPr>
        <p:spPr>
          <a:xfrm>
            <a:off x="838200" y="2036618"/>
            <a:ext cx="5143722" cy="414034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629040874"/>
      </p:ext>
    </p:extLst>
  </p:cSld>
  <p:clrMapOvr>
    <a:masterClrMapping/>
  </p:clrMapOvr>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isältö kuvalla oikea 3">
    <p:bg>
      <p:bgPr>
        <a:solidFill>
          <a:srgbClr val="F9EB61">
            <a:alpha val="90000"/>
          </a:srgb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FAEAA93-8501-A261-CC75-9E6570EF00C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694698" y="2458408"/>
            <a:ext cx="4973338" cy="4986426"/>
          </a:xfrm>
          <a:prstGeom prst="rect">
            <a:avLst/>
          </a:prstGeom>
        </p:spPr>
      </p:pic>
      <p:sp>
        <p:nvSpPr>
          <p:cNvPr id="4" name="Title 3">
            <a:extLst>
              <a:ext uri="{FF2B5EF4-FFF2-40B4-BE49-F238E27FC236}">
                <a16:creationId xmlns:a16="http://schemas.microsoft.com/office/drawing/2014/main" id="{2C64349B-9113-9E60-C5C5-2CCFC1B72791}"/>
              </a:ext>
            </a:extLst>
          </p:cNvPr>
          <p:cNvSpPr>
            <a:spLocks noGrp="1"/>
          </p:cNvSpPr>
          <p:nvPr>
            <p:ph type="title"/>
          </p:nvPr>
        </p:nvSpPr>
        <p:spPr>
          <a:xfrm>
            <a:off x="838200" y="769189"/>
            <a:ext cx="10515600" cy="921499"/>
          </a:xfrm>
        </p:spPr>
        <p:txBody>
          <a:bodyPr anchor="t"/>
          <a:lstStyle>
            <a:lvl1pPr>
              <a:defRPr>
                <a:solidFill>
                  <a:srgbClr val="006173"/>
                </a:solidFill>
              </a:defRPr>
            </a:lvl1pPr>
          </a:lstStyle>
          <a:p>
            <a:r>
              <a:rPr lang="fi-FI"/>
              <a:t>Muokkaa ots. perustyyl. napsautt.</a:t>
            </a:r>
          </a:p>
        </p:txBody>
      </p:sp>
      <p:sp>
        <p:nvSpPr>
          <p:cNvPr id="12" name="Content Placeholder 11">
            <a:extLst>
              <a:ext uri="{FF2B5EF4-FFF2-40B4-BE49-F238E27FC236}">
                <a16:creationId xmlns:a16="http://schemas.microsoft.com/office/drawing/2014/main" id="{904BF437-682C-8403-7980-4B00516BA82C}"/>
              </a:ext>
            </a:extLst>
          </p:cNvPr>
          <p:cNvSpPr>
            <a:spLocks noGrp="1"/>
          </p:cNvSpPr>
          <p:nvPr>
            <p:ph sz="quarter" idx="10" hasCustomPrompt="1"/>
          </p:nvPr>
        </p:nvSpPr>
        <p:spPr>
          <a:xfrm>
            <a:off x="838200" y="351676"/>
            <a:ext cx="10515600" cy="417513"/>
          </a:xfrm>
        </p:spPr>
        <p:txBody>
          <a:bodyPr anchor="b"/>
          <a:lstStyle>
            <a:lvl1pPr>
              <a:buNone/>
              <a:defRPr sz="1800" b="1">
                <a:solidFill>
                  <a:srgbClr val="006173"/>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5" name="Picture Placeholder 12">
            <a:extLst>
              <a:ext uri="{FF2B5EF4-FFF2-40B4-BE49-F238E27FC236}">
                <a16:creationId xmlns:a16="http://schemas.microsoft.com/office/drawing/2014/main" id="{8882870E-7754-BF91-6B61-AF951E7F810C}"/>
              </a:ext>
            </a:extLst>
          </p:cNvPr>
          <p:cNvSpPr>
            <a:spLocks noGrp="1"/>
          </p:cNvSpPr>
          <p:nvPr>
            <p:ph type="pic" sz="quarter" idx="13"/>
          </p:nvPr>
        </p:nvSpPr>
        <p:spPr>
          <a:xfrm>
            <a:off x="8116198" y="2474067"/>
            <a:ext cx="4201996" cy="4267808"/>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sp>
        <p:nvSpPr>
          <p:cNvPr id="3" name="Päivämäärän paikkamerkki 3">
            <a:extLst>
              <a:ext uri="{FF2B5EF4-FFF2-40B4-BE49-F238E27FC236}">
                <a16:creationId xmlns:a16="http://schemas.microsoft.com/office/drawing/2014/main" id="{77D26DBA-ACCC-B901-09A3-7A041BEF40A2}"/>
              </a:ext>
            </a:extLst>
          </p:cNvPr>
          <p:cNvSpPr>
            <a:spLocks noGrp="1"/>
          </p:cNvSpPr>
          <p:nvPr>
            <p:ph type="dt" sz="half" idx="15"/>
          </p:nvPr>
        </p:nvSpPr>
        <p:spPr>
          <a:xfrm>
            <a:off x="838200" y="6356350"/>
            <a:ext cx="2743200" cy="365125"/>
          </a:xfrm>
        </p:spPr>
        <p:txBody>
          <a:bodyPr/>
          <a:lstStyle/>
          <a:p>
            <a:endParaRPr lang="fi-FI" dirty="0"/>
          </a:p>
        </p:txBody>
      </p:sp>
      <p:sp>
        <p:nvSpPr>
          <p:cNvPr id="6" name="Alatunnisteen paikkamerkki 4">
            <a:extLst>
              <a:ext uri="{FF2B5EF4-FFF2-40B4-BE49-F238E27FC236}">
                <a16:creationId xmlns:a16="http://schemas.microsoft.com/office/drawing/2014/main" id="{45482F34-C09F-36AD-BD43-095A5A7B966B}"/>
              </a:ext>
            </a:extLst>
          </p:cNvPr>
          <p:cNvSpPr>
            <a:spLocks noGrp="1"/>
          </p:cNvSpPr>
          <p:nvPr>
            <p:ph type="ftr" sz="quarter" idx="16"/>
          </p:nvPr>
        </p:nvSpPr>
        <p:spPr>
          <a:xfrm>
            <a:off x="4038600" y="6356350"/>
            <a:ext cx="4114800" cy="365125"/>
          </a:xfrm>
        </p:spPr>
        <p:txBody>
          <a:bodyPr/>
          <a:lstStyle/>
          <a:p>
            <a:r>
              <a:rPr lang="fi-FI"/>
              <a:t>7</a:t>
            </a:r>
          </a:p>
        </p:txBody>
      </p:sp>
      <p:sp>
        <p:nvSpPr>
          <p:cNvPr id="2" name="Sisällön paikkamerkki 10">
            <a:extLst>
              <a:ext uri="{FF2B5EF4-FFF2-40B4-BE49-F238E27FC236}">
                <a16:creationId xmlns:a16="http://schemas.microsoft.com/office/drawing/2014/main" id="{FADB669A-AFD2-1645-7F4B-7F3166335967}"/>
              </a:ext>
            </a:extLst>
          </p:cNvPr>
          <p:cNvSpPr>
            <a:spLocks noGrp="1"/>
          </p:cNvSpPr>
          <p:nvPr>
            <p:ph sz="quarter" idx="17" hasCustomPrompt="1"/>
          </p:nvPr>
        </p:nvSpPr>
        <p:spPr>
          <a:xfrm>
            <a:off x="838200" y="2036618"/>
            <a:ext cx="5143722" cy="414034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21787907"/>
      </p:ext>
    </p:extLst>
  </p:cSld>
  <p:clrMapOvr>
    <a:masterClrMapping/>
  </p:clrMapOvr>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isältö kuvalla oikea 4">
    <p:bg>
      <p:bgPr>
        <a:solidFill>
          <a:srgbClr val="C2A6E3">
            <a:alpha val="90000"/>
          </a:srgbClr>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FAEAA93-8501-A261-CC75-9E6570EF00C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719299" y="2028112"/>
            <a:ext cx="6164494" cy="6180717"/>
          </a:xfrm>
          <a:prstGeom prst="rect">
            <a:avLst/>
          </a:prstGeom>
        </p:spPr>
      </p:pic>
      <p:sp>
        <p:nvSpPr>
          <p:cNvPr id="4" name="Title 3">
            <a:extLst>
              <a:ext uri="{FF2B5EF4-FFF2-40B4-BE49-F238E27FC236}">
                <a16:creationId xmlns:a16="http://schemas.microsoft.com/office/drawing/2014/main" id="{2C64349B-9113-9E60-C5C5-2CCFC1B72791}"/>
              </a:ext>
            </a:extLst>
          </p:cNvPr>
          <p:cNvSpPr>
            <a:spLocks noGrp="1"/>
          </p:cNvSpPr>
          <p:nvPr>
            <p:ph type="title"/>
          </p:nvPr>
        </p:nvSpPr>
        <p:spPr>
          <a:xfrm>
            <a:off x="838200" y="769189"/>
            <a:ext cx="10515600" cy="921499"/>
          </a:xfrm>
        </p:spPr>
        <p:txBody>
          <a:bodyPr anchor="t"/>
          <a:lstStyle>
            <a:lvl1pPr>
              <a:defRPr>
                <a:solidFill>
                  <a:srgbClr val="450099"/>
                </a:solidFill>
              </a:defRPr>
            </a:lvl1pPr>
          </a:lstStyle>
          <a:p>
            <a:r>
              <a:rPr lang="fi-FI"/>
              <a:t>Muokkaa ots. perustyyl. napsautt.</a:t>
            </a:r>
          </a:p>
        </p:txBody>
      </p:sp>
      <p:sp>
        <p:nvSpPr>
          <p:cNvPr id="12" name="Content Placeholder 11">
            <a:extLst>
              <a:ext uri="{FF2B5EF4-FFF2-40B4-BE49-F238E27FC236}">
                <a16:creationId xmlns:a16="http://schemas.microsoft.com/office/drawing/2014/main" id="{904BF437-682C-8403-7980-4B00516BA82C}"/>
              </a:ext>
            </a:extLst>
          </p:cNvPr>
          <p:cNvSpPr>
            <a:spLocks noGrp="1"/>
          </p:cNvSpPr>
          <p:nvPr>
            <p:ph sz="quarter" idx="10" hasCustomPrompt="1"/>
          </p:nvPr>
        </p:nvSpPr>
        <p:spPr>
          <a:xfrm>
            <a:off x="838200" y="351676"/>
            <a:ext cx="10515600" cy="417513"/>
          </a:xfrm>
        </p:spPr>
        <p:txBody>
          <a:bodyPr anchor="b"/>
          <a:lstStyle>
            <a:lvl1pPr>
              <a:buNone/>
              <a:defRPr sz="1800" b="1">
                <a:solidFill>
                  <a:srgbClr val="450099"/>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5" name="Picture Placeholder 12">
            <a:extLst>
              <a:ext uri="{FF2B5EF4-FFF2-40B4-BE49-F238E27FC236}">
                <a16:creationId xmlns:a16="http://schemas.microsoft.com/office/drawing/2014/main" id="{8882870E-7754-BF91-6B61-AF951E7F810C}"/>
              </a:ext>
            </a:extLst>
          </p:cNvPr>
          <p:cNvSpPr>
            <a:spLocks noGrp="1"/>
          </p:cNvSpPr>
          <p:nvPr>
            <p:ph type="pic" sz="quarter" idx="13"/>
          </p:nvPr>
        </p:nvSpPr>
        <p:spPr>
          <a:xfrm>
            <a:off x="7325542" y="2215886"/>
            <a:ext cx="5208409" cy="5289984"/>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sp>
        <p:nvSpPr>
          <p:cNvPr id="2" name="Päivämäärän paikkamerkki 3">
            <a:extLst>
              <a:ext uri="{FF2B5EF4-FFF2-40B4-BE49-F238E27FC236}">
                <a16:creationId xmlns:a16="http://schemas.microsoft.com/office/drawing/2014/main" id="{86E092A3-32F0-6D9B-8EF9-7E9062B40915}"/>
              </a:ext>
            </a:extLst>
          </p:cNvPr>
          <p:cNvSpPr>
            <a:spLocks noGrp="1"/>
          </p:cNvSpPr>
          <p:nvPr>
            <p:ph type="dt" sz="half" idx="15"/>
          </p:nvPr>
        </p:nvSpPr>
        <p:spPr>
          <a:xfrm>
            <a:off x="838200" y="6356350"/>
            <a:ext cx="2743200" cy="365125"/>
          </a:xfrm>
        </p:spPr>
        <p:txBody>
          <a:bodyPr/>
          <a:lstStyle/>
          <a:p>
            <a:endParaRPr lang="fi-FI" dirty="0"/>
          </a:p>
        </p:txBody>
      </p:sp>
      <p:sp>
        <p:nvSpPr>
          <p:cNvPr id="3" name="Alatunnisteen paikkamerkki 4">
            <a:extLst>
              <a:ext uri="{FF2B5EF4-FFF2-40B4-BE49-F238E27FC236}">
                <a16:creationId xmlns:a16="http://schemas.microsoft.com/office/drawing/2014/main" id="{816E13F6-F03E-3169-8A9B-A2D3A80DB8C4}"/>
              </a:ext>
            </a:extLst>
          </p:cNvPr>
          <p:cNvSpPr>
            <a:spLocks noGrp="1"/>
          </p:cNvSpPr>
          <p:nvPr>
            <p:ph type="ftr" sz="quarter" idx="16"/>
          </p:nvPr>
        </p:nvSpPr>
        <p:spPr>
          <a:xfrm>
            <a:off x="4038600" y="6356350"/>
            <a:ext cx="4114800" cy="365125"/>
          </a:xfrm>
        </p:spPr>
        <p:txBody>
          <a:bodyPr/>
          <a:lstStyle/>
          <a:p>
            <a:r>
              <a:rPr lang="fi-FI"/>
              <a:t>7</a:t>
            </a:r>
          </a:p>
        </p:txBody>
      </p:sp>
      <p:sp>
        <p:nvSpPr>
          <p:cNvPr id="6" name="Sisällön paikkamerkki 10">
            <a:extLst>
              <a:ext uri="{FF2B5EF4-FFF2-40B4-BE49-F238E27FC236}">
                <a16:creationId xmlns:a16="http://schemas.microsoft.com/office/drawing/2014/main" id="{F545D6E9-9E4D-9485-BF95-AEF71E8D88F4}"/>
              </a:ext>
            </a:extLst>
          </p:cNvPr>
          <p:cNvSpPr>
            <a:spLocks noGrp="1"/>
          </p:cNvSpPr>
          <p:nvPr>
            <p:ph sz="quarter" idx="17" hasCustomPrompt="1"/>
          </p:nvPr>
        </p:nvSpPr>
        <p:spPr>
          <a:xfrm>
            <a:off x="838200" y="2036618"/>
            <a:ext cx="5143722" cy="414034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773118781"/>
      </p:ext>
    </p:extLst>
  </p:cSld>
  <p:clrMapOvr>
    <a:masterClrMapping/>
  </p:clrMapOvr>
  <p:hf sldNum="0"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isältö kuvalla oikea 5">
    <p:bg>
      <p:bgPr>
        <a:solidFill>
          <a:schemeClr val="bg1"/>
        </a:solidFill>
        <a:effectLst/>
      </p:bgPr>
    </p:bg>
    <p:spTree>
      <p:nvGrpSpPr>
        <p:cNvPr id="1" name=""/>
        <p:cNvGrpSpPr/>
        <p:nvPr/>
      </p:nvGrpSpPr>
      <p:grpSpPr>
        <a:xfrm>
          <a:off x="0" y="0"/>
          <a:ext cx="0" cy="0"/>
          <a:chOff x="0" y="0"/>
          <a:chExt cx="0" cy="0"/>
        </a:xfrm>
      </p:grpSpPr>
      <p:pic>
        <p:nvPicPr>
          <p:cNvPr id="6" name="Graphic 6">
            <a:extLst>
              <a:ext uri="{FF2B5EF4-FFF2-40B4-BE49-F238E27FC236}">
                <a16:creationId xmlns:a16="http://schemas.microsoft.com/office/drawing/2014/main" id="{4F39E49D-30C4-5FE5-614F-2F5888D1B98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358031">
            <a:off x="6960189" y="1905209"/>
            <a:ext cx="6164494" cy="6180717"/>
          </a:xfrm>
          <a:prstGeom prst="rect">
            <a:avLst/>
          </a:prstGeom>
        </p:spPr>
      </p:pic>
      <p:pic>
        <p:nvPicPr>
          <p:cNvPr id="7" name="Graphic 6">
            <a:extLst>
              <a:ext uri="{FF2B5EF4-FFF2-40B4-BE49-F238E27FC236}">
                <a16:creationId xmlns:a16="http://schemas.microsoft.com/office/drawing/2014/main" id="{0FAEAA93-8501-A261-CC75-9E6570EF00C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719299" y="2028112"/>
            <a:ext cx="6164494" cy="6180717"/>
          </a:xfrm>
          <a:prstGeom prst="rect">
            <a:avLst/>
          </a:prstGeom>
        </p:spPr>
      </p:pic>
      <p:sp>
        <p:nvSpPr>
          <p:cNvPr id="4" name="Title 3">
            <a:extLst>
              <a:ext uri="{FF2B5EF4-FFF2-40B4-BE49-F238E27FC236}">
                <a16:creationId xmlns:a16="http://schemas.microsoft.com/office/drawing/2014/main" id="{2C64349B-9113-9E60-C5C5-2CCFC1B72791}"/>
              </a:ext>
            </a:extLst>
          </p:cNvPr>
          <p:cNvSpPr>
            <a:spLocks noGrp="1"/>
          </p:cNvSpPr>
          <p:nvPr>
            <p:ph type="title"/>
          </p:nvPr>
        </p:nvSpPr>
        <p:spPr>
          <a:xfrm>
            <a:off x="838200" y="769189"/>
            <a:ext cx="10515600" cy="921499"/>
          </a:xfrm>
        </p:spPr>
        <p:txBody>
          <a:bodyPr anchor="t"/>
          <a:lstStyle>
            <a:lvl1pPr>
              <a:defRPr>
                <a:solidFill>
                  <a:srgbClr val="152B96"/>
                </a:solidFill>
              </a:defRPr>
            </a:lvl1pPr>
          </a:lstStyle>
          <a:p>
            <a:r>
              <a:rPr lang="fi-FI"/>
              <a:t>Muokkaa ots. perustyyl. napsautt.</a:t>
            </a:r>
          </a:p>
        </p:txBody>
      </p:sp>
      <p:sp>
        <p:nvSpPr>
          <p:cNvPr id="12" name="Content Placeholder 11">
            <a:extLst>
              <a:ext uri="{FF2B5EF4-FFF2-40B4-BE49-F238E27FC236}">
                <a16:creationId xmlns:a16="http://schemas.microsoft.com/office/drawing/2014/main" id="{904BF437-682C-8403-7980-4B00516BA82C}"/>
              </a:ext>
            </a:extLst>
          </p:cNvPr>
          <p:cNvSpPr>
            <a:spLocks noGrp="1"/>
          </p:cNvSpPr>
          <p:nvPr>
            <p:ph sz="quarter" idx="10" hasCustomPrompt="1"/>
          </p:nvPr>
        </p:nvSpPr>
        <p:spPr>
          <a:xfrm>
            <a:off x="838200" y="351676"/>
            <a:ext cx="10515600" cy="417513"/>
          </a:xfrm>
        </p:spPr>
        <p:txBody>
          <a:bodyPr anchor="b"/>
          <a:lstStyle>
            <a:lvl1pPr>
              <a:buNone/>
              <a:defRPr sz="1800" b="1">
                <a:solidFill>
                  <a:srgbClr val="152B96"/>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i-FI"/>
              <a:t>Klikkaa vaihtaaksesi</a:t>
            </a:r>
          </a:p>
        </p:txBody>
      </p:sp>
      <p:sp>
        <p:nvSpPr>
          <p:cNvPr id="5" name="Picture Placeholder 12">
            <a:extLst>
              <a:ext uri="{FF2B5EF4-FFF2-40B4-BE49-F238E27FC236}">
                <a16:creationId xmlns:a16="http://schemas.microsoft.com/office/drawing/2014/main" id="{8882870E-7754-BF91-6B61-AF951E7F810C}"/>
              </a:ext>
            </a:extLst>
          </p:cNvPr>
          <p:cNvSpPr>
            <a:spLocks noGrp="1"/>
          </p:cNvSpPr>
          <p:nvPr>
            <p:ph type="pic" sz="quarter" idx="13"/>
          </p:nvPr>
        </p:nvSpPr>
        <p:spPr>
          <a:xfrm>
            <a:off x="7325542" y="2215886"/>
            <a:ext cx="5208409" cy="5289984"/>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4344070 w 7287942"/>
              <a:gd name="connsiteY4" fmla="*/ 8494328 h 8720568"/>
              <a:gd name="connsiteX5" fmla="*/ 798 w 7287942"/>
              <a:gd name="connsiteY5" fmla="*/ 6648109 h 8720568"/>
              <a:gd name="connsiteX6" fmla="*/ 18157 w 7287942"/>
              <a:gd name="connsiteY6" fmla="*/ 4343321 h 8720568"/>
              <a:gd name="connsiteX0" fmla="*/ 18157 w 7287942"/>
              <a:gd name="connsiteY0" fmla="*/ 4343321 h 8720568"/>
              <a:gd name="connsiteX1" fmla="*/ 4167900 w 7287942"/>
              <a:gd name="connsiteY1" fmla="*/ 166 h 8720568"/>
              <a:gd name="connsiteX2" fmla="*/ 7287942 w 7287942"/>
              <a:gd name="connsiteY2" fmla="*/ 4364355 h 8720568"/>
              <a:gd name="connsiteX3" fmla="*/ 6343657 w 7287942"/>
              <a:gd name="connsiteY3" fmla="*/ 8720568 h 8720568"/>
              <a:gd name="connsiteX4" fmla="*/ 798 w 7287942"/>
              <a:gd name="connsiteY4" fmla="*/ 6648109 h 8720568"/>
              <a:gd name="connsiteX5" fmla="*/ 18157 w 7287942"/>
              <a:gd name="connsiteY5" fmla="*/ 4343321 h 8720568"/>
              <a:gd name="connsiteX0" fmla="*/ 163 w 7269948"/>
              <a:gd name="connsiteY0" fmla="*/ 4343321 h 8720568"/>
              <a:gd name="connsiteX1" fmla="*/ 4149906 w 7269948"/>
              <a:gd name="connsiteY1" fmla="*/ 166 h 8720568"/>
              <a:gd name="connsiteX2" fmla="*/ 7269948 w 7269948"/>
              <a:gd name="connsiteY2" fmla="*/ 4364355 h 8720568"/>
              <a:gd name="connsiteX3" fmla="*/ 6325663 w 7269948"/>
              <a:gd name="connsiteY3" fmla="*/ 8720568 h 8720568"/>
              <a:gd name="connsiteX4" fmla="*/ 68334 w 7269948"/>
              <a:gd name="connsiteY4" fmla="*/ 5593266 h 8720568"/>
              <a:gd name="connsiteX5" fmla="*/ 163 w 7269948"/>
              <a:gd name="connsiteY5" fmla="*/ 4343321 h 8720568"/>
              <a:gd name="connsiteX0" fmla="*/ 163 w 7269948"/>
              <a:gd name="connsiteY0" fmla="*/ 4343321 h 8692060"/>
              <a:gd name="connsiteX1" fmla="*/ 4149906 w 7269948"/>
              <a:gd name="connsiteY1" fmla="*/ 166 h 8692060"/>
              <a:gd name="connsiteX2" fmla="*/ 7269948 w 7269948"/>
              <a:gd name="connsiteY2" fmla="*/ 4364355 h 8692060"/>
              <a:gd name="connsiteX3" fmla="*/ 5270820 w 7269948"/>
              <a:gd name="connsiteY3" fmla="*/ 8692060 h 8692060"/>
              <a:gd name="connsiteX4" fmla="*/ 68334 w 7269948"/>
              <a:gd name="connsiteY4" fmla="*/ 5593266 h 8692060"/>
              <a:gd name="connsiteX5" fmla="*/ 163 w 7269948"/>
              <a:gd name="connsiteY5" fmla="*/ 4343321 h 8692060"/>
              <a:gd name="connsiteX0" fmla="*/ 163 w 9237087"/>
              <a:gd name="connsiteY0" fmla="*/ 4369394 h 8718133"/>
              <a:gd name="connsiteX1" fmla="*/ 4149906 w 9237087"/>
              <a:gd name="connsiteY1" fmla="*/ 26239 h 8718133"/>
              <a:gd name="connsiteX2" fmla="*/ 9237087 w 9237087"/>
              <a:gd name="connsiteY2" fmla="*/ 0 h 8718133"/>
              <a:gd name="connsiteX3" fmla="*/ 5270820 w 9237087"/>
              <a:gd name="connsiteY3" fmla="*/ 8718133 h 8718133"/>
              <a:gd name="connsiteX4" fmla="*/ 68334 w 9237087"/>
              <a:gd name="connsiteY4" fmla="*/ 5619339 h 8718133"/>
              <a:gd name="connsiteX5" fmla="*/ 163 w 9237087"/>
              <a:gd name="connsiteY5" fmla="*/ 4369394 h 8718133"/>
              <a:gd name="connsiteX0" fmla="*/ 163 w 9237087"/>
              <a:gd name="connsiteY0" fmla="*/ 5883119 h 10231858"/>
              <a:gd name="connsiteX1" fmla="*/ 4149907 w 9237087"/>
              <a:gd name="connsiteY1" fmla="*/ 464 h 10231858"/>
              <a:gd name="connsiteX2" fmla="*/ 9237087 w 9237087"/>
              <a:gd name="connsiteY2" fmla="*/ 1513725 h 10231858"/>
              <a:gd name="connsiteX3" fmla="*/ 5270820 w 9237087"/>
              <a:gd name="connsiteY3" fmla="*/ 10231858 h 10231858"/>
              <a:gd name="connsiteX4" fmla="*/ 68334 w 9237087"/>
              <a:gd name="connsiteY4" fmla="*/ 7133064 h 10231858"/>
              <a:gd name="connsiteX5" fmla="*/ 163 w 9237087"/>
              <a:gd name="connsiteY5" fmla="*/ 5883119 h 10231858"/>
              <a:gd name="connsiteX0" fmla="*/ 74598 w 9168974"/>
              <a:gd name="connsiteY0" fmla="*/ 38717 h 10231858"/>
              <a:gd name="connsiteX1" fmla="*/ 4081794 w 9168974"/>
              <a:gd name="connsiteY1" fmla="*/ 464 h 10231858"/>
              <a:gd name="connsiteX2" fmla="*/ 9168974 w 9168974"/>
              <a:gd name="connsiteY2" fmla="*/ 1513725 h 10231858"/>
              <a:gd name="connsiteX3" fmla="*/ 5202707 w 9168974"/>
              <a:gd name="connsiteY3" fmla="*/ 10231858 h 10231858"/>
              <a:gd name="connsiteX4" fmla="*/ 221 w 9168974"/>
              <a:gd name="connsiteY4" fmla="*/ 7133064 h 10231858"/>
              <a:gd name="connsiteX5" fmla="*/ 74598 w 9168974"/>
              <a:gd name="connsiteY5" fmla="*/ 38717 h 10231858"/>
              <a:gd name="connsiteX0" fmla="*/ 870 w 9095246"/>
              <a:gd name="connsiteY0" fmla="*/ 38717 h 10231858"/>
              <a:gd name="connsiteX1" fmla="*/ 4008066 w 9095246"/>
              <a:gd name="connsiteY1" fmla="*/ 464 h 10231858"/>
              <a:gd name="connsiteX2" fmla="*/ 9095246 w 9095246"/>
              <a:gd name="connsiteY2" fmla="*/ 1513725 h 10231858"/>
              <a:gd name="connsiteX3" fmla="*/ 5128979 w 9095246"/>
              <a:gd name="connsiteY3" fmla="*/ 10231858 h 10231858"/>
              <a:gd name="connsiteX4" fmla="*/ 12021 w 9095246"/>
              <a:gd name="connsiteY4" fmla="*/ 7247100 h 10231858"/>
              <a:gd name="connsiteX5" fmla="*/ 870 w 9095246"/>
              <a:gd name="connsiteY5" fmla="*/ 38717 h 10231858"/>
              <a:gd name="connsiteX0" fmla="*/ 870 w 10919838"/>
              <a:gd name="connsiteY0" fmla="*/ 38385 h 10231526"/>
              <a:gd name="connsiteX1" fmla="*/ 4008066 w 10919838"/>
              <a:gd name="connsiteY1" fmla="*/ 132 h 10231526"/>
              <a:gd name="connsiteX2" fmla="*/ 10919838 w 10919838"/>
              <a:gd name="connsiteY2" fmla="*/ 5590220 h 10231526"/>
              <a:gd name="connsiteX3" fmla="*/ 5128979 w 10919838"/>
              <a:gd name="connsiteY3" fmla="*/ 10231526 h 10231526"/>
              <a:gd name="connsiteX4" fmla="*/ 12021 w 10919838"/>
              <a:gd name="connsiteY4" fmla="*/ 7246768 h 10231526"/>
              <a:gd name="connsiteX5" fmla="*/ 870 w 10919838"/>
              <a:gd name="connsiteY5" fmla="*/ 38385 h 10231526"/>
              <a:gd name="connsiteX0" fmla="*/ 870 w 10919838"/>
              <a:gd name="connsiteY0" fmla="*/ 0 h 10193141"/>
              <a:gd name="connsiteX1" fmla="*/ 6374335 w 10919838"/>
              <a:gd name="connsiteY1" fmla="*/ 189821 h 10193141"/>
              <a:gd name="connsiteX2" fmla="*/ 10919838 w 10919838"/>
              <a:gd name="connsiteY2" fmla="*/ 5551835 h 10193141"/>
              <a:gd name="connsiteX3" fmla="*/ 5128979 w 10919838"/>
              <a:gd name="connsiteY3" fmla="*/ 10193141 h 10193141"/>
              <a:gd name="connsiteX4" fmla="*/ 12021 w 10919838"/>
              <a:gd name="connsiteY4" fmla="*/ 7208383 h 10193141"/>
              <a:gd name="connsiteX5" fmla="*/ 870 w 10919838"/>
              <a:gd name="connsiteY5" fmla="*/ 0 h 10193141"/>
              <a:gd name="connsiteX0" fmla="*/ 1214762 w 10907831"/>
              <a:gd name="connsiteY0" fmla="*/ 5426640 h 10003456"/>
              <a:gd name="connsiteX1" fmla="*/ 6362328 w 10907831"/>
              <a:gd name="connsiteY1" fmla="*/ 136 h 10003456"/>
              <a:gd name="connsiteX2" fmla="*/ 10907831 w 10907831"/>
              <a:gd name="connsiteY2" fmla="*/ 5362150 h 10003456"/>
              <a:gd name="connsiteX3" fmla="*/ 5116972 w 10907831"/>
              <a:gd name="connsiteY3" fmla="*/ 10003456 h 10003456"/>
              <a:gd name="connsiteX4" fmla="*/ 14 w 10907831"/>
              <a:gd name="connsiteY4" fmla="*/ 7018698 h 10003456"/>
              <a:gd name="connsiteX5" fmla="*/ 1214762 w 10907831"/>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4 w 9693073"/>
              <a:gd name="connsiteY0" fmla="*/ 5426640 h 10003456"/>
              <a:gd name="connsiteX1" fmla="*/ 5147570 w 9693073"/>
              <a:gd name="connsiteY1" fmla="*/ 136 h 10003456"/>
              <a:gd name="connsiteX2" fmla="*/ 9693073 w 9693073"/>
              <a:gd name="connsiteY2" fmla="*/ 5362150 h 10003456"/>
              <a:gd name="connsiteX3" fmla="*/ 3902214 w 9693073"/>
              <a:gd name="connsiteY3" fmla="*/ 10003456 h 10003456"/>
              <a:gd name="connsiteX4" fmla="*/ 2748043 w 9693073"/>
              <a:gd name="connsiteY4" fmla="*/ 9156892 h 10003456"/>
              <a:gd name="connsiteX5" fmla="*/ 4 w 9693073"/>
              <a:gd name="connsiteY5" fmla="*/ 5426640 h 10003456"/>
              <a:gd name="connsiteX0" fmla="*/ 2074 w 9695143"/>
              <a:gd name="connsiteY0" fmla="*/ 5426640 h 10003456"/>
              <a:gd name="connsiteX1" fmla="*/ 5149640 w 9695143"/>
              <a:gd name="connsiteY1" fmla="*/ 136 h 10003456"/>
              <a:gd name="connsiteX2" fmla="*/ 9695143 w 9695143"/>
              <a:gd name="connsiteY2" fmla="*/ 5362150 h 10003456"/>
              <a:gd name="connsiteX3" fmla="*/ 3904284 w 9695143"/>
              <a:gd name="connsiteY3" fmla="*/ 10003456 h 10003456"/>
              <a:gd name="connsiteX4" fmla="*/ 2750113 w 9695143"/>
              <a:gd name="connsiteY4" fmla="*/ 9156892 h 10003456"/>
              <a:gd name="connsiteX5" fmla="*/ 2074 w 9695143"/>
              <a:gd name="connsiteY5" fmla="*/ 5426640 h 10003456"/>
              <a:gd name="connsiteX0" fmla="*/ 2074 w 9695143"/>
              <a:gd name="connsiteY0" fmla="*/ 5426640 h 9232782"/>
              <a:gd name="connsiteX1" fmla="*/ 5149640 w 9695143"/>
              <a:gd name="connsiteY1" fmla="*/ 136 h 9232782"/>
              <a:gd name="connsiteX2" fmla="*/ 9695143 w 9695143"/>
              <a:gd name="connsiteY2" fmla="*/ 5362150 h 9232782"/>
              <a:gd name="connsiteX3" fmla="*/ 3904284 w 9695143"/>
              <a:gd name="connsiteY3" fmla="*/ 9205197 h 9232782"/>
              <a:gd name="connsiteX4" fmla="*/ 2750113 w 9695143"/>
              <a:gd name="connsiteY4" fmla="*/ 9156892 h 9232782"/>
              <a:gd name="connsiteX5" fmla="*/ 2074 w 9695143"/>
              <a:gd name="connsiteY5" fmla="*/ 5426640 h 9232782"/>
              <a:gd name="connsiteX0" fmla="*/ 2074 w 9695143"/>
              <a:gd name="connsiteY0" fmla="*/ 5426640 h 9292561"/>
              <a:gd name="connsiteX1" fmla="*/ 5149640 w 9695143"/>
              <a:gd name="connsiteY1" fmla="*/ 136 h 9292561"/>
              <a:gd name="connsiteX2" fmla="*/ 9695143 w 9695143"/>
              <a:gd name="connsiteY2" fmla="*/ 5362150 h 9292561"/>
              <a:gd name="connsiteX3" fmla="*/ 3904284 w 9695143"/>
              <a:gd name="connsiteY3" fmla="*/ 9205197 h 9292561"/>
              <a:gd name="connsiteX4" fmla="*/ 2750113 w 9695143"/>
              <a:gd name="connsiteY4" fmla="*/ 9156892 h 9292561"/>
              <a:gd name="connsiteX5" fmla="*/ 2074 w 9695143"/>
              <a:gd name="connsiteY5" fmla="*/ 5426640 h 9292561"/>
              <a:gd name="connsiteX0" fmla="*/ 2074 w 9695143"/>
              <a:gd name="connsiteY0" fmla="*/ 5426640 h 9225565"/>
              <a:gd name="connsiteX1" fmla="*/ 5149640 w 9695143"/>
              <a:gd name="connsiteY1" fmla="*/ 136 h 9225565"/>
              <a:gd name="connsiteX2" fmla="*/ 9695143 w 9695143"/>
              <a:gd name="connsiteY2" fmla="*/ 5362150 h 9225565"/>
              <a:gd name="connsiteX3" fmla="*/ 3904284 w 9695143"/>
              <a:gd name="connsiteY3" fmla="*/ 9205197 h 9225565"/>
              <a:gd name="connsiteX4" fmla="*/ 2750113 w 9695143"/>
              <a:gd name="connsiteY4" fmla="*/ 9156892 h 9225565"/>
              <a:gd name="connsiteX5" fmla="*/ 2074 w 9695143"/>
              <a:gd name="connsiteY5" fmla="*/ 5426640 h 9225565"/>
              <a:gd name="connsiteX0" fmla="*/ 2074 w 9695143"/>
              <a:gd name="connsiteY0" fmla="*/ 5426640 h 9784087"/>
              <a:gd name="connsiteX1" fmla="*/ 5149640 w 9695143"/>
              <a:gd name="connsiteY1" fmla="*/ 136 h 9784087"/>
              <a:gd name="connsiteX2" fmla="*/ 9695143 w 9695143"/>
              <a:gd name="connsiteY2" fmla="*/ 5362150 h 9784087"/>
              <a:gd name="connsiteX3" fmla="*/ 3401979 w 9695143"/>
              <a:gd name="connsiteY3" fmla="*/ 9782848 h 9784087"/>
              <a:gd name="connsiteX4" fmla="*/ 2750113 w 9695143"/>
              <a:gd name="connsiteY4" fmla="*/ 9156892 h 9784087"/>
              <a:gd name="connsiteX5" fmla="*/ 2074 w 9695143"/>
              <a:gd name="connsiteY5" fmla="*/ 5426640 h 9784087"/>
              <a:gd name="connsiteX0" fmla="*/ 1693 w 9694762"/>
              <a:gd name="connsiteY0" fmla="*/ 5426640 h 9846602"/>
              <a:gd name="connsiteX1" fmla="*/ 5149259 w 9694762"/>
              <a:gd name="connsiteY1" fmla="*/ 136 h 9846602"/>
              <a:gd name="connsiteX2" fmla="*/ 9694762 w 9694762"/>
              <a:gd name="connsiteY2" fmla="*/ 5362150 h 9846602"/>
              <a:gd name="connsiteX3" fmla="*/ 3401598 w 9694762"/>
              <a:gd name="connsiteY3" fmla="*/ 9782848 h 9846602"/>
              <a:gd name="connsiteX4" fmla="*/ 3402731 w 9694762"/>
              <a:gd name="connsiteY4" fmla="*/ 9809891 h 9846602"/>
              <a:gd name="connsiteX5" fmla="*/ 1693 w 9694762"/>
              <a:gd name="connsiteY5" fmla="*/ 5426640 h 984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4762" h="9846602">
                <a:moveTo>
                  <a:pt x="1693" y="5426640"/>
                </a:moveTo>
                <a:lnTo>
                  <a:pt x="5149259" y="136"/>
                </a:lnTo>
                <a:cubicBezTo>
                  <a:pt x="5149137" y="-31207"/>
                  <a:pt x="9671437" y="5381769"/>
                  <a:pt x="9694762" y="5362150"/>
                </a:cubicBezTo>
                <a:cubicBezTo>
                  <a:pt x="7764476" y="6643166"/>
                  <a:pt x="5331884" y="8501832"/>
                  <a:pt x="3401598" y="9782848"/>
                </a:cubicBezTo>
                <a:cubicBezTo>
                  <a:pt x="3358985" y="9814263"/>
                  <a:pt x="3445344" y="9892516"/>
                  <a:pt x="3402731" y="9809891"/>
                </a:cubicBezTo>
                <a:cubicBezTo>
                  <a:pt x="3397930" y="9833083"/>
                  <a:pt x="-87742" y="5431582"/>
                  <a:pt x="1693" y="5426640"/>
                </a:cubicBezTo>
                <a:close/>
              </a:path>
            </a:pathLst>
          </a:custGeom>
        </p:spPr>
        <p:txBody>
          <a:bodyPr/>
          <a:lstStyle/>
          <a:p>
            <a:r>
              <a:rPr lang="fi-FI"/>
              <a:t>Lisää kuva napsauttamalla kuvaketta</a:t>
            </a:r>
            <a:endParaRPr lang="en-FI"/>
          </a:p>
        </p:txBody>
      </p:sp>
      <p:sp>
        <p:nvSpPr>
          <p:cNvPr id="2" name="Päivämäärän paikkamerkki 3">
            <a:extLst>
              <a:ext uri="{FF2B5EF4-FFF2-40B4-BE49-F238E27FC236}">
                <a16:creationId xmlns:a16="http://schemas.microsoft.com/office/drawing/2014/main" id="{0842F02D-0E25-59A0-A932-F36DEC072005}"/>
              </a:ext>
            </a:extLst>
          </p:cNvPr>
          <p:cNvSpPr>
            <a:spLocks noGrp="1"/>
          </p:cNvSpPr>
          <p:nvPr>
            <p:ph type="dt" sz="half" idx="15"/>
          </p:nvPr>
        </p:nvSpPr>
        <p:spPr>
          <a:xfrm>
            <a:off x="838200" y="6356350"/>
            <a:ext cx="2743200" cy="365125"/>
          </a:xfrm>
        </p:spPr>
        <p:txBody>
          <a:bodyPr/>
          <a:lstStyle/>
          <a:p>
            <a:endParaRPr lang="fi-FI" dirty="0"/>
          </a:p>
        </p:txBody>
      </p:sp>
      <p:sp>
        <p:nvSpPr>
          <p:cNvPr id="3" name="Alatunnisteen paikkamerkki 4">
            <a:extLst>
              <a:ext uri="{FF2B5EF4-FFF2-40B4-BE49-F238E27FC236}">
                <a16:creationId xmlns:a16="http://schemas.microsoft.com/office/drawing/2014/main" id="{37B461FC-EFB8-B6F3-B858-6AF95517A11E}"/>
              </a:ext>
            </a:extLst>
          </p:cNvPr>
          <p:cNvSpPr>
            <a:spLocks noGrp="1"/>
          </p:cNvSpPr>
          <p:nvPr>
            <p:ph type="ftr" sz="quarter" idx="16"/>
          </p:nvPr>
        </p:nvSpPr>
        <p:spPr>
          <a:xfrm>
            <a:off x="4038600" y="6356350"/>
            <a:ext cx="4114800" cy="365125"/>
          </a:xfrm>
        </p:spPr>
        <p:txBody>
          <a:bodyPr/>
          <a:lstStyle/>
          <a:p>
            <a:r>
              <a:rPr lang="fi-FI"/>
              <a:t>7</a:t>
            </a:r>
          </a:p>
        </p:txBody>
      </p:sp>
      <p:sp>
        <p:nvSpPr>
          <p:cNvPr id="8" name="Sisällön paikkamerkki 10">
            <a:extLst>
              <a:ext uri="{FF2B5EF4-FFF2-40B4-BE49-F238E27FC236}">
                <a16:creationId xmlns:a16="http://schemas.microsoft.com/office/drawing/2014/main" id="{18BD4CA3-29BD-6A6A-80D4-0EFC15CB5CCE}"/>
              </a:ext>
            </a:extLst>
          </p:cNvPr>
          <p:cNvSpPr>
            <a:spLocks noGrp="1"/>
          </p:cNvSpPr>
          <p:nvPr>
            <p:ph sz="quarter" idx="17" hasCustomPrompt="1"/>
          </p:nvPr>
        </p:nvSpPr>
        <p:spPr>
          <a:xfrm>
            <a:off x="838200" y="2036618"/>
            <a:ext cx="5143722" cy="4140345"/>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1746396709"/>
      </p:ext>
    </p:extLst>
  </p:cSld>
  <p:clrMapOvr>
    <a:masterClrMapping/>
  </p:clrMapOvr>
  <p:hf sldNum="0"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Esittelydia 1">
    <p:bg>
      <p:bgPr>
        <a:solidFill>
          <a:srgbClr val="FFCC99">
            <a:alpha val="90000"/>
          </a:srgbClr>
        </a:solidFill>
        <a:effectLst/>
      </p:bgPr>
    </p:bg>
    <p:spTree>
      <p:nvGrpSpPr>
        <p:cNvPr id="1" name=""/>
        <p:cNvGrpSpPr/>
        <p:nvPr/>
      </p:nvGrpSpPr>
      <p:grpSpPr>
        <a:xfrm>
          <a:off x="0" y="0"/>
          <a:ext cx="0" cy="0"/>
          <a:chOff x="0" y="0"/>
          <a:chExt cx="0" cy="0"/>
        </a:xfrm>
      </p:grpSpPr>
      <p:sp>
        <p:nvSpPr>
          <p:cNvPr id="6" name="Kuvan paikkamerkki 5">
            <a:extLst>
              <a:ext uri="{FF2B5EF4-FFF2-40B4-BE49-F238E27FC236}">
                <a16:creationId xmlns:a16="http://schemas.microsoft.com/office/drawing/2014/main" id="{914E55CF-A9B3-E245-30A9-D9EBF83CB8AA}"/>
              </a:ext>
            </a:extLst>
          </p:cNvPr>
          <p:cNvSpPr>
            <a:spLocks noGrp="1"/>
          </p:cNvSpPr>
          <p:nvPr>
            <p:ph type="pic" sz="quarter" idx="14" hasCustomPrompt="1"/>
          </p:nvPr>
        </p:nvSpPr>
        <p:spPr>
          <a:xfrm>
            <a:off x="472893" y="2423886"/>
            <a:ext cx="2006847" cy="2534190"/>
          </a:xfrm>
          <a:prstGeom prst="rect">
            <a:avLst/>
          </a:prstGeom>
        </p:spPr>
        <p:txBody>
          <a:bodyPr/>
          <a:lstStyle>
            <a:lvl1pPr marL="0" indent="0">
              <a:buFontTx/>
              <a:buNone/>
              <a:defRPr/>
            </a:lvl1pPr>
          </a:lstStyle>
          <a:p>
            <a:r>
              <a:rPr lang="fi-FI"/>
              <a:t>Kuva</a:t>
            </a:r>
          </a:p>
        </p:txBody>
      </p:sp>
      <p:sp>
        <p:nvSpPr>
          <p:cNvPr id="23" name="Tekstin paikkamerkki 22">
            <a:extLst>
              <a:ext uri="{FF2B5EF4-FFF2-40B4-BE49-F238E27FC236}">
                <a16:creationId xmlns:a16="http://schemas.microsoft.com/office/drawing/2014/main" id="{962A7167-A74B-0AF1-7572-B0F7B9472DCF}"/>
              </a:ext>
            </a:extLst>
          </p:cNvPr>
          <p:cNvSpPr>
            <a:spLocks noGrp="1"/>
          </p:cNvSpPr>
          <p:nvPr>
            <p:ph type="body" sz="quarter" idx="22"/>
          </p:nvPr>
        </p:nvSpPr>
        <p:spPr>
          <a:xfrm>
            <a:off x="472892" y="5187108"/>
            <a:ext cx="2006847" cy="424338"/>
          </a:xfrm>
        </p:spPr>
        <p:txBody>
          <a:bodyPr>
            <a:noAutofit/>
          </a:bodyPr>
          <a:lstStyle>
            <a:lvl1pPr marL="0" indent="0" algn="ctr">
              <a:spcBef>
                <a:spcPts val="0"/>
              </a:spcBef>
              <a:buFontTx/>
              <a:buNone/>
              <a:defRPr sz="1600" b="1" i="0">
                <a:solidFill>
                  <a:srgbClr val="450099"/>
                </a:solidFill>
                <a:latin typeface="+mj-lt"/>
                <a:cs typeface="Arial Black" panose="020B0604020202020204" pitchFamily="34" charset="0"/>
              </a:defRPr>
            </a:lvl1pPr>
          </a:lstStyle>
          <a:p>
            <a:pPr lvl="0"/>
            <a:r>
              <a:rPr lang="fi-FI"/>
              <a:t>Muokkaa tekstin perustyylejä napsauttamalla</a:t>
            </a:r>
          </a:p>
        </p:txBody>
      </p:sp>
      <p:sp>
        <p:nvSpPr>
          <p:cNvPr id="35" name="Tekstin paikkamerkki 22">
            <a:extLst>
              <a:ext uri="{FF2B5EF4-FFF2-40B4-BE49-F238E27FC236}">
                <a16:creationId xmlns:a16="http://schemas.microsoft.com/office/drawing/2014/main" id="{5E3C4C6F-1D2C-D3AD-9B87-7D25578FED13}"/>
              </a:ext>
            </a:extLst>
          </p:cNvPr>
          <p:cNvSpPr>
            <a:spLocks noGrp="1"/>
          </p:cNvSpPr>
          <p:nvPr>
            <p:ph type="body" sz="quarter" idx="34" hasCustomPrompt="1"/>
          </p:nvPr>
        </p:nvSpPr>
        <p:spPr>
          <a:xfrm>
            <a:off x="472891" y="5783385"/>
            <a:ext cx="2017222" cy="709483"/>
          </a:xfrm>
        </p:spPr>
        <p:txBody>
          <a:bodyPr>
            <a:normAutofit/>
          </a:bodyPr>
          <a:lstStyle>
            <a:lvl1pPr marL="0" indent="0" algn="ctr">
              <a:spcBef>
                <a:spcPts val="0"/>
              </a:spcBef>
              <a:buFontTx/>
              <a:buNone/>
              <a:defRPr sz="1200" b="0">
                <a:latin typeface="+mn-lt"/>
              </a:defRPr>
            </a:lvl1pPr>
          </a:lstStyle>
          <a:p>
            <a:pPr lvl="0"/>
            <a:r>
              <a:rPr lang="fi-FI"/>
              <a:t>Titteli ja työn ydinalueet</a:t>
            </a:r>
          </a:p>
          <a:p>
            <a:pPr lvl="0"/>
            <a:endParaRPr lang="fi-FI"/>
          </a:p>
        </p:txBody>
      </p:sp>
      <p:sp>
        <p:nvSpPr>
          <p:cNvPr id="14" name="Kuvan paikkamerkki 5">
            <a:extLst>
              <a:ext uri="{FF2B5EF4-FFF2-40B4-BE49-F238E27FC236}">
                <a16:creationId xmlns:a16="http://schemas.microsoft.com/office/drawing/2014/main" id="{53D03760-2051-FB82-6276-EA9FEF73EB8C}"/>
              </a:ext>
            </a:extLst>
          </p:cNvPr>
          <p:cNvSpPr>
            <a:spLocks noGrp="1"/>
          </p:cNvSpPr>
          <p:nvPr>
            <p:ph type="pic" sz="quarter" idx="35" hasCustomPrompt="1"/>
          </p:nvPr>
        </p:nvSpPr>
        <p:spPr>
          <a:xfrm>
            <a:off x="2787922" y="2423886"/>
            <a:ext cx="2006847" cy="2534190"/>
          </a:xfrm>
          <a:prstGeom prst="rect">
            <a:avLst/>
          </a:prstGeom>
        </p:spPr>
        <p:txBody>
          <a:bodyPr/>
          <a:lstStyle>
            <a:lvl1pPr marL="0" indent="0">
              <a:buFontTx/>
              <a:buNone/>
              <a:defRPr/>
            </a:lvl1pPr>
          </a:lstStyle>
          <a:p>
            <a:r>
              <a:rPr lang="fi-FI"/>
              <a:t>Kuva</a:t>
            </a:r>
          </a:p>
        </p:txBody>
      </p:sp>
      <p:sp>
        <p:nvSpPr>
          <p:cNvPr id="16" name="Tekstin paikkamerkki 22">
            <a:extLst>
              <a:ext uri="{FF2B5EF4-FFF2-40B4-BE49-F238E27FC236}">
                <a16:creationId xmlns:a16="http://schemas.microsoft.com/office/drawing/2014/main" id="{4F6AE2ED-D127-F38D-B404-EFFAAAFAB6CB}"/>
              </a:ext>
            </a:extLst>
          </p:cNvPr>
          <p:cNvSpPr>
            <a:spLocks noGrp="1"/>
          </p:cNvSpPr>
          <p:nvPr>
            <p:ph type="body" sz="quarter" idx="37" hasCustomPrompt="1"/>
          </p:nvPr>
        </p:nvSpPr>
        <p:spPr>
          <a:xfrm>
            <a:off x="2787921" y="5783385"/>
            <a:ext cx="2006846" cy="709483"/>
          </a:xfrm>
        </p:spPr>
        <p:txBody>
          <a:bodyPr>
            <a:normAutofit/>
          </a:bodyPr>
          <a:lstStyle>
            <a:lvl1pPr marL="0" indent="0" algn="ctr">
              <a:spcBef>
                <a:spcPts val="0"/>
              </a:spcBef>
              <a:buFontTx/>
              <a:buNone/>
              <a:defRPr sz="1200" b="0">
                <a:latin typeface="+mn-lt"/>
              </a:defRPr>
            </a:lvl1pPr>
          </a:lstStyle>
          <a:p>
            <a:pPr lvl="0"/>
            <a:r>
              <a:rPr lang="fi-FI"/>
              <a:t>Titteli ja työn ydinalueet</a:t>
            </a:r>
          </a:p>
          <a:p>
            <a:pPr lvl="0"/>
            <a:endParaRPr lang="fi-FI"/>
          </a:p>
        </p:txBody>
      </p:sp>
      <p:sp>
        <p:nvSpPr>
          <p:cNvPr id="17" name="Kuvan paikkamerkki 5">
            <a:extLst>
              <a:ext uri="{FF2B5EF4-FFF2-40B4-BE49-F238E27FC236}">
                <a16:creationId xmlns:a16="http://schemas.microsoft.com/office/drawing/2014/main" id="{9DA43B78-67AF-0201-B624-B8EC050076F6}"/>
              </a:ext>
            </a:extLst>
          </p:cNvPr>
          <p:cNvSpPr>
            <a:spLocks noGrp="1"/>
          </p:cNvSpPr>
          <p:nvPr>
            <p:ph type="pic" sz="quarter" idx="38" hasCustomPrompt="1"/>
          </p:nvPr>
        </p:nvSpPr>
        <p:spPr>
          <a:xfrm>
            <a:off x="5092576" y="2423886"/>
            <a:ext cx="2006847" cy="2534190"/>
          </a:xfrm>
          <a:prstGeom prst="rect">
            <a:avLst/>
          </a:prstGeom>
        </p:spPr>
        <p:txBody>
          <a:bodyPr/>
          <a:lstStyle>
            <a:lvl1pPr marL="0" indent="0">
              <a:buFontTx/>
              <a:buNone/>
              <a:defRPr/>
            </a:lvl1pPr>
          </a:lstStyle>
          <a:p>
            <a:r>
              <a:rPr lang="fi-FI"/>
              <a:t>Kuva</a:t>
            </a:r>
          </a:p>
        </p:txBody>
      </p:sp>
      <p:sp>
        <p:nvSpPr>
          <p:cNvPr id="20" name="Kuvan paikkamerkki 5">
            <a:extLst>
              <a:ext uri="{FF2B5EF4-FFF2-40B4-BE49-F238E27FC236}">
                <a16:creationId xmlns:a16="http://schemas.microsoft.com/office/drawing/2014/main" id="{9F04DC7D-358B-4133-AF8E-76283B242E9A}"/>
              </a:ext>
            </a:extLst>
          </p:cNvPr>
          <p:cNvSpPr>
            <a:spLocks noGrp="1"/>
          </p:cNvSpPr>
          <p:nvPr>
            <p:ph type="pic" sz="quarter" idx="41" hasCustomPrompt="1"/>
          </p:nvPr>
        </p:nvSpPr>
        <p:spPr>
          <a:xfrm>
            <a:off x="7397228" y="2423886"/>
            <a:ext cx="2006847" cy="2534190"/>
          </a:xfrm>
          <a:prstGeom prst="rect">
            <a:avLst/>
          </a:prstGeom>
        </p:spPr>
        <p:txBody>
          <a:bodyPr/>
          <a:lstStyle>
            <a:lvl1pPr marL="0" indent="0">
              <a:buFontTx/>
              <a:buNone/>
              <a:defRPr/>
            </a:lvl1pPr>
          </a:lstStyle>
          <a:p>
            <a:r>
              <a:rPr lang="fi-FI"/>
              <a:t>Kuva</a:t>
            </a:r>
          </a:p>
        </p:txBody>
      </p:sp>
      <p:sp>
        <p:nvSpPr>
          <p:cNvPr id="25" name="Kuvan paikkamerkki 5">
            <a:extLst>
              <a:ext uri="{FF2B5EF4-FFF2-40B4-BE49-F238E27FC236}">
                <a16:creationId xmlns:a16="http://schemas.microsoft.com/office/drawing/2014/main" id="{BEDB4FFC-B2AE-A082-2D9B-E43C8EA2B381}"/>
              </a:ext>
            </a:extLst>
          </p:cNvPr>
          <p:cNvSpPr>
            <a:spLocks noGrp="1"/>
          </p:cNvSpPr>
          <p:nvPr>
            <p:ph type="pic" sz="quarter" idx="44" hasCustomPrompt="1"/>
          </p:nvPr>
        </p:nvSpPr>
        <p:spPr>
          <a:xfrm>
            <a:off x="9701878" y="2423886"/>
            <a:ext cx="2006847" cy="2534190"/>
          </a:xfrm>
          <a:prstGeom prst="rect">
            <a:avLst/>
          </a:prstGeom>
        </p:spPr>
        <p:txBody>
          <a:bodyPr/>
          <a:lstStyle>
            <a:lvl1pPr marL="0" indent="0">
              <a:buFontTx/>
              <a:buNone/>
              <a:defRPr/>
            </a:lvl1pPr>
          </a:lstStyle>
          <a:p>
            <a:r>
              <a:rPr lang="fi-FI"/>
              <a:t>Kuva</a:t>
            </a:r>
          </a:p>
        </p:txBody>
      </p:sp>
      <p:sp>
        <p:nvSpPr>
          <p:cNvPr id="4" name="Title 1">
            <a:extLst>
              <a:ext uri="{FF2B5EF4-FFF2-40B4-BE49-F238E27FC236}">
                <a16:creationId xmlns:a16="http://schemas.microsoft.com/office/drawing/2014/main" id="{59D5989E-D793-D917-2DE9-3951544B5A30}"/>
              </a:ext>
            </a:extLst>
          </p:cNvPr>
          <p:cNvSpPr>
            <a:spLocks noGrp="1"/>
          </p:cNvSpPr>
          <p:nvPr>
            <p:ph type="title"/>
          </p:nvPr>
        </p:nvSpPr>
        <p:spPr>
          <a:xfrm>
            <a:off x="838200" y="681037"/>
            <a:ext cx="10515600" cy="1009651"/>
          </a:xfrm>
        </p:spPr>
        <p:txBody>
          <a:bodyPr>
            <a:noAutofit/>
          </a:bodyPr>
          <a:lstStyle>
            <a:lvl1pPr>
              <a:lnSpc>
                <a:spcPct val="100000"/>
              </a:lnSpc>
              <a:defRPr b="1" i="0">
                <a:solidFill>
                  <a:srgbClr val="450099"/>
                </a:solidFill>
                <a:latin typeface="+mj-lt"/>
                <a:cs typeface="Poppins" pitchFamily="2" charset="77"/>
              </a:defRPr>
            </a:lvl1pPr>
          </a:lstStyle>
          <a:p>
            <a:r>
              <a:rPr lang="fi-FI"/>
              <a:t>Muokkaa ots. perustyyl. napsautt.</a:t>
            </a:r>
          </a:p>
        </p:txBody>
      </p:sp>
      <p:sp>
        <p:nvSpPr>
          <p:cNvPr id="8" name="Tekstin paikkamerkki 22">
            <a:extLst>
              <a:ext uri="{FF2B5EF4-FFF2-40B4-BE49-F238E27FC236}">
                <a16:creationId xmlns:a16="http://schemas.microsoft.com/office/drawing/2014/main" id="{4C3A173F-9316-FAF2-8401-ED663DE10107}"/>
              </a:ext>
            </a:extLst>
          </p:cNvPr>
          <p:cNvSpPr>
            <a:spLocks noGrp="1"/>
          </p:cNvSpPr>
          <p:nvPr>
            <p:ph type="body" sz="quarter" idx="47"/>
          </p:nvPr>
        </p:nvSpPr>
        <p:spPr>
          <a:xfrm>
            <a:off x="2777542" y="5187108"/>
            <a:ext cx="2017225" cy="424338"/>
          </a:xfrm>
        </p:spPr>
        <p:txBody>
          <a:bodyPr>
            <a:noAutofit/>
          </a:bodyPr>
          <a:lstStyle>
            <a:lvl1pPr marL="0" indent="0" algn="ctr">
              <a:spcBef>
                <a:spcPts val="0"/>
              </a:spcBef>
              <a:buFontTx/>
              <a:buNone/>
              <a:defRPr sz="1600" b="1" i="0">
                <a:solidFill>
                  <a:srgbClr val="450099"/>
                </a:solidFill>
                <a:latin typeface="+mj-lt"/>
                <a:cs typeface="Arial Black" panose="020B0604020202020204" pitchFamily="34" charset="0"/>
              </a:defRPr>
            </a:lvl1pPr>
          </a:lstStyle>
          <a:p>
            <a:pPr lvl="0"/>
            <a:r>
              <a:rPr lang="fi-FI"/>
              <a:t>Muokkaa tekstin perustyylejä napsauttamalla</a:t>
            </a:r>
          </a:p>
        </p:txBody>
      </p:sp>
      <p:sp>
        <p:nvSpPr>
          <p:cNvPr id="9" name="Tekstin paikkamerkki 22">
            <a:extLst>
              <a:ext uri="{FF2B5EF4-FFF2-40B4-BE49-F238E27FC236}">
                <a16:creationId xmlns:a16="http://schemas.microsoft.com/office/drawing/2014/main" id="{255B69FC-6D7E-7310-9DF0-84C782F5B220}"/>
              </a:ext>
            </a:extLst>
          </p:cNvPr>
          <p:cNvSpPr>
            <a:spLocks noGrp="1"/>
          </p:cNvSpPr>
          <p:nvPr>
            <p:ph type="body" sz="quarter" idx="48" hasCustomPrompt="1"/>
          </p:nvPr>
        </p:nvSpPr>
        <p:spPr>
          <a:xfrm>
            <a:off x="5102949" y="5804110"/>
            <a:ext cx="2017222" cy="709483"/>
          </a:xfrm>
        </p:spPr>
        <p:txBody>
          <a:bodyPr>
            <a:normAutofit/>
          </a:bodyPr>
          <a:lstStyle>
            <a:lvl1pPr marL="0" indent="0" algn="ctr">
              <a:spcBef>
                <a:spcPts val="0"/>
              </a:spcBef>
              <a:buFontTx/>
              <a:buNone/>
              <a:defRPr sz="1200" b="0">
                <a:latin typeface="+mn-lt"/>
              </a:defRPr>
            </a:lvl1pPr>
          </a:lstStyle>
          <a:p>
            <a:pPr lvl="0"/>
            <a:r>
              <a:rPr lang="fi-FI"/>
              <a:t>Titteli ja työn ydinalueet</a:t>
            </a:r>
          </a:p>
          <a:p>
            <a:pPr lvl="0"/>
            <a:endParaRPr lang="fi-FI"/>
          </a:p>
        </p:txBody>
      </p:sp>
      <p:sp>
        <p:nvSpPr>
          <p:cNvPr id="10" name="Tekstin paikkamerkki 22">
            <a:extLst>
              <a:ext uri="{FF2B5EF4-FFF2-40B4-BE49-F238E27FC236}">
                <a16:creationId xmlns:a16="http://schemas.microsoft.com/office/drawing/2014/main" id="{77F9F90B-C1F3-DC23-3A68-FB8D3CAFA26E}"/>
              </a:ext>
            </a:extLst>
          </p:cNvPr>
          <p:cNvSpPr>
            <a:spLocks noGrp="1"/>
          </p:cNvSpPr>
          <p:nvPr>
            <p:ph type="body" sz="quarter" idx="49"/>
          </p:nvPr>
        </p:nvSpPr>
        <p:spPr>
          <a:xfrm>
            <a:off x="5092570" y="5207833"/>
            <a:ext cx="2017225" cy="424338"/>
          </a:xfrm>
        </p:spPr>
        <p:txBody>
          <a:bodyPr>
            <a:noAutofit/>
          </a:bodyPr>
          <a:lstStyle>
            <a:lvl1pPr marL="0" indent="0" algn="ctr">
              <a:spcBef>
                <a:spcPts val="0"/>
              </a:spcBef>
              <a:buFontTx/>
              <a:buNone/>
              <a:defRPr sz="1600" b="1" i="0">
                <a:solidFill>
                  <a:srgbClr val="450099"/>
                </a:solidFill>
                <a:latin typeface="+mj-lt"/>
                <a:cs typeface="Arial Black" panose="020B0604020202020204" pitchFamily="34" charset="0"/>
              </a:defRPr>
            </a:lvl1pPr>
          </a:lstStyle>
          <a:p>
            <a:pPr lvl="0"/>
            <a:r>
              <a:rPr lang="fi-FI"/>
              <a:t>Muokkaa tekstin perustyylejä napsauttamalla</a:t>
            </a:r>
          </a:p>
        </p:txBody>
      </p:sp>
      <p:sp>
        <p:nvSpPr>
          <p:cNvPr id="11" name="Tekstin paikkamerkki 22">
            <a:extLst>
              <a:ext uri="{FF2B5EF4-FFF2-40B4-BE49-F238E27FC236}">
                <a16:creationId xmlns:a16="http://schemas.microsoft.com/office/drawing/2014/main" id="{7119DF3F-642B-3C22-907D-85DB5A4B3E12}"/>
              </a:ext>
            </a:extLst>
          </p:cNvPr>
          <p:cNvSpPr>
            <a:spLocks noGrp="1"/>
          </p:cNvSpPr>
          <p:nvPr>
            <p:ph type="body" sz="quarter" idx="50" hasCustomPrompt="1"/>
          </p:nvPr>
        </p:nvSpPr>
        <p:spPr>
          <a:xfrm>
            <a:off x="7407612" y="5804110"/>
            <a:ext cx="2017224" cy="709483"/>
          </a:xfrm>
        </p:spPr>
        <p:txBody>
          <a:bodyPr>
            <a:normAutofit/>
          </a:bodyPr>
          <a:lstStyle>
            <a:lvl1pPr marL="0" indent="0" algn="ctr">
              <a:spcBef>
                <a:spcPts val="0"/>
              </a:spcBef>
              <a:buFontTx/>
              <a:buNone/>
              <a:defRPr sz="1200" b="0">
                <a:latin typeface="+mn-lt"/>
              </a:defRPr>
            </a:lvl1pPr>
          </a:lstStyle>
          <a:p>
            <a:pPr lvl="0"/>
            <a:r>
              <a:rPr lang="fi-FI"/>
              <a:t>Titteli ja työn ydinalueet</a:t>
            </a:r>
          </a:p>
          <a:p>
            <a:pPr lvl="0"/>
            <a:endParaRPr lang="fi-FI"/>
          </a:p>
        </p:txBody>
      </p:sp>
      <p:sp>
        <p:nvSpPr>
          <p:cNvPr id="12" name="Tekstin paikkamerkki 22">
            <a:extLst>
              <a:ext uri="{FF2B5EF4-FFF2-40B4-BE49-F238E27FC236}">
                <a16:creationId xmlns:a16="http://schemas.microsoft.com/office/drawing/2014/main" id="{34A50AFC-165C-02CD-70C3-C4AA43ED2299}"/>
              </a:ext>
            </a:extLst>
          </p:cNvPr>
          <p:cNvSpPr>
            <a:spLocks noGrp="1"/>
          </p:cNvSpPr>
          <p:nvPr>
            <p:ph type="body" sz="quarter" idx="51"/>
          </p:nvPr>
        </p:nvSpPr>
        <p:spPr>
          <a:xfrm>
            <a:off x="7397233" y="5207833"/>
            <a:ext cx="2017225" cy="424338"/>
          </a:xfrm>
        </p:spPr>
        <p:txBody>
          <a:bodyPr>
            <a:noAutofit/>
          </a:bodyPr>
          <a:lstStyle>
            <a:lvl1pPr marL="0" indent="0" algn="ctr">
              <a:spcBef>
                <a:spcPts val="0"/>
              </a:spcBef>
              <a:buFontTx/>
              <a:buNone/>
              <a:defRPr sz="1600" b="1" i="0">
                <a:solidFill>
                  <a:srgbClr val="450099"/>
                </a:solidFill>
                <a:latin typeface="+mj-lt"/>
                <a:cs typeface="Arial Black" panose="020B0604020202020204" pitchFamily="34" charset="0"/>
              </a:defRPr>
            </a:lvl1pPr>
          </a:lstStyle>
          <a:p>
            <a:pPr lvl="0"/>
            <a:r>
              <a:rPr lang="fi-FI"/>
              <a:t>Muokkaa tekstin perustyylejä napsauttamalla</a:t>
            </a:r>
          </a:p>
        </p:txBody>
      </p:sp>
      <p:sp>
        <p:nvSpPr>
          <p:cNvPr id="13" name="Tekstin paikkamerkki 22">
            <a:extLst>
              <a:ext uri="{FF2B5EF4-FFF2-40B4-BE49-F238E27FC236}">
                <a16:creationId xmlns:a16="http://schemas.microsoft.com/office/drawing/2014/main" id="{0ED1FA53-80CD-184A-E917-1B86A838B48E}"/>
              </a:ext>
            </a:extLst>
          </p:cNvPr>
          <p:cNvSpPr>
            <a:spLocks noGrp="1"/>
          </p:cNvSpPr>
          <p:nvPr>
            <p:ph type="body" sz="quarter" idx="52" hasCustomPrompt="1"/>
          </p:nvPr>
        </p:nvSpPr>
        <p:spPr>
          <a:xfrm>
            <a:off x="9712261" y="5804110"/>
            <a:ext cx="2017225" cy="709483"/>
          </a:xfrm>
        </p:spPr>
        <p:txBody>
          <a:bodyPr>
            <a:normAutofit/>
          </a:bodyPr>
          <a:lstStyle>
            <a:lvl1pPr marL="0" indent="0" algn="ctr">
              <a:spcBef>
                <a:spcPts val="0"/>
              </a:spcBef>
              <a:buFontTx/>
              <a:buNone/>
              <a:defRPr sz="1200" b="0">
                <a:latin typeface="+mn-lt"/>
              </a:defRPr>
            </a:lvl1pPr>
          </a:lstStyle>
          <a:p>
            <a:pPr lvl="0"/>
            <a:r>
              <a:rPr lang="fi-FI"/>
              <a:t>Titteli ja työn ydinalueet</a:t>
            </a:r>
          </a:p>
          <a:p>
            <a:pPr lvl="0"/>
            <a:endParaRPr lang="fi-FI"/>
          </a:p>
        </p:txBody>
      </p:sp>
      <p:sp>
        <p:nvSpPr>
          <p:cNvPr id="21" name="Tekstin paikkamerkki 22">
            <a:extLst>
              <a:ext uri="{FF2B5EF4-FFF2-40B4-BE49-F238E27FC236}">
                <a16:creationId xmlns:a16="http://schemas.microsoft.com/office/drawing/2014/main" id="{F308417F-5BD2-B298-4F84-A7843039E58E}"/>
              </a:ext>
            </a:extLst>
          </p:cNvPr>
          <p:cNvSpPr>
            <a:spLocks noGrp="1"/>
          </p:cNvSpPr>
          <p:nvPr>
            <p:ph type="body" sz="quarter" idx="53"/>
          </p:nvPr>
        </p:nvSpPr>
        <p:spPr>
          <a:xfrm>
            <a:off x="9701883" y="5207833"/>
            <a:ext cx="2017225" cy="424338"/>
          </a:xfrm>
        </p:spPr>
        <p:txBody>
          <a:bodyPr>
            <a:noAutofit/>
          </a:bodyPr>
          <a:lstStyle>
            <a:lvl1pPr marL="0" indent="0" algn="ctr">
              <a:spcBef>
                <a:spcPts val="0"/>
              </a:spcBef>
              <a:buFontTx/>
              <a:buNone/>
              <a:defRPr sz="1600" b="1" i="0">
                <a:solidFill>
                  <a:srgbClr val="450099"/>
                </a:solidFill>
                <a:latin typeface="+mj-lt"/>
                <a:cs typeface="Arial Black" panose="020B0604020202020204" pitchFamily="34" charset="0"/>
              </a:defRPr>
            </a:lvl1pPr>
          </a:lstStyle>
          <a:p>
            <a:pPr lvl="0"/>
            <a:r>
              <a:rPr lang="fi-FI"/>
              <a:t>Muokkaa tekstin perustyylejä napsauttamalla</a:t>
            </a:r>
          </a:p>
        </p:txBody>
      </p:sp>
    </p:spTree>
    <p:extLst>
      <p:ext uri="{BB962C8B-B14F-4D97-AF65-F5344CB8AC3E}">
        <p14:creationId xmlns:p14="http://schemas.microsoft.com/office/powerpoint/2010/main" val="92281044"/>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Otsikkodia 7">
    <p:bg>
      <p:bgPr>
        <a:solidFill>
          <a:srgbClr val="962D0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D508E-DA43-B489-5958-CF698CF85387}"/>
              </a:ext>
            </a:extLst>
          </p:cNvPr>
          <p:cNvSpPr>
            <a:spLocks noGrp="1"/>
          </p:cNvSpPr>
          <p:nvPr>
            <p:ph type="title"/>
          </p:nvPr>
        </p:nvSpPr>
        <p:spPr>
          <a:xfrm>
            <a:off x="914400" y="635001"/>
            <a:ext cx="6870357" cy="5606773"/>
          </a:xfrm>
        </p:spPr>
        <p:txBody>
          <a:bodyPr>
            <a:noAutofit/>
          </a:bodyPr>
          <a:lstStyle>
            <a:lvl1pPr>
              <a:defRPr sz="6000" b="1" i="0">
                <a:solidFill>
                  <a:srgbClr val="D4EB91"/>
                </a:solidFill>
                <a:latin typeface="Poppins" pitchFamily="2" charset="77"/>
                <a:cs typeface="Poppins" pitchFamily="2" charset="77"/>
              </a:defRPr>
            </a:lvl1pPr>
          </a:lstStyle>
          <a:p>
            <a:r>
              <a:rPr lang="fi-FI"/>
              <a:t>Muokkaa ots. perustyyl. napsautt.</a:t>
            </a:r>
            <a:endParaRPr lang="en-FI"/>
          </a:p>
        </p:txBody>
      </p:sp>
      <p:pic>
        <p:nvPicPr>
          <p:cNvPr id="4" name="Kuva 3">
            <a:extLst>
              <a:ext uri="{FF2B5EF4-FFF2-40B4-BE49-F238E27FC236}">
                <a16:creationId xmlns:a16="http://schemas.microsoft.com/office/drawing/2014/main" id="{16BD6197-FDAC-FB34-697E-59CDA623CD4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9395700">
            <a:off x="8872749" y="4184010"/>
            <a:ext cx="3357451" cy="3357451"/>
          </a:xfrm>
          <a:prstGeom prst="rect">
            <a:avLst/>
          </a:prstGeom>
        </p:spPr>
      </p:pic>
      <p:sp>
        <p:nvSpPr>
          <p:cNvPr id="5" name="Subtitle 2">
            <a:extLst>
              <a:ext uri="{FF2B5EF4-FFF2-40B4-BE49-F238E27FC236}">
                <a16:creationId xmlns:a16="http://schemas.microsoft.com/office/drawing/2014/main" id="{85E60B2C-8057-DA34-7846-2C08D48F6DF4}"/>
              </a:ext>
            </a:extLst>
          </p:cNvPr>
          <p:cNvSpPr>
            <a:spLocks noGrp="1"/>
          </p:cNvSpPr>
          <p:nvPr>
            <p:ph type="subTitle" idx="1"/>
          </p:nvPr>
        </p:nvSpPr>
        <p:spPr>
          <a:xfrm>
            <a:off x="914400" y="5800724"/>
            <a:ext cx="6870357" cy="441049"/>
          </a:xfrm>
        </p:spPr>
        <p:txBody>
          <a:bodyPr>
            <a:noAutofit/>
          </a:bodyPr>
          <a:lstStyle>
            <a:lvl1pPr marL="0" indent="0" algn="l">
              <a:buNone/>
              <a:defRPr sz="2400">
                <a:solidFill>
                  <a:srgbClr val="D4EB9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7" name="Kuva 6">
            <a:extLst>
              <a:ext uri="{FF2B5EF4-FFF2-40B4-BE49-F238E27FC236}">
                <a16:creationId xmlns:a16="http://schemas.microsoft.com/office/drawing/2014/main" id="{E6B8E111-0EB9-0424-3200-224184E6F12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9395700">
            <a:off x="8872749" y="4184010"/>
            <a:ext cx="3357451" cy="3357451"/>
          </a:xfrm>
          <a:prstGeom prst="rect">
            <a:avLst/>
          </a:prstGeom>
        </p:spPr>
      </p:pic>
      <p:pic>
        <p:nvPicPr>
          <p:cNvPr id="8" name="Graphic 18">
            <a:extLst>
              <a:ext uri="{FF2B5EF4-FFF2-40B4-BE49-F238E27FC236}">
                <a16:creationId xmlns:a16="http://schemas.microsoft.com/office/drawing/2014/main" id="{5BC811CB-323E-69C7-C9F7-7721851D112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6200000">
            <a:off x="8859911" y="2396167"/>
            <a:ext cx="4414875" cy="971490"/>
          </a:xfrm>
          <a:prstGeom prst="rect">
            <a:avLst/>
          </a:prstGeom>
        </p:spPr>
      </p:pic>
    </p:spTree>
    <p:extLst>
      <p:ext uri="{BB962C8B-B14F-4D97-AF65-F5344CB8AC3E}">
        <p14:creationId xmlns:p14="http://schemas.microsoft.com/office/powerpoint/2010/main" val="4137707268"/>
      </p:ext>
    </p:extLst>
  </p:cSld>
  <p:clrMapOvr>
    <a:masterClrMapping/>
  </p:clrMapOvr>
  <p:hf sldNum="0"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Esittelydia 2">
    <p:bg>
      <p:bgPr>
        <a:solidFill>
          <a:srgbClr val="FFCC99">
            <a:alpha val="90000"/>
          </a:srgbClr>
        </a:solidFill>
        <a:effectLst/>
      </p:bgPr>
    </p:bg>
    <p:spTree>
      <p:nvGrpSpPr>
        <p:cNvPr id="1" name=""/>
        <p:cNvGrpSpPr/>
        <p:nvPr/>
      </p:nvGrpSpPr>
      <p:grpSpPr>
        <a:xfrm>
          <a:off x="0" y="0"/>
          <a:ext cx="0" cy="0"/>
          <a:chOff x="0" y="0"/>
          <a:chExt cx="0" cy="0"/>
        </a:xfrm>
      </p:grpSpPr>
      <p:sp>
        <p:nvSpPr>
          <p:cNvPr id="23" name="Tekstin paikkamerkki 22">
            <a:extLst>
              <a:ext uri="{FF2B5EF4-FFF2-40B4-BE49-F238E27FC236}">
                <a16:creationId xmlns:a16="http://schemas.microsoft.com/office/drawing/2014/main" id="{962A7167-A74B-0AF1-7572-B0F7B9472DCF}"/>
              </a:ext>
            </a:extLst>
          </p:cNvPr>
          <p:cNvSpPr>
            <a:spLocks noGrp="1"/>
          </p:cNvSpPr>
          <p:nvPr>
            <p:ph type="body" sz="quarter" idx="22"/>
          </p:nvPr>
        </p:nvSpPr>
        <p:spPr>
          <a:xfrm>
            <a:off x="472893" y="4921532"/>
            <a:ext cx="2474530" cy="424338"/>
          </a:xfrm>
        </p:spPr>
        <p:txBody>
          <a:bodyPr>
            <a:noAutofit/>
          </a:bodyPr>
          <a:lstStyle>
            <a:lvl1pPr marL="0" indent="0" algn="ctr">
              <a:spcBef>
                <a:spcPts val="0"/>
              </a:spcBef>
              <a:buFontTx/>
              <a:buNone/>
              <a:defRPr sz="1600" b="1" i="0">
                <a:solidFill>
                  <a:srgbClr val="450099"/>
                </a:solidFill>
                <a:latin typeface="+mj-lt"/>
                <a:cs typeface="Arial Black" panose="020B0604020202020204" pitchFamily="34" charset="0"/>
              </a:defRPr>
            </a:lvl1pPr>
          </a:lstStyle>
          <a:p>
            <a:pPr lvl="0"/>
            <a:r>
              <a:rPr lang="fi-FI"/>
              <a:t>Muokkaa tekstin perustyylejä napsauttamalla</a:t>
            </a:r>
          </a:p>
        </p:txBody>
      </p:sp>
      <p:sp>
        <p:nvSpPr>
          <p:cNvPr id="35" name="Tekstin paikkamerkki 22">
            <a:extLst>
              <a:ext uri="{FF2B5EF4-FFF2-40B4-BE49-F238E27FC236}">
                <a16:creationId xmlns:a16="http://schemas.microsoft.com/office/drawing/2014/main" id="{5E3C4C6F-1D2C-D3AD-9B87-7D25578FED13}"/>
              </a:ext>
            </a:extLst>
          </p:cNvPr>
          <p:cNvSpPr>
            <a:spLocks noGrp="1"/>
          </p:cNvSpPr>
          <p:nvPr>
            <p:ph type="body" sz="quarter" idx="34" hasCustomPrompt="1"/>
          </p:nvPr>
        </p:nvSpPr>
        <p:spPr>
          <a:xfrm>
            <a:off x="472893" y="5517809"/>
            <a:ext cx="2499007" cy="709483"/>
          </a:xfrm>
        </p:spPr>
        <p:txBody>
          <a:bodyPr>
            <a:normAutofit/>
          </a:bodyPr>
          <a:lstStyle>
            <a:lvl1pPr marL="0" indent="0" algn="ctr">
              <a:spcBef>
                <a:spcPts val="0"/>
              </a:spcBef>
              <a:buFontTx/>
              <a:buNone/>
              <a:defRPr sz="1200" b="0">
                <a:latin typeface="+mn-lt"/>
              </a:defRPr>
            </a:lvl1pPr>
          </a:lstStyle>
          <a:p>
            <a:pPr lvl="0"/>
            <a:r>
              <a:rPr lang="fi-FI"/>
              <a:t>Titteli ja työn ydinalueet</a:t>
            </a:r>
          </a:p>
          <a:p>
            <a:pPr lvl="0"/>
            <a:endParaRPr lang="fi-FI"/>
          </a:p>
        </p:txBody>
      </p:sp>
      <p:sp>
        <p:nvSpPr>
          <p:cNvPr id="16" name="Tekstin paikkamerkki 22">
            <a:extLst>
              <a:ext uri="{FF2B5EF4-FFF2-40B4-BE49-F238E27FC236}">
                <a16:creationId xmlns:a16="http://schemas.microsoft.com/office/drawing/2014/main" id="{4F6AE2ED-D127-F38D-B404-EFFAAAFAB6CB}"/>
              </a:ext>
            </a:extLst>
          </p:cNvPr>
          <p:cNvSpPr>
            <a:spLocks noGrp="1"/>
          </p:cNvSpPr>
          <p:nvPr>
            <p:ph type="body" sz="quarter" idx="37" hasCustomPrompt="1"/>
          </p:nvPr>
        </p:nvSpPr>
        <p:spPr>
          <a:xfrm>
            <a:off x="3427004" y="5549131"/>
            <a:ext cx="2499007" cy="709483"/>
          </a:xfrm>
        </p:spPr>
        <p:txBody>
          <a:bodyPr>
            <a:normAutofit/>
          </a:bodyPr>
          <a:lstStyle>
            <a:lvl1pPr marL="0" indent="0" algn="ctr">
              <a:spcBef>
                <a:spcPts val="0"/>
              </a:spcBef>
              <a:buFontTx/>
              <a:buNone/>
              <a:defRPr sz="1200" b="0">
                <a:latin typeface="+mn-lt"/>
              </a:defRPr>
            </a:lvl1pPr>
          </a:lstStyle>
          <a:p>
            <a:pPr lvl="0"/>
            <a:r>
              <a:rPr lang="fi-FI"/>
              <a:t>Titteli ja työn ydinalueet</a:t>
            </a:r>
          </a:p>
          <a:p>
            <a:pPr lvl="0"/>
            <a:endParaRPr lang="fi-FI"/>
          </a:p>
        </p:txBody>
      </p:sp>
      <p:sp>
        <p:nvSpPr>
          <p:cNvPr id="4" name="Title 1">
            <a:extLst>
              <a:ext uri="{FF2B5EF4-FFF2-40B4-BE49-F238E27FC236}">
                <a16:creationId xmlns:a16="http://schemas.microsoft.com/office/drawing/2014/main" id="{59D5989E-D793-D917-2DE9-3951544B5A30}"/>
              </a:ext>
            </a:extLst>
          </p:cNvPr>
          <p:cNvSpPr>
            <a:spLocks noGrp="1"/>
          </p:cNvSpPr>
          <p:nvPr>
            <p:ph type="title"/>
          </p:nvPr>
        </p:nvSpPr>
        <p:spPr>
          <a:xfrm>
            <a:off x="838200" y="681037"/>
            <a:ext cx="10515600" cy="1009651"/>
          </a:xfrm>
        </p:spPr>
        <p:txBody>
          <a:bodyPr>
            <a:noAutofit/>
          </a:bodyPr>
          <a:lstStyle>
            <a:lvl1pPr>
              <a:lnSpc>
                <a:spcPct val="100000"/>
              </a:lnSpc>
              <a:buFontTx/>
              <a:buNone/>
              <a:defRPr b="1" i="0">
                <a:solidFill>
                  <a:srgbClr val="450099"/>
                </a:solidFill>
                <a:latin typeface="Poppins" pitchFamily="2" charset="77"/>
                <a:cs typeface="Poppins" pitchFamily="2" charset="77"/>
              </a:defRPr>
            </a:lvl1pPr>
          </a:lstStyle>
          <a:p>
            <a:r>
              <a:rPr lang="fi-FI"/>
              <a:t>Muokkaa ots. perustyyl. napsautt.</a:t>
            </a:r>
          </a:p>
        </p:txBody>
      </p:sp>
      <p:sp>
        <p:nvSpPr>
          <p:cNvPr id="8" name="Tekstin paikkamerkki 22">
            <a:extLst>
              <a:ext uri="{FF2B5EF4-FFF2-40B4-BE49-F238E27FC236}">
                <a16:creationId xmlns:a16="http://schemas.microsoft.com/office/drawing/2014/main" id="{4C3A173F-9316-FAF2-8401-ED663DE10107}"/>
              </a:ext>
            </a:extLst>
          </p:cNvPr>
          <p:cNvSpPr>
            <a:spLocks noGrp="1"/>
          </p:cNvSpPr>
          <p:nvPr>
            <p:ph type="body" sz="quarter" idx="47"/>
          </p:nvPr>
        </p:nvSpPr>
        <p:spPr>
          <a:xfrm>
            <a:off x="3427004" y="4952854"/>
            <a:ext cx="2474530" cy="424338"/>
          </a:xfrm>
        </p:spPr>
        <p:txBody>
          <a:bodyPr>
            <a:noAutofit/>
          </a:bodyPr>
          <a:lstStyle>
            <a:lvl1pPr marL="0" indent="0" algn="ctr">
              <a:spcBef>
                <a:spcPts val="0"/>
              </a:spcBef>
              <a:buFontTx/>
              <a:buNone/>
              <a:defRPr sz="1600" b="1" i="0">
                <a:solidFill>
                  <a:srgbClr val="450099"/>
                </a:solidFill>
                <a:latin typeface="+mj-lt"/>
                <a:cs typeface="Arial Black" panose="020B0604020202020204" pitchFamily="34" charset="0"/>
              </a:defRPr>
            </a:lvl1pPr>
          </a:lstStyle>
          <a:p>
            <a:pPr lvl="0"/>
            <a:r>
              <a:rPr lang="fi-FI"/>
              <a:t>Muokkaa tekstin perustyylejä napsauttamalla</a:t>
            </a:r>
          </a:p>
        </p:txBody>
      </p:sp>
      <p:sp>
        <p:nvSpPr>
          <p:cNvPr id="2" name="Kuvan paikkamerkki 5">
            <a:extLst>
              <a:ext uri="{FF2B5EF4-FFF2-40B4-BE49-F238E27FC236}">
                <a16:creationId xmlns:a16="http://schemas.microsoft.com/office/drawing/2014/main" id="{F5ACA51B-FB92-780B-D07F-EEB9371BBCAF}"/>
              </a:ext>
            </a:extLst>
          </p:cNvPr>
          <p:cNvSpPr>
            <a:spLocks noGrp="1"/>
          </p:cNvSpPr>
          <p:nvPr>
            <p:ph type="pic" sz="quarter" idx="14" hasCustomPrompt="1"/>
          </p:nvPr>
        </p:nvSpPr>
        <p:spPr>
          <a:xfrm>
            <a:off x="472893" y="2068845"/>
            <a:ext cx="2474530" cy="2474530"/>
          </a:xfrm>
          <a:prstGeom prst="ellipse">
            <a:avLst/>
          </a:prstGeom>
        </p:spPr>
        <p:txBody>
          <a:bodyPr/>
          <a:lstStyle>
            <a:lvl1pPr marL="0" indent="0">
              <a:buFontTx/>
              <a:buNone/>
              <a:defRPr/>
            </a:lvl1pPr>
          </a:lstStyle>
          <a:p>
            <a:r>
              <a:rPr lang="fi-FI"/>
              <a:t>Kuva</a:t>
            </a:r>
          </a:p>
        </p:txBody>
      </p:sp>
      <p:sp>
        <p:nvSpPr>
          <p:cNvPr id="3" name="Kuvan paikkamerkki 5">
            <a:extLst>
              <a:ext uri="{FF2B5EF4-FFF2-40B4-BE49-F238E27FC236}">
                <a16:creationId xmlns:a16="http://schemas.microsoft.com/office/drawing/2014/main" id="{2208335A-6525-B4E4-7DE3-47AAF9F0510B}"/>
              </a:ext>
            </a:extLst>
          </p:cNvPr>
          <p:cNvSpPr>
            <a:spLocks noGrp="1"/>
          </p:cNvSpPr>
          <p:nvPr>
            <p:ph type="pic" sz="quarter" idx="54" hasCustomPrompt="1"/>
          </p:nvPr>
        </p:nvSpPr>
        <p:spPr>
          <a:xfrm>
            <a:off x="3427004" y="2068845"/>
            <a:ext cx="2474530" cy="2474530"/>
          </a:xfrm>
          <a:prstGeom prst="ellipse">
            <a:avLst/>
          </a:prstGeom>
        </p:spPr>
        <p:txBody>
          <a:bodyPr/>
          <a:lstStyle>
            <a:lvl1pPr marL="0" indent="0">
              <a:buFontTx/>
              <a:buNone/>
              <a:defRPr/>
            </a:lvl1pPr>
          </a:lstStyle>
          <a:p>
            <a:r>
              <a:rPr lang="fi-FI"/>
              <a:t>Kuva</a:t>
            </a:r>
          </a:p>
        </p:txBody>
      </p:sp>
      <p:sp>
        <p:nvSpPr>
          <p:cNvPr id="5" name="Kuvan paikkamerkki 5">
            <a:extLst>
              <a:ext uri="{FF2B5EF4-FFF2-40B4-BE49-F238E27FC236}">
                <a16:creationId xmlns:a16="http://schemas.microsoft.com/office/drawing/2014/main" id="{1EC594C4-3C5F-7D42-8704-3D19C842D345}"/>
              </a:ext>
            </a:extLst>
          </p:cNvPr>
          <p:cNvSpPr>
            <a:spLocks noGrp="1"/>
          </p:cNvSpPr>
          <p:nvPr>
            <p:ph type="pic" sz="quarter" idx="56" hasCustomPrompt="1"/>
          </p:nvPr>
        </p:nvSpPr>
        <p:spPr>
          <a:xfrm>
            <a:off x="6381114" y="2068845"/>
            <a:ext cx="2474530" cy="2474530"/>
          </a:xfrm>
          <a:prstGeom prst="ellipse">
            <a:avLst/>
          </a:prstGeom>
        </p:spPr>
        <p:txBody>
          <a:bodyPr/>
          <a:lstStyle>
            <a:lvl1pPr marL="0" indent="0">
              <a:buFontTx/>
              <a:buNone/>
              <a:defRPr/>
            </a:lvl1pPr>
          </a:lstStyle>
          <a:p>
            <a:r>
              <a:rPr lang="fi-FI"/>
              <a:t>Kuva</a:t>
            </a:r>
          </a:p>
        </p:txBody>
      </p:sp>
      <p:sp>
        <p:nvSpPr>
          <p:cNvPr id="15" name="Kuvan paikkamerkki 5">
            <a:extLst>
              <a:ext uri="{FF2B5EF4-FFF2-40B4-BE49-F238E27FC236}">
                <a16:creationId xmlns:a16="http://schemas.microsoft.com/office/drawing/2014/main" id="{58F46ADF-37E6-B0A3-7CBB-1EBA114A7456}"/>
              </a:ext>
            </a:extLst>
          </p:cNvPr>
          <p:cNvSpPr>
            <a:spLocks noGrp="1"/>
          </p:cNvSpPr>
          <p:nvPr>
            <p:ph type="pic" sz="quarter" idx="59" hasCustomPrompt="1"/>
          </p:nvPr>
        </p:nvSpPr>
        <p:spPr>
          <a:xfrm>
            <a:off x="9335223" y="2052644"/>
            <a:ext cx="2474530" cy="2474530"/>
          </a:xfrm>
          <a:prstGeom prst="ellipse">
            <a:avLst/>
          </a:prstGeom>
        </p:spPr>
        <p:txBody>
          <a:bodyPr/>
          <a:lstStyle>
            <a:lvl1pPr marL="0" indent="0">
              <a:buFontTx/>
              <a:buNone/>
              <a:defRPr/>
            </a:lvl1pPr>
          </a:lstStyle>
          <a:p>
            <a:r>
              <a:rPr lang="fi-FI"/>
              <a:t>Kuva</a:t>
            </a:r>
          </a:p>
        </p:txBody>
      </p:sp>
      <p:sp>
        <p:nvSpPr>
          <p:cNvPr id="19" name="Tekstin paikkamerkki 22">
            <a:extLst>
              <a:ext uri="{FF2B5EF4-FFF2-40B4-BE49-F238E27FC236}">
                <a16:creationId xmlns:a16="http://schemas.microsoft.com/office/drawing/2014/main" id="{C5D2E7DE-205E-C7C8-C8BF-9C8C0167E735}"/>
              </a:ext>
            </a:extLst>
          </p:cNvPr>
          <p:cNvSpPr>
            <a:spLocks noGrp="1"/>
          </p:cNvSpPr>
          <p:nvPr>
            <p:ph type="body" sz="quarter" idx="60"/>
          </p:nvPr>
        </p:nvSpPr>
        <p:spPr>
          <a:xfrm>
            <a:off x="6381114" y="4952854"/>
            <a:ext cx="2474530" cy="424338"/>
          </a:xfrm>
        </p:spPr>
        <p:txBody>
          <a:bodyPr>
            <a:noAutofit/>
          </a:bodyPr>
          <a:lstStyle>
            <a:lvl1pPr marL="0" indent="0" algn="ctr">
              <a:spcBef>
                <a:spcPts val="0"/>
              </a:spcBef>
              <a:buFontTx/>
              <a:buNone/>
              <a:defRPr sz="1600" b="1" i="0">
                <a:solidFill>
                  <a:srgbClr val="450099"/>
                </a:solidFill>
                <a:latin typeface="+mj-lt"/>
                <a:cs typeface="Arial Black" panose="020B0604020202020204" pitchFamily="34" charset="0"/>
              </a:defRPr>
            </a:lvl1pPr>
          </a:lstStyle>
          <a:p>
            <a:pPr lvl="0"/>
            <a:r>
              <a:rPr lang="fi-FI"/>
              <a:t>Muokkaa tekstin perustyylejä napsauttamalla</a:t>
            </a:r>
          </a:p>
        </p:txBody>
      </p:sp>
      <p:sp>
        <p:nvSpPr>
          <p:cNvPr id="22" name="Tekstin paikkamerkki 22">
            <a:extLst>
              <a:ext uri="{FF2B5EF4-FFF2-40B4-BE49-F238E27FC236}">
                <a16:creationId xmlns:a16="http://schemas.microsoft.com/office/drawing/2014/main" id="{E53F07E1-AE4D-B4CE-B461-7730BE48B476}"/>
              </a:ext>
            </a:extLst>
          </p:cNvPr>
          <p:cNvSpPr>
            <a:spLocks noGrp="1"/>
          </p:cNvSpPr>
          <p:nvPr>
            <p:ph type="body" sz="quarter" idx="61" hasCustomPrompt="1"/>
          </p:nvPr>
        </p:nvSpPr>
        <p:spPr>
          <a:xfrm>
            <a:off x="6381114" y="5549131"/>
            <a:ext cx="2499007" cy="709483"/>
          </a:xfrm>
        </p:spPr>
        <p:txBody>
          <a:bodyPr>
            <a:normAutofit/>
          </a:bodyPr>
          <a:lstStyle>
            <a:lvl1pPr marL="0" indent="0" algn="ctr">
              <a:spcBef>
                <a:spcPts val="0"/>
              </a:spcBef>
              <a:buFontTx/>
              <a:buNone/>
              <a:defRPr sz="1200" b="0">
                <a:latin typeface="+mn-lt"/>
              </a:defRPr>
            </a:lvl1pPr>
          </a:lstStyle>
          <a:p>
            <a:pPr lvl="0"/>
            <a:r>
              <a:rPr lang="fi-FI"/>
              <a:t>Titteli ja työn ydinalueet</a:t>
            </a:r>
          </a:p>
          <a:p>
            <a:pPr lvl="0"/>
            <a:endParaRPr lang="fi-FI"/>
          </a:p>
        </p:txBody>
      </p:sp>
      <p:sp>
        <p:nvSpPr>
          <p:cNvPr id="24" name="Tekstin paikkamerkki 22">
            <a:extLst>
              <a:ext uri="{FF2B5EF4-FFF2-40B4-BE49-F238E27FC236}">
                <a16:creationId xmlns:a16="http://schemas.microsoft.com/office/drawing/2014/main" id="{35A31A42-B7F0-2A6F-AEB0-7D40A160B80C}"/>
              </a:ext>
            </a:extLst>
          </p:cNvPr>
          <p:cNvSpPr>
            <a:spLocks noGrp="1"/>
          </p:cNvSpPr>
          <p:nvPr>
            <p:ph type="body" sz="quarter" idx="62" hasCustomPrompt="1"/>
          </p:nvPr>
        </p:nvSpPr>
        <p:spPr>
          <a:xfrm>
            <a:off x="9335223" y="5580453"/>
            <a:ext cx="2499007" cy="709483"/>
          </a:xfrm>
        </p:spPr>
        <p:txBody>
          <a:bodyPr>
            <a:normAutofit/>
          </a:bodyPr>
          <a:lstStyle>
            <a:lvl1pPr marL="0" indent="0" algn="ctr">
              <a:spcBef>
                <a:spcPts val="0"/>
              </a:spcBef>
              <a:buFontTx/>
              <a:buNone/>
              <a:defRPr sz="1200" b="0">
                <a:latin typeface="+mn-lt"/>
              </a:defRPr>
            </a:lvl1pPr>
          </a:lstStyle>
          <a:p>
            <a:pPr lvl="0"/>
            <a:r>
              <a:rPr lang="fi-FI"/>
              <a:t>Titteli ja työn ydinalueet</a:t>
            </a:r>
          </a:p>
          <a:p>
            <a:pPr lvl="0"/>
            <a:endParaRPr lang="fi-FI"/>
          </a:p>
        </p:txBody>
      </p:sp>
      <p:sp>
        <p:nvSpPr>
          <p:cNvPr id="26" name="Tekstin paikkamerkki 22">
            <a:extLst>
              <a:ext uri="{FF2B5EF4-FFF2-40B4-BE49-F238E27FC236}">
                <a16:creationId xmlns:a16="http://schemas.microsoft.com/office/drawing/2014/main" id="{2B450DDE-E1B7-B871-FFC0-F6824C4289C7}"/>
              </a:ext>
            </a:extLst>
          </p:cNvPr>
          <p:cNvSpPr>
            <a:spLocks noGrp="1"/>
          </p:cNvSpPr>
          <p:nvPr>
            <p:ph type="body" sz="quarter" idx="63"/>
          </p:nvPr>
        </p:nvSpPr>
        <p:spPr>
          <a:xfrm>
            <a:off x="9335223" y="4984176"/>
            <a:ext cx="2474530" cy="424338"/>
          </a:xfrm>
        </p:spPr>
        <p:txBody>
          <a:bodyPr>
            <a:noAutofit/>
          </a:bodyPr>
          <a:lstStyle>
            <a:lvl1pPr marL="0" indent="0" algn="ctr">
              <a:spcBef>
                <a:spcPts val="0"/>
              </a:spcBef>
              <a:buFontTx/>
              <a:buNone/>
              <a:defRPr sz="1600" b="1" i="0">
                <a:solidFill>
                  <a:srgbClr val="450099"/>
                </a:solidFill>
                <a:latin typeface="+mj-lt"/>
                <a:cs typeface="Arial Black" panose="020B0604020202020204" pitchFamily="34" charset="0"/>
              </a:defRPr>
            </a:lvl1pPr>
          </a:lstStyle>
          <a:p>
            <a:pPr lvl="0"/>
            <a:r>
              <a:rPr lang="fi-FI"/>
              <a:t>Muokkaa tekstin perustyylejä napsauttamalla</a:t>
            </a:r>
          </a:p>
        </p:txBody>
      </p:sp>
    </p:spTree>
    <p:extLst>
      <p:ext uri="{BB962C8B-B14F-4D97-AF65-F5344CB8AC3E}">
        <p14:creationId xmlns:p14="http://schemas.microsoft.com/office/powerpoint/2010/main" val="3144161684"/>
      </p:ext>
    </p:extLst>
  </p:cSld>
  <p:clrMapOvr>
    <a:masterClrMapping/>
  </p:clrMapOvr>
  <p:hf sldNum="0" hd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Koroste elementeilla 1">
    <p:bg>
      <p:bgPr>
        <a:solidFill>
          <a:srgbClr val="D9D9D6">
            <a:alpha val="90000"/>
          </a:srgb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838200" y="3297403"/>
            <a:ext cx="3107197" cy="674530"/>
          </a:xfrm>
          <a:prstGeom prst="rect">
            <a:avLst/>
          </a:prstGeom>
        </p:spPr>
        <p:txBody>
          <a:bodyPr>
            <a:noAutofit/>
          </a:bodyPr>
          <a:lstStyle>
            <a:lvl1pPr marL="0" indent="0">
              <a:lnSpc>
                <a:spcPct val="100000"/>
              </a:lnSpc>
              <a:spcBef>
                <a:spcPts val="0"/>
              </a:spcBef>
              <a:buFontTx/>
              <a:buNone/>
              <a:defRPr sz="2000" b="1">
                <a:solidFill>
                  <a:srgbClr val="152A96"/>
                </a:solidFill>
                <a:latin typeface="+mj-lt"/>
                <a:cs typeface="Poppins" pitchFamily="2" charset="77"/>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a:t>Teksti</a:t>
            </a:r>
          </a:p>
        </p:txBody>
      </p:sp>
      <p:sp>
        <p:nvSpPr>
          <p:cNvPr id="19" name="Text Placeholder 18"/>
          <p:cNvSpPr>
            <a:spLocks noGrp="1"/>
          </p:cNvSpPr>
          <p:nvPr>
            <p:ph type="body" sz="quarter" idx="16"/>
          </p:nvPr>
        </p:nvSpPr>
        <p:spPr>
          <a:xfrm>
            <a:off x="846669" y="3986220"/>
            <a:ext cx="3098731" cy="2052745"/>
          </a:xfrm>
          <a:prstGeom prst="rect">
            <a:avLst/>
          </a:prstGeom>
        </p:spPr>
        <p:txBody>
          <a:bodyPr>
            <a:noAutofit/>
          </a:bodyPr>
          <a:lstStyle>
            <a:lvl1pPr marL="0" indent="0">
              <a:buFontTx/>
              <a:buNone/>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6" name="Rectangle 5">
            <a:extLst>
              <a:ext uri="{FF2B5EF4-FFF2-40B4-BE49-F238E27FC236}">
                <a16:creationId xmlns:a16="http://schemas.microsoft.com/office/drawing/2014/main" id="{60E58EF1-FD15-A342-94AD-D6B78BAD3EDC}"/>
              </a:ext>
            </a:extLst>
          </p:cNvPr>
          <p:cNvSpPr/>
          <p:nvPr/>
        </p:nvSpPr>
        <p:spPr>
          <a:xfrm>
            <a:off x="945776" y="2048404"/>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26" name="Rectangle 25">
            <a:extLst>
              <a:ext uri="{FF2B5EF4-FFF2-40B4-BE49-F238E27FC236}">
                <a16:creationId xmlns:a16="http://schemas.microsoft.com/office/drawing/2014/main" id="{AAEB9AE4-3CD1-1B41-AD59-5F6BC614C35E}"/>
              </a:ext>
            </a:extLst>
          </p:cNvPr>
          <p:cNvSpPr/>
          <p:nvPr/>
        </p:nvSpPr>
        <p:spPr>
          <a:xfrm>
            <a:off x="4589943" y="2039402"/>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solidFill>
                <a:srgbClr val="152A96"/>
              </a:solidFill>
            </a:endParaRPr>
          </a:p>
        </p:txBody>
      </p:sp>
      <p:sp>
        <p:nvSpPr>
          <p:cNvPr id="28" name="Rectangle 27">
            <a:extLst>
              <a:ext uri="{FF2B5EF4-FFF2-40B4-BE49-F238E27FC236}">
                <a16:creationId xmlns:a16="http://schemas.microsoft.com/office/drawing/2014/main" id="{39540608-72D2-A741-8B13-CAD9FF5C8B51}"/>
              </a:ext>
            </a:extLst>
          </p:cNvPr>
          <p:cNvSpPr/>
          <p:nvPr/>
        </p:nvSpPr>
        <p:spPr>
          <a:xfrm>
            <a:off x="8256696" y="2042696"/>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solidFill>
                <a:srgbClr val="152A96"/>
              </a:solidFill>
            </a:endParaRPr>
          </a:p>
        </p:txBody>
      </p:sp>
      <p:sp>
        <p:nvSpPr>
          <p:cNvPr id="27" name="Text Placeholder 7">
            <a:extLst>
              <a:ext uri="{FF2B5EF4-FFF2-40B4-BE49-F238E27FC236}">
                <a16:creationId xmlns:a16="http://schemas.microsoft.com/office/drawing/2014/main" id="{E60639F6-51E5-F144-A290-6041F0300E61}"/>
              </a:ext>
            </a:extLst>
          </p:cNvPr>
          <p:cNvSpPr>
            <a:spLocks noGrp="1"/>
          </p:cNvSpPr>
          <p:nvPr>
            <p:ph type="body" sz="quarter" idx="25" hasCustomPrompt="1"/>
          </p:nvPr>
        </p:nvSpPr>
        <p:spPr>
          <a:xfrm>
            <a:off x="809782" y="2250433"/>
            <a:ext cx="1399309" cy="729943"/>
          </a:xfrm>
        </p:spPr>
        <p:txBody>
          <a:bodyPr anchor="ctr" anchorCtr="1">
            <a:noAutofit/>
          </a:bodyPr>
          <a:lstStyle>
            <a:lvl1pPr marL="0" indent="0" algn="ctr">
              <a:lnSpc>
                <a:spcPct val="100000"/>
              </a:lnSpc>
              <a:buFontTx/>
              <a:buNone/>
              <a:defRPr sz="6000" b="1" i="0">
                <a:solidFill>
                  <a:srgbClr val="D9D9D6"/>
                </a:solidFill>
                <a:latin typeface="Arial Black" panose="020B0604020202020204" pitchFamily="34" charset="0"/>
                <a:cs typeface="Arial Black" panose="020B0604020202020204" pitchFamily="34" charset="0"/>
              </a:defRPr>
            </a:lvl1pPr>
          </a:lstStyle>
          <a:p>
            <a:pPr lvl="0"/>
            <a:r>
              <a:rPr lang="fi-FI"/>
              <a:t>X</a:t>
            </a:r>
          </a:p>
        </p:txBody>
      </p:sp>
      <p:sp>
        <p:nvSpPr>
          <p:cNvPr id="29" name="Text Placeholder 7">
            <a:extLst>
              <a:ext uri="{FF2B5EF4-FFF2-40B4-BE49-F238E27FC236}">
                <a16:creationId xmlns:a16="http://schemas.microsoft.com/office/drawing/2014/main" id="{1BD855EE-92FB-8A4E-9E20-51E9B136A50B}"/>
              </a:ext>
            </a:extLst>
          </p:cNvPr>
          <p:cNvSpPr>
            <a:spLocks noGrp="1"/>
          </p:cNvSpPr>
          <p:nvPr>
            <p:ph type="body" sz="quarter" idx="26" hasCustomPrompt="1"/>
          </p:nvPr>
        </p:nvSpPr>
        <p:spPr>
          <a:xfrm>
            <a:off x="4460628" y="2241431"/>
            <a:ext cx="1399309" cy="729943"/>
          </a:xfrm>
        </p:spPr>
        <p:txBody>
          <a:bodyPr anchor="ctr" anchorCtr="1">
            <a:noAutofit/>
          </a:bodyPr>
          <a:lstStyle>
            <a:lvl1pPr marL="0" indent="0">
              <a:lnSpc>
                <a:spcPct val="100000"/>
              </a:lnSpc>
              <a:buFontTx/>
              <a:buNone/>
              <a:defRPr sz="6000" b="1" i="0">
                <a:solidFill>
                  <a:srgbClr val="D9D9D6"/>
                </a:solidFill>
                <a:latin typeface="Arial Black" panose="020B0604020202020204" pitchFamily="34" charset="0"/>
                <a:cs typeface="Arial Black" panose="020B0604020202020204" pitchFamily="34" charset="0"/>
              </a:defRPr>
            </a:lvl1pPr>
          </a:lstStyle>
          <a:p>
            <a:pPr lvl="0"/>
            <a:r>
              <a:rPr lang="fi-FI"/>
              <a:t>X</a:t>
            </a:r>
          </a:p>
        </p:txBody>
      </p:sp>
      <p:sp>
        <p:nvSpPr>
          <p:cNvPr id="30" name="Text Placeholder 7">
            <a:extLst>
              <a:ext uri="{FF2B5EF4-FFF2-40B4-BE49-F238E27FC236}">
                <a16:creationId xmlns:a16="http://schemas.microsoft.com/office/drawing/2014/main" id="{BC5E4DE9-4216-294B-99E4-84D18C3CED9F}"/>
              </a:ext>
            </a:extLst>
          </p:cNvPr>
          <p:cNvSpPr>
            <a:spLocks noGrp="1"/>
          </p:cNvSpPr>
          <p:nvPr>
            <p:ph type="body" sz="quarter" idx="27" hasCustomPrompt="1"/>
          </p:nvPr>
        </p:nvSpPr>
        <p:spPr>
          <a:xfrm>
            <a:off x="8120702" y="2244725"/>
            <a:ext cx="1399308" cy="729943"/>
          </a:xfrm>
        </p:spPr>
        <p:txBody>
          <a:bodyPr anchor="ctr" anchorCtr="1">
            <a:noAutofit/>
          </a:bodyPr>
          <a:lstStyle>
            <a:lvl1pPr marL="0" indent="0">
              <a:lnSpc>
                <a:spcPct val="100000"/>
              </a:lnSpc>
              <a:buFontTx/>
              <a:buNone/>
              <a:defRPr sz="6000" b="1" i="0">
                <a:solidFill>
                  <a:srgbClr val="D9D9D6"/>
                </a:solidFill>
                <a:latin typeface="Arial Black" panose="020B0604020202020204" pitchFamily="34" charset="0"/>
                <a:cs typeface="Arial Black" panose="020B0604020202020204" pitchFamily="34" charset="0"/>
              </a:defRPr>
            </a:lvl1pPr>
          </a:lstStyle>
          <a:p>
            <a:pPr lvl="0"/>
            <a:r>
              <a:rPr lang="fi-FI"/>
              <a:t>X</a:t>
            </a:r>
          </a:p>
        </p:txBody>
      </p:sp>
      <p:sp>
        <p:nvSpPr>
          <p:cNvPr id="5" name="Title 1">
            <a:extLst>
              <a:ext uri="{FF2B5EF4-FFF2-40B4-BE49-F238E27FC236}">
                <a16:creationId xmlns:a16="http://schemas.microsoft.com/office/drawing/2014/main" id="{0D2A51BF-47AC-3C5A-55FE-4FD43B2E32AD}"/>
              </a:ext>
            </a:extLst>
          </p:cNvPr>
          <p:cNvSpPr>
            <a:spLocks noGrp="1"/>
          </p:cNvSpPr>
          <p:nvPr>
            <p:ph type="title"/>
          </p:nvPr>
        </p:nvSpPr>
        <p:spPr>
          <a:xfrm>
            <a:off x="838200" y="681037"/>
            <a:ext cx="10515600" cy="1009651"/>
          </a:xfrm>
        </p:spPr>
        <p:txBody>
          <a:bodyPr>
            <a:noAutofit/>
          </a:bodyPr>
          <a:lstStyle>
            <a:lvl1pPr>
              <a:lnSpc>
                <a:spcPct val="100000"/>
              </a:lnSpc>
              <a:buFontTx/>
              <a:buNone/>
              <a:defRPr b="1" i="0">
                <a:solidFill>
                  <a:srgbClr val="152A96"/>
                </a:solidFill>
                <a:latin typeface="Poppins" pitchFamily="2" charset="77"/>
                <a:cs typeface="Poppins" pitchFamily="2" charset="77"/>
              </a:defRPr>
            </a:lvl1pPr>
          </a:lstStyle>
          <a:p>
            <a:r>
              <a:rPr lang="fi-FI"/>
              <a:t>Muokkaa ots. perustyyl. napsautt.</a:t>
            </a:r>
          </a:p>
        </p:txBody>
      </p:sp>
      <p:sp>
        <p:nvSpPr>
          <p:cNvPr id="7" name="Content Placeholder 2">
            <a:extLst>
              <a:ext uri="{FF2B5EF4-FFF2-40B4-BE49-F238E27FC236}">
                <a16:creationId xmlns:a16="http://schemas.microsoft.com/office/drawing/2014/main" id="{FAE80A10-6B75-C3F7-DAD7-01D2B7C688FD}"/>
              </a:ext>
            </a:extLst>
          </p:cNvPr>
          <p:cNvSpPr>
            <a:spLocks noGrp="1"/>
          </p:cNvSpPr>
          <p:nvPr>
            <p:ph idx="28" hasCustomPrompt="1"/>
          </p:nvPr>
        </p:nvSpPr>
        <p:spPr>
          <a:xfrm>
            <a:off x="4460628" y="3291473"/>
            <a:ext cx="3107197" cy="674530"/>
          </a:xfrm>
          <a:prstGeom prst="rect">
            <a:avLst/>
          </a:prstGeom>
        </p:spPr>
        <p:txBody>
          <a:bodyPr>
            <a:noAutofit/>
          </a:bodyPr>
          <a:lstStyle>
            <a:lvl1pPr marL="0" indent="0">
              <a:lnSpc>
                <a:spcPct val="100000"/>
              </a:lnSpc>
              <a:spcBef>
                <a:spcPts val="0"/>
              </a:spcBef>
              <a:buFontTx/>
              <a:buNone/>
              <a:defRPr sz="2000" b="1">
                <a:solidFill>
                  <a:srgbClr val="152A96"/>
                </a:solidFill>
                <a:latin typeface="+mj-lt"/>
                <a:cs typeface="Poppins" pitchFamily="2" charset="77"/>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a:t>Teksti</a:t>
            </a:r>
          </a:p>
        </p:txBody>
      </p:sp>
      <p:sp>
        <p:nvSpPr>
          <p:cNvPr id="8" name="Text Placeholder 18">
            <a:extLst>
              <a:ext uri="{FF2B5EF4-FFF2-40B4-BE49-F238E27FC236}">
                <a16:creationId xmlns:a16="http://schemas.microsoft.com/office/drawing/2014/main" id="{07648512-503D-274B-0D98-6C49A68D51BF}"/>
              </a:ext>
            </a:extLst>
          </p:cNvPr>
          <p:cNvSpPr>
            <a:spLocks noGrp="1"/>
          </p:cNvSpPr>
          <p:nvPr>
            <p:ph type="body" sz="quarter" idx="29"/>
          </p:nvPr>
        </p:nvSpPr>
        <p:spPr>
          <a:xfrm>
            <a:off x="4469097" y="3980290"/>
            <a:ext cx="3098731" cy="2052745"/>
          </a:xfrm>
          <a:prstGeom prst="rect">
            <a:avLst/>
          </a:prstGeom>
        </p:spPr>
        <p:txBody>
          <a:bodyPr>
            <a:noAutofit/>
          </a:bodyPr>
          <a:lstStyle>
            <a:lvl1pPr marL="0" indent="0">
              <a:buFontTx/>
              <a:buNone/>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9" name="Content Placeholder 2">
            <a:extLst>
              <a:ext uri="{FF2B5EF4-FFF2-40B4-BE49-F238E27FC236}">
                <a16:creationId xmlns:a16="http://schemas.microsoft.com/office/drawing/2014/main" id="{628A20F2-4A82-735B-BF14-A09F78001571}"/>
              </a:ext>
            </a:extLst>
          </p:cNvPr>
          <p:cNvSpPr>
            <a:spLocks noGrp="1"/>
          </p:cNvSpPr>
          <p:nvPr>
            <p:ph idx="30" hasCustomPrompt="1"/>
          </p:nvPr>
        </p:nvSpPr>
        <p:spPr>
          <a:xfrm>
            <a:off x="8120702" y="3291473"/>
            <a:ext cx="3107197" cy="674530"/>
          </a:xfrm>
          <a:prstGeom prst="rect">
            <a:avLst/>
          </a:prstGeom>
        </p:spPr>
        <p:txBody>
          <a:bodyPr>
            <a:noAutofit/>
          </a:bodyPr>
          <a:lstStyle>
            <a:lvl1pPr marL="0" indent="0">
              <a:lnSpc>
                <a:spcPct val="100000"/>
              </a:lnSpc>
              <a:spcBef>
                <a:spcPts val="0"/>
              </a:spcBef>
              <a:buFontTx/>
              <a:buNone/>
              <a:defRPr sz="2000" b="1">
                <a:solidFill>
                  <a:srgbClr val="152A96"/>
                </a:solidFill>
                <a:latin typeface="+mj-lt"/>
                <a:cs typeface="Poppins" pitchFamily="2" charset="77"/>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a:t>Teksti</a:t>
            </a:r>
          </a:p>
        </p:txBody>
      </p:sp>
      <p:sp>
        <p:nvSpPr>
          <p:cNvPr id="10" name="Text Placeholder 18">
            <a:extLst>
              <a:ext uri="{FF2B5EF4-FFF2-40B4-BE49-F238E27FC236}">
                <a16:creationId xmlns:a16="http://schemas.microsoft.com/office/drawing/2014/main" id="{0B19543D-5A8B-B9E4-91DB-460E3FD2CA23}"/>
              </a:ext>
            </a:extLst>
          </p:cNvPr>
          <p:cNvSpPr>
            <a:spLocks noGrp="1"/>
          </p:cNvSpPr>
          <p:nvPr>
            <p:ph type="body" sz="quarter" idx="31"/>
          </p:nvPr>
        </p:nvSpPr>
        <p:spPr>
          <a:xfrm>
            <a:off x="8129171" y="3980290"/>
            <a:ext cx="3098731" cy="2052745"/>
          </a:xfrm>
          <a:prstGeom prst="rect">
            <a:avLst/>
          </a:prstGeom>
        </p:spPr>
        <p:txBody>
          <a:bodyPr>
            <a:noAutofit/>
          </a:bodyPr>
          <a:lstStyle>
            <a:lvl1pPr marL="0" indent="0">
              <a:buFontTx/>
              <a:buNone/>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1" name="Päivämäärän paikkamerkki 3">
            <a:extLst>
              <a:ext uri="{FF2B5EF4-FFF2-40B4-BE49-F238E27FC236}">
                <a16:creationId xmlns:a16="http://schemas.microsoft.com/office/drawing/2014/main" id="{72C69F20-5CBA-F2F5-E219-A55CBAA765C2}"/>
              </a:ext>
            </a:extLst>
          </p:cNvPr>
          <p:cNvSpPr>
            <a:spLocks noGrp="1"/>
          </p:cNvSpPr>
          <p:nvPr>
            <p:ph type="dt" sz="half" idx="14"/>
          </p:nvPr>
        </p:nvSpPr>
        <p:spPr>
          <a:xfrm>
            <a:off x="838200" y="6356350"/>
            <a:ext cx="2743200" cy="365125"/>
          </a:xfrm>
        </p:spPr>
        <p:txBody>
          <a:bodyPr/>
          <a:lstStyle>
            <a:lvl1pPr>
              <a:buFontTx/>
              <a:buNone/>
              <a:defRPr/>
            </a:lvl1pPr>
          </a:lstStyle>
          <a:p>
            <a:endParaRPr lang="fi-FI" dirty="0"/>
          </a:p>
        </p:txBody>
      </p:sp>
      <p:sp>
        <p:nvSpPr>
          <p:cNvPr id="12" name="Alatunnisteen paikkamerkki 4">
            <a:extLst>
              <a:ext uri="{FF2B5EF4-FFF2-40B4-BE49-F238E27FC236}">
                <a16:creationId xmlns:a16="http://schemas.microsoft.com/office/drawing/2014/main" id="{6B0659C0-AE4C-31BB-89F7-DED9C88A9B02}"/>
              </a:ext>
            </a:extLst>
          </p:cNvPr>
          <p:cNvSpPr>
            <a:spLocks noGrp="1"/>
          </p:cNvSpPr>
          <p:nvPr>
            <p:ph type="ftr" sz="quarter" idx="15"/>
          </p:nvPr>
        </p:nvSpPr>
        <p:spPr>
          <a:xfrm>
            <a:off x="4038600" y="6356350"/>
            <a:ext cx="4114800" cy="365125"/>
          </a:xfrm>
        </p:spPr>
        <p:txBody>
          <a:bodyPr/>
          <a:lstStyle>
            <a:lvl1pPr>
              <a:buFontTx/>
              <a:buNone/>
              <a:defRPr/>
            </a:lvl1pPr>
          </a:lstStyle>
          <a:p>
            <a:r>
              <a:rPr lang="fi-FI"/>
              <a:t>7</a:t>
            </a:r>
          </a:p>
        </p:txBody>
      </p:sp>
      <p:sp>
        <p:nvSpPr>
          <p:cNvPr id="2" name="Rectangle 5">
            <a:extLst>
              <a:ext uri="{FF2B5EF4-FFF2-40B4-BE49-F238E27FC236}">
                <a16:creationId xmlns:a16="http://schemas.microsoft.com/office/drawing/2014/main" id="{2F30F1D0-8D0B-229A-30E5-19C7B4361C44}"/>
              </a:ext>
            </a:extLst>
          </p:cNvPr>
          <p:cNvSpPr/>
          <p:nvPr/>
        </p:nvSpPr>
        <p:spPr>
          <a:xfrm>
            <a:off x="945776" y="2048404"/>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4" name="Rectangle 25">
            <a:extLst>
              <a:ext uri="{FF2B5EF4-FFF2-40B4-BE49-F238E27FC236}">
                <a16:creationId xmlns:a16="http://schemas.microsoft.com/office/drawing/2014/main" id="{40CADE55-EB34-6AF8-EDDE-6733A13EE347}"/>
              </a:ext>
            </a:extLst>
          </p:cNvPr>
          <p:cNvSpPr/>
          <p:nvPr/>
        </p:nvSpPr>
        <p:spPr>
          <a:xfrm>
            <a:off x="4589943" y="2039402"/>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solidFill>
                <a:srgbClr val="152A96"/>
              </a:solidFill>
            </a:endParaRPr>
          </a:p>
        </p:txBody>
      </p:sp>
      <p:sp>
        <p:nvSpPr>
          <p:cNvPr id="14" name="Rectangle 27">
            <a:extLst>
              <a:ext uri="{FF2B5EF4-FFF2-40B4-BE49-F238E27FC236}">
                <a16:creationId xmlns:a16="http://schemas.microsoft.com/office/drawing/2014/main" id="{38816D6C-FE19-403F-D1C9-F093396A682F}"/>
              </a:ext>
            </a:extLst>
          </p:cNvPr>
          <p:cNvSpPr/>
          <p:nvPr/>
        </p:nvSpPr>
        <p:spPr>
          <a:xfrm>
            <a:off x="8256696" y="2042696"/>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solidFill>
                <a:srgbClr val="152A96"/>
              </a:solidFill>
            </a:endParaRPr>
          </a:p>
        </p:txBody>
      </p:sp>
      <p:pic>
        <p:nvPicPr>
          <p:cNvPr id="13" name="Graphic 18">
            <a:extLst>
              <a:ext uri="{FF2B5EF4-FFF2-40B4-BE49-F238E27FC236}">
                <a16:creationId xmlns:a16="http://schemas.microsoft.com/office/drawing/2014/main" id="{607C79E1-5560-BDA3-F0D8-BCF056AD5DB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3886019635"/>
      </p:ext>
    </p:extLst>
  </p:cSld>
  <p:clrMapOvr>
    <a:masterClrMapping/>
  </p:clrMapOvr>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Koroste elementeilla 2">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FA6CDF46-123E-E984-101A-26CEBA96BF0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275855">
            <a:off x="9635249" y="-843780"/>
            <a:ext cx="2857500" cy="2857500"/>
          </a:xfrm>
          <a:prstGeom prst="rect">
            <a:avLst/>
          </a:prstGeom>
        </p:spPr>
      </p:pic>
      <p:sp>
        <p:nvSpPr>
          <p:cNvPr id="3" name="Content Placeholder 2"/>
          <p:cNvSpPr>
            <a:spLocks noGrp="1"/>
          </p:cNvSpPr>
          <p:nvPr>
            <p:ph idx="1" hasCustomPrompt="1"/>
          </p:nvPr>
        </p:nvSpPr>
        <p:spPr>
          <a:xfrm>
            <a:off x="838200" y="3297403"/>
            <a:ext cx="3107197" cy="674530"/>
          </a:xfrm>
          <a:prstGeom prst="rect">
            <a:avLst/>
          </a:prstGeom>
        </p:spPr>
        <p:txBody>
          <a:bodyPr>
            <a:noAutofit/>
          </a:bodyPr>
          <a:lstStyle>
            <a:lvl1pPr marL="0" indent="0">
              <a:lnSpc>
                <a:spcPct val="100000"/>
              </a:lnSpc>
              <a:spcBef>
                <a:spcPts val="0"/>
              </a:spcBef>
              <a:buFontTx/>
              <a:buNone/>
              <a:defRPr sz="2000" b="1">
                <a:solidFill>
                  <a:srgbClr val="450099"/>
                </a:solidFill>
                <a:latin typeface="Poppins" pitchFamily="2" charset="77"/>
                <a:cs typeface="Poppins" pitchFamily="2" charset="77"/>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a:t>Teksti</a:t>
            </a:r>
          </a:p>
        </p:txBody>
      </p:sp>
      <p:sp>
        <p:nvSpPr>
          <p:cNvPr id="19" name="Text Placeholder 18"/>
          <p:cNvSpPr>
            <a:spLocks noGrp="1"/>
          </p:cNvSpPr>
          <p:nvPr>
            <p:ph type="body" sz="quarter" idx="16"/>
          </p:nvPr>
        </p:nvSpPr>
        <p:spPr>
          <a:xfrm>
            <a:off x="846669" y="3986220"/>
            <a:ext cx="3098731" cy="2052745"/>
          </a:xfrm>
          <a:prstGeom prst="rect">
            <a:avLst/>
          </a:prstGeom>
        </p:spPr>
        <p:txBody>
          <a:bodyPr>
            <a:noAutofit/>
          </a:bodyPr>
          <a:lstStyle>
            <a:lvl1pPr marL="0" indent="0">
              <a:buFontTx/>
              <a:buNone/>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6" name="Rectangle 5">
            <a:extLst>
              <a:ext uri="{FF2B5EF4-FFF2-40B4-BE49-F238E27FC236}">
                <a16:creationId xmlns:a16="http://schemas.microsoft.com/office/drawing/2014/main" id="{60E58EF1-FD15-A342-94AD-D6B78BAD3EDC}"/>
              </a:ext>
            </a:extLst>
          </p:cNvPr>
          <p:cNvSpPr/>
          <p:nvPr/>
        </p:nvSpPr>
        <p:spPr>
          <a:xfrm>
            <a:off x="945776" y="2048404"/>
            <a:ext cx="1134000" cy="1134000"/>
          </a:xfrm>
          <a:prstGeom prst="rect">
            <a:avLst/>
          </a:prstGeom>
          <a:solidFill>
            <a:srgbClr val="45009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26" name="Rectangle 25">
            <a:extLst>
              <a:ext uri="{FF2B5EF4-FFF2-40B4-BE49-F238E27FC236}">
                <a16:creationId xmlns:a16="http://schemas.microsoft.com/office/drawing/2014/main" id="{AAEB9AE4-3CD1-1B41-AD59-5F6BC614C35E}"/>
              </a:ext>
            </a:extLst>
          </p:cNvPr>
          <p:cNvSpPr/>
          <p:nvPr/>
        </p:nvSpPr>
        <p:spPr>
          <a:xfrm>
            <a:off x="4589943" y="2039402"/>
            <a:ext cx="1134000" cy="1134000"/>
          </a:xfrm>
          <a:prstGeom prst="rect">
            <a:avLst/>
          </a:prstGeom>
          <a:solidFill>
            <a:srgbClr val="45009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28" name="Rectangle 27">
            <a:extLst>
              <a:ext uri="{FF2B5EF4-FFF2-40B4-BE49-F238E27FC236}">
                <a16:creationId xmlns:a16="http://schemas.microsoft.com/office/drawing/2014/main" id="{39540608-72D2-A741-8B13-CAD9FF5C8B51}"/>
              </a:ext>
            </a:extLst>
          </p:cNvPr>
          <p:cNvSpPr/>
          <p:nvPr/>
        </p:nvSpPr>
        <p:spPr>
          <a:xfrm>
            <a:off x="8256696" y="2042696"/>
            <a:ext cx="1134000" cy="1134000"/>
          </a:xfrm>
          <a:prstGeom prst="rect">
            <a:avLst/>
          </a:prstGeom>
          <a:solidFill>
            <a:srgbClr val="45009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5" name="Title 1">
            <a:extLst>
              <a:ext uri="{FF2B5EF4-FFF2-40B4-BE49-F238E27FC236}">
                <a16:creationId xmlns:a16="http://schemas.microsoft.com/office/drawing/2014/main" id="{0D2A51BF-47AC-3C5A-55FE-4FD43B2E32AD}"/>
              </a:ext>
            </a:extLst>
          </p:cNvPr>
          <p:cNvSpPr>
            <a:spLocks noGrp="1"/>
          </p:cNvSpPr>
          <p:nvPr>
            <p:ph type="title"/>
          </p:nvPr>
        </p:nvSpPr>
        <p:spPr>
          <a:xfrm>
            <a:off x="838200" y="681037"/>
            <a:ext cx="10515600" cy="1009651"/>
          </a:xfrm>
        </p:spPr>
        <p:txBody>
          <a:bodyPr>
            <a:noAutofit/>
          </a:bodyPr>
          <a:lstStyle>
            <a:lvl1pPr>
              <a:lnSpc>
                <a:spcPct val="100000"/>
              </a:lnSpc>
              <a:buFontTx/>
              <a:buNone/>
              <a:defRPr b="1" i="0">
                <a:solidFill>
                  <a:srgbClr val="450099"/>
                </a:solidFill>
                <a:latin typeface="Poppins" pitchFamily="2" charset="77"/>
                <a:cs typeface="Poppins" pitchFamily="2" charset="77"/>
              </a:defRPr>
            </a:lvl1pPr>
          </a:lstStyle>
          <a:p>
            <a:r>
              <a:rPr lang="fi-FI"/>
              <a:t>Muokkaa ots. perustyyl. napsautt.</a:t>
            </a:r>
          </a:p>
        </p:txBody>
      </p:sp>
      <p:sp>
        <p:nvSpPr>
          <p:cNvPr id="7" name="Content Placeholder 2">
            <a:extLst>
              <a:ext uri="{FF2B5EF4-FFF2-40B4-BE49-F238E27FC236}">
                <a16:creationId xmlns:a16="http://schemas.microsoft.com/office/drawing/2014/main" id="{FAE80A10-6B75-C3F7-DAD7-01D2B7C688FD}"/>
              </a:ext>
            </a:extLst>
          </p:cNvPr>
          <p:cNvSpPr>
            <a:spLocks noGrp="1"/>
          </p:cNvSpPr>
          <p:nvPr>
            <p:ph idx="28" hasCustomPrompt="1"/>
          </p:nvPr>
        </p:nvSpPr>
        <p:spPr>
          <a:xfrm>
            <a:off x="4460628" y="3291473"/>
            <a:ext cx="3107197" cy="674530"/>
          </a:xfrm>
          <a:prstGeom prst="rect">
            <a:avLst/>
          </a:prstGeom>
        </p:spPr>
        <p:txBody>
          <a:bodyPr>
            <a:noAutofit/>
          </a:bodyPr>
          <a:lstStyle>
            <a:lvl1pPr marL="0" indent="0">
              <a:lnSpc>
                <a:spcPct val="100000"/>
              </a:lnSpc>
              <a:spcBef>
                <a:spcPts val="0"/>
              </a:spcBef>
              <a:buFontTx/>
              <a:buNone/>
              <a:defRPr sz="2000" b="1">
                <a:solidFill>
                  <a:srgbClr val="450099"/>
                </a:solidFill>
                <a:latin typeface="Poppins" pitchFamily="2" charset="77"/>
                <a:cs typeface="Poppins" pitchFamily="2" charset="77"/>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a:t>Teksti</a:t>
            </a:r>
          </a:p>
        </p:txBody>
      </p:sp>
      <p:sp>
        <p:nvSpPr>
          <p:cNvPr id="8" name="Text Placeholder 18">
            <a:extLst>
              <a:ext uri="{FF2B5EF4-FFF2-40B4-BE49-F238E27FC236}">
                <a16:creationId xmlns:a16="http://schemas.microsoft.com/office/drawing/2014/main" id="{07648512-503D-274B-0D98-6C49A68D51BF}"/>
              </a:ext>
            </a:extLst>
          </p:cNvPr>
          <p:cNvSpPr>
            <a:spLocks noGrp="1"/>
          </p:cNvSpPr>
          <p:nvPr>
            <p:ph type="body" sz="quarter" idx="29"/>
          </p:nvPr>
        </p:nvSpPr>
        <p:spPr>
          <a:xfrm>
            <a:off x="4469097" y="3980290"/>
            <a:ext cx="3098731" cy="2052745"/>
          </a:xfrm>
          <a:prstGeom prst="rect">
            <a:avLst/>
          </a:prstGeom>
        </p:spPr>
        <p:txBody>
          <a:bodyPr>
            <a:noAutofit/>
          </a:bodyPr>
          <a:lstStyle>
            <a:lvl1pPr marL="0" indent="0">
              <a:buFontTx/>
              <a:buNone/>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9" name="Content Placeholder 2">
            <a:extLst>
              <a:ext uri="{FF2B5EF4-FFF2-40B4-BE49-F238E27FC236}">
                <a16:creationId xmlns:a16="http://schemas.microsoft.com/office/drawing/2014/main" id="{628A20F2-4A82-735B-BF14-A09F78001571}"/>
              </a:ext>
            </a:extLst>
          </p:cNvPr>
          <p:cNvSpPr>
            <a:spLocks noGrp="1"/>
          </p:cNvSpPr>
          <p:nvPr>
            <p:ph idx="30" hasCustomPrompt="1"/>
          </p:nvPr>
        </p:nvSpPr>
        <p:spPr>
          <a:xfrm>
            <a:off x="8120702" y="3291473"/>
            <a:ext cx="3107197" cy="674530"/>
          </a:xfrm>
          <a:prstGeom prst="rect">
            <a:avLst/>
          </a:prstGeom>
        </p:spPr>
        <p:txBody>
          <a:bodyPr>
            <a:noAutofit/>
          </a:bodyPr>
          <a:lstStyle>
            <a:lvl1pPr marL="0" indent="0">
              <a:lnSpc>
                <a:spcPct val="100000"/>
              </a:lnSpc>
              <a:spcBef>
                <a:spcPts val="0"/>
              </a:spcBef>
              <a:buFontTx/>
              <a:buNone/>
              <a:defRPr sz="2000" b="1">
                <a:solidFill>
                  <a:srgbClr val="450099"/>
                </a:solidFill>
                <a:latin typeface="Poppins" pitchFamily="2" charset="77"/>
                <a:cs typeface="Poppins" pitchFamily="2" charset="77"/>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a:t>Teksti</a:t>
            </a:r>
          </a:p>
        </p:txBody>
      </p:sp>
      <p:sp>
        <p:nvSpPr>
          <p:cNvPr id="10" name="Text Placeholder 18">
            <a:extLst>
              <a:ext uri="{FF2B5EF4-FFF2-40B4-BE49-F238E27FC236}">
                <a16:creationId xmlns:a16="http://schemas.microsoft.com/office/drawing/2014/main" id="{0B19543D-5A8B-B9E4-91DB-460E3FD2CA23}"/>
              </a:ext>
            </a:extLst>
          </p:cNvPr>
          <p:cNvSpPr>
            <a:spLocks noGrp="1"/>
          </p:cNvSpPr>
          <p:nvPr>
            <p:ph type="body" sz="quarter" idx="31"/>
          </p:nvPr>
        </p:nvSpPr>
        <p:spPr>
          <a:xfrm>
            <a:off x="8129171" y="3980290"/>
            <a:ext cx="3098731" cy="2052745"/>
          </a:xfrm>
          <a:prstGeom prst="rect">
            <a:avLst/>
          </a:prstGeom>
        </p:spPr>
        <p:txBody>
          <a:bodyPr>
            <a:noAutofit/>
          </a:bodyPr>
          <a:lstStyle>
            <a:lvl1pPr marL="0" indent="0">
              <a:buFontTx/>
              <a:buNone/>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1" name="Päivämäärän paikkamerkki 3">
            <a:extLst>
              <a:ext uri="{FF2B5EF4-FFF2-40B4-BE49-F238E27FC236}">
                <a16:creationId xmlns:a16="http://schemas.microsoft.com/office/drawing/2014/main" id="{C1E17CF8-0CE9-1E4D-8630-637AF7D075C9}"/>
              </a:ext>
            </a:extLst>
          </p:cNvPr>
          <p:cNvSpPr>
            <a:spLocks noGrp="1"/>
          </p:cNvSpPr>
          <p:nvPr>
            <p:ph type="dt" sz="half" idx="14"/>
          </p:nvPr>
        </p:nvSpPr>
        <p:spPr>
          <a:xfrm>
            <a:off x="838200" y="6356350"/>
            <a:ext cx="2743200" cy="365125"/>
          </a:xfrm>
        </p:spPr>
        <p:txBody>
          <a:bodyPr/>
          <a:lstStyle>
            <a:lvl1pPr>
              <a:buFontTx/>
              <a:buNone/>
              <a:defRPr/>
            </a:lvl1pPr>
          </a:lstStyle>
          <a:p>
            <a:endParaRPr lang="fi-FI" dirty="0"/>
          </a:p>
        </p:txBody>
      </p:sp>
      <p:sp>
        <p:nvSpPr>
          <p:cNvPr id="12" name="Alatunnisteen paikkamerkki 4">
            <a:extLst>
              <a:ext uri="{FF2B5EF4-FFF2-40B4-BE49-F238E27FC236}">
                <a16:creationId xmlns:a16="http://schemas.microsoft.com/office/drawing/2014/main" id="{CA1DF0EC-E08D-B6D2-34FE-8482B8880D08}"/>
              </a:ext>
            </a:extLst>
          </p:cNvPr>
          <p:cNvSpPr>
            <a:spLocks noGrp="1"/>
          </p:cNvSpPr>
          <p:nvPr>
            <p:ph type="ftr" sz="quarter" idx="15"/>
          </p:nvPr>
        </p:nvSpPr>
        <p:spPr>
          <a:xfrm>
            <a:off x="4038600" y="6356350"/>
            <a:ext cx="4114800" cy="365125"/>
          </a:xfrm>
        </p:spPr>
        <p:txBody>
          <a:bodyPr/>
          <a:lstStyle>
            <a:lvl1pPr>
              <a:buFontTx/>
              <a:buNone/>
              <a:defRPr/>
            </a:lvl1pPr>
          </a:lstStyle>
          <a:p>
            <a:r>
              <a:rPr lang="fi-FI"/>
              <a:t>7</a:t>
            </a:r>
          </a:p>
        </p:txBody>
      </p:sp>
      <p:pic>
        <p:nvPicPr>
          <p:cNvPr id="13" name="Kuva 12">
            <a:extLst>
              <a:ext uri="{FF2B5EF4-FFF2-40B4-BE49-F238E27FC236}">
                <a16:creationId xmlns:a16="http://schemas.microsoft.com/office/drawing/2014/main" id="{E212F4D0-C56F-CE71-A3A8-6D5638D025D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275855">
            <a:off x="9635249" y="-843780"/>
            <a:ext cx="2857500" cy="2857500"/>
          </a:xfrm>
          <a:prstGeom prst="rect">
            <a:avLst/>
          </a:prstGeom>
        </p:spPr>
      </p:pic>
      <p:sp>
        <p:nvSpPr>
          <p:cNvPr id="14" name="Rectangle 5">
            <a:extLst>
              <a:ext uri="{FF2B5EF4-FFF2-40B4-BE49-F238E27FC236}">
                <a16:creationId xmlns:a16="http://schemas.microsoft.com/office/drawing/2014/main" id="{9A54FB94-8ACF-7263-2585-769F0BB4138B}"/>
              </a:ext>
            </a:extLst>
          </p:cNvPr>
          <p:cNvSpPr/>
          <p:nvPr/>
        </p:nvSpPr>
        <p:spPr>
          <a:xfrm>
            <a:off x="945776" y="2048404"/>
            <a:ext cx="1134000" cy="1134000"/>
          </a:xfrm>
          <a:prstGeom prst="rect">
            <a:avLst/>
          </a:prstGeom>
          <a:solidFill>
            <a:srgbClr val="45009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15" name="Rectangle 25">
            <a:extLst>
              <a:ext uri="{FF2B5EF4-FFF2-40B4-BE49-F238E27FC236}">
                <a16:creationId xmlns:a16="http://schemas.microsoft.com/office/drawing/2014/main" id="{6C5BCD7B-21FC-21EE-8F3B-E90677BD53DE}"/>
              </a:ext>
            </a:extLst>
          </p:cNvPr>
          <p:cNvSpPr/>
          <p:nvPr/>
        </p:nvSpPr>
        <p:spPr>
          <a:xfrm>
            <a:off x="4589943" y="2039402"/>
            <a:ext cx="1134000" cy="1134000"/>
          </a:xfrm>
          <a:prstGeom prst="rect">
            <a:avLst/>
          </a:prstGeom>
          <a:solidFill>
            <a:srgbClr val="45009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16" name="Rectangle 27">
            <a:extLst>
              <a:ext uri="{FF2B5EF4-FFF2-40B4-BE49-F238E27FC236}">
                <a16:creationId xmlns:a16="http://schemas.microsoft.com/office/drawing/2014/main" id="{C7BBE041-2BA4-EC2E-37E4-9E00E2DEF8D6}"/>
              </a:ext>
            </a:extLst>
          </p:cNvPr>
          <p:cNvSpPr/>
          <p:nvPr/>
        </p:nvSpPr>
        <p:spPr>
          <a:xfrm>
            <a:off x="8256696" y="2042696"/>
            <a:ext cx="1134000" cy="1134000"/>
          </a:xfrm>
          <a:prstGeom prst="rect">
            <a:avLst/>
          </a:prstGeom>
          <a:solidFill>
            <a:srgbClr val="45009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pic>
        <p:nvPicPr>
          <p:cNvPr id="18" name="Graphic 18">
            <a:extLst>
              <a:ext uri="{FF2B5EF4-FFF2-40B4-BE49-F238E27FC236}">
                <a16:creationId xmlns:a16="http://schemas.microsoft.com/office/drawing/2014/main" id="{B305D864-02C9-7C89-631B-FC4C7D2CC1D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2064937004"/>
      </p:ext>
    </p:extLst>
  </p:cSld>
  <p:clrMapOvr>
    <a:masterClrMapping/>
  </p:clrMapOvr>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Numerointi lista">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9F892356-13FD-7743-49B6-6CAA3EEDAAD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275855">
            <a:off x="9635249" y="-843780"/>
            <a:ext cx="2857500" cy="2857500"/>
          </a:xfrm>
          <a:prstGeom prst="rect">
            <a:avLst/>
          </a:prstGeom>
        </p:spPr>
      </p:pic>
      <p:sp>
        <p:nvSpPr>
          <p:cNvPr id="19" name="Text Placeholder 18"/>
          <p:cNvSpPr>
            <a:spLocks noGrp="1"/>
          </p:cNvSpPr>
          <p:nvPr>
            <p:ph type="body" sz="quarter" idx="16"/>
          </p:nvPr>
        </p:nvSpPr>
        <p:spPr>
          <a:xfrm>
            <a:off x="2223821" y="2040205"/>
            <a:ext cx="9125958"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5" name="Text Placeholder 18"/>
          <p:cNvSpPr>
            <a:spLocks noGrp="1"/>
          </p:cNvSpPr>
          <p:nvPr>
            <p:ph type="body" sz="quarter" idx="17"/>
          </p:nvPr>
        </p:nvSpPr>
        <p:spPr>
          <a:xfrm>
            <a:off x="2228851" y="3489558"/>
            <a:ext cx="9125958"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6" name="Text Placeholder 18"/>
          <p:cNvSpPr>
            <a:spLocks noGrp="1"/>
          </p:cNvSpPr>
          <p:nvPr>
            <p:ph type="body" sz="quarter" idx="18"/>
          </p:nvPr>
        </p:nvSpPr>
        <p:spPr>
          <a:xfrm>
            <a:off x="2215864" y="4917828"/>
            <a:ext cx="9125958" cy="1107047"/>
          </a:xfrm>
          <a:prstGeom prst="rect">
            <a:avLst/>
          </a:prstGeom>
        </p:spPr>
        <p:txBody>
          <a:bodyPr>
            <a:noAutofit/>
          </a:bodyPr>
          <a:lstStyle>
            <a:lvl1pPr>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2" name="Rectangle 11">
            <a:extLst>
              <a:ext uri="{FF2B5EF4-FFF2-40B4-BE49-F238E27FC236}">
                <a16:creationId xmlns:a16="http://schemas.microsoft.com/office/drawing/2014/main" id="{901ADF76-DB4B-8A40-876C-507823A91007}"/>
              </a:ext>
            </a:extLst>
          </p:cNvPr>
          <p:cNvSpPr/>
          <p:nvPr/>
        </p:nvSpPr>
        <p:spPr>
          <a:xfrm>
            <a:off x="826047" y="2040070"/>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0" name="Rectangle 19">
            <a:extLst>
              <a:ext uri="{FF2B5EF4-FFF2-40B4-BE49-F238E27FC236}">
                <a16:creationId xmlns:a16="http://schemas.microsoft.com/office/drawing/2014/main" id="{5058EC07-1235-BC40-A1A8-934AC8DA6C18}"/>
              </a:ext>
            </a:extLst>
          </p:cNvPr>
          <p:cNvSpPr/>
          <p:nvPr/>
        </p:nvSpPr>
        <p:spPr>
          <a:xfrm>
            <a:off x="826047" y="3487916"/>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8" name="Text Placeholder 7">
            <a:extLst>
              <a:ext uri="{FF2B5EF4-FFF2-40B4-BE49-F238E27FC236}">
                <a16:creationId xmlns:a16="http://schemas.microsoft.com/office/drawing/2014/main" id="{4B32DAA0-F5C6-9547-B6DD-BB64BD332CE6}"/>
              </a:ext>
            </a:extLst>
          </p:cNvPr>
          <p:cNvSpPr>
            <a:spLocks noGrp="1"/>
          </p:cNvSpPr>
          <p:nvPr>
            <p:ph type="body" sz="quarter" idx="25" hasCustomPrompt="1"/>
          </p:nvPr>
        </p:nvSpPr>
        <p:spPr>
          <a:xfrm>
            <a:off x="809782" y="2250433"/>
            <a:ext cx="1150265" cy="729943"/>
          </a:xfrm>
        </p:spPr>
        <p:txBody>
          <a:bodyPr anchor="ctr" anchorCtr="1">
            <a:noAutofit/>
          </a:bodyPr>
          <a:lstStyle>
            <a:lvl1pPr algn="ctr">
              <a:lnSpc>
                <a:spcPct val="100000"/>
              </a:lnSpc>
              <a:defRPr sz="6000" b="1" i="0">
                <a:solidFill>
                  <a:srgbClr val="B8CDFF"/>
                </a:solidFill>
                <a:latin typeface="Arial Black" panose="020B0604020202020204" pitchFamily="34" charset="0"/>
                <a:cs typeface="Arial Black" panose="020B0604020202020204" pitchFamily="34" charset="0"/>
              </a:defRPr>
            </a:lvl1pPr>
          </a:lstStyle>
          <a:p>
            <a:pPr lvl="0"/>
            <a:r>
              <a:rPr lang="fi-FI"/>
              <a:t>X</a:t>
            </a:r>
          </a:p>
        </p:txBody>
      </p:sp>
      <p:sp>
        <p:nvSpPr>
          <p:cNvPr id="21" name="Text Placeholder 7">
            <a:extLst>
              <a:ext uri="{FF2B5EF4-FFF2-40B4-BE49-F238E27FC236}">
                <a16:creationId xmlns:a16="http://schemas.microsoft.com/office/drawing/2014/main" id="{9255B65B-4647-3842-84C3-26EF2D6E0FD3}"/>
              </a:ext>
            </a:extLst>
          </p:cNvPr>
          <p:cNvSpPr>
            <a:spLocks noGrp="1"/>
          </p:cNvSpPr>
          <p:nvPr>
            <p:ph type="body" sz="quarter" idx="27" hasCustomPrompt="1"/>
          </p:nvPr>
        </p:nvSpPr>
        <p:spPr>
          <a:xfrm>
            <a:off x="807041" y="3693188"/>
            <a:ext cx="1150265" cy="729943"/>
          </a:xfrm>
        </p:spPr>
        <p:txBody>
          <a:bodyPr anchor="ctr" anchorCtr="1">
            <a:noAutofit/>
          </a:bodyPr>
          <a:lstStyle>
            <a:lvl1pPr algn="ctr">
              <a:lnSpc>
                <a:spcPct val="100000"/>
              </a:lnSpc>
              <a:defRPr sz="6000" b="1" i="0">
                <a:solidFill>
                  <a:srgbClr val="B8CDFF"/>
                </a:solidFill>
                <a:latin typeface="Arial Black" panose="020B0604020202020204" pitchFamily="34" charset="0"/>
                <a:cs typeface="Arial Black" panose="020B0604020202020204" pitchFamily="34" charset="0"/>
              </a:defRPr>
            </a:lvl1pPr>
          </a:lstStyle>
          <a:p>
            <a:pPr lvl="0"/>
            <a:r>
              <a:rPr lang="fi-FI"/>
              <a:t>X</a:t>
            </a:r>
          </a:p>
        </p:txBody>
      </p:sp>
      <p:sp>
        <p:nvSpPr>
          <p:cNvPr id="23" name="Rectangle 19">
            <a:extLst>
              <a:ext uri="{FF2B5EF4-FFF2-40B4-BE49-F238E27FC236}">
                <a16:creationId xmlns:a16="http://schemas.microsoft.com/office/drawing/2014/main" id="{65AA31A2-6B5C-F947-AA38-F06325031936}"/>
              </a:ext>
            </a:extLst>
          </p:cNvPr>
          <p:cNvSpPr/>
          <p:nvPr/>
        </p:nvSpPr>
        <p:spPr>
          <a:xfrm>
            <a:off x="807041" y="4935762"/>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6" name="Text Placeholder 7">
            <a:extLst>
              <a:ext uri="{FF2B5EF4-FFF2-40B4-BE49-F238E27FC236}">
                <a16:creationId xmlns:a16="http://schemas.microsoft.com/office/drawing/2014/main" id="{3AC7388E-F3E9-4345-A6C8-404F7BC56038}"/>
              </a:ext>
            </a:extLst>
          </p:cNvPr>
          <p:cNvSpPr>
            <a:spLocks noGrp="1"/>
          </p:cNvSpPr>
          <p:nvPr>
            <p:ph type="body" sz="quarter" idx="28" hasCustomPrompt="1"/>
          </p:nvPr>
        </p:nvSpPr>
        <p:spPr>
          <a:xfrm>
            <a:off x="788035" y="5141034"/>
            <a:ext cx="1150265" cy="729943"/>
          </a:xfrm>
        </p:spPr>
        <p:txBody>
          <a:bodyPr anchor="ctr" anchorCtr="1">
            <a:noAutofit/>
          </a:bodyPr>
          <a:lstStyle>
            <a:lvl1pPr algn="ctr">
              <a:lnSpc>
                <a:spcPct val="100000"/>
              </a:lnSpc>
              <a:defRPr sz="6000" b="1" i="0">
                <a:solidFill>
                  <a:srgbClr val="B8CDFF"/>
                </a:solidFill>
                <a:latin typeface="Arial Black" panose="020B0604020202020204" pitchFamily="34" charset="0"/>
                <a:cs typeface="Arial Black" panose="020B0604020202020204" pitchFamily="34" charset="0"/>
              </a:defRPr>
            </a:lvl1pPr>
          </a:lstStyle>
          <a:p>
            <a:pPr lvl="0"/>
            <a:r>
              <a:rPr lang="fi-FI"/>
              <a:t>X</a:t>
            </a:r>
          </a:p>
        </p:txBody>
      </p:sp>
      <p:sp>
        <p:nvSpPr>
          <p:cNvPr id="5" name="Title 1">
            <a:extLst>
              <a:ext uri="{FF2B5EF4-FFF2-40B4-BE49-F238E27FC236}">
                <a16:creationId xmlns:a16="http://schemas.microsoft.com/office/drawing/2014/main" id="{80E17F60-8187-1BCF-F70A-3E17425AE1EC}"/>
              </a:ext>
            </a:extLst>
          </p:cNvPr>
          <p:cNvSpPr>
            <a:spLocks noGrp="1"/>
          </p:cNvSpPr>
          <p:nvPr>
            <p:ph type="title"/>
          </p:nvPr>
        </p:nvSpPr>
        <p:spPr>
          <a:xfrm>
            <a:off x="838200" y="681037"/>
            <a:ext cx="10515600" cy="1009651"/>
          </a:xfrm>
        </p:spPr>
        <p:txBody>
          <a:bodyPr>
            <a:noAutofit/>
          </a:bodyPr>
          <a:lstStyle>
            <a:lvl1pPr>
              <a:lnSpc>
                <a:spcPct val="100000"/>
              </a:lnSpc>
              <a:defRPr b="1" i="0">
                <a:solidFill>
                  <a:srgbClr val="152A96"/>
                </a:solidFill>
                <a:latin typeface="Poppins" pitchFamily="2" charset="77"/>
                <a:cs typeface="Poppins" pitchFamily="2" charset="77"/>
              </a:defRPr>
            </a:lvl1pPr>
          </a:lstStyle>
          <a:p>
            <a:r>
              <a:rPr lang="fi-FI"/>
              <a:t>Muokkaa ots. perustyyl. napsautt.</a:t>
            </a:r>
          </a:p>
        </p:txBody>
      </p:sp>
      <p:sp>
        <p:nvSpPr>
          <p:cNvPr id="6" name="Päivämäärän paikkamerkki 3">
            <a:extLst>
              <a:ext uri="{FF2B5EF4-FFF2-40B4-BE49-F238E27FC236}">
                <a16:creationId xmlns:a16="http://schemas.microsoft.com/office/drawing/2014/main" id="{28CAF184-4CD7-CC33-1C8B-53119DEA4EBE}"/>
              </a:ext>
            </a:extLst>
          </p:cNvPr>
          <p:cNvSpPr>
            <a:spLocks noGrp="1"/>
          </p:cNvSpPr>
          <p:nvPr>
            <p:ph type="dt" sz="half" idx="14"/>
          </p:nvPr>
        </p:nvSpPr>
        <p:spPr>
          <a:xfrm>
            <a:off x="838200" y="6356350"/>
            <a:ext cx="2743200" cy="365125"/>
          </a:xfrm>
        </p:spPr>
        <p:txBody>
          <a:bodyPr/>
          <a:lstStyle/>
          <a:p>
            <a:endParaRPr lang="fi-FI" dirty="0"/>
          </a:p>
        </p:txBody>
      </p:sp>
      <p:sp>
        <p:nvSpPr>
          <p:cNvPr id="7" name="Alatunnisteen paikkamerkki 4">
            <a:extLst>
              <a:ext uri="{FF2B5EF4-FFF2-40B4-BE49-F238E27FC236}">
                <a16:creationId xmlns:a16="http://schemas.microsoft.com/office/drawing/2014/main" id="{FB046838-061A-55EC-10B0-3140C36CDBF1}"/>
              </a:ext>
            </a:extLst>
          </p:cNvPr>
          <p:cNvSpPr>
            <a:spLocks noGrp="1"/>
          </p:cNvSpPr>
          <p:nvPr>
            <p:ph type="ftr" sz="quarter" idx="15"/>
          </p:nvPr>
        </p:nvSpPr>
        <p:spPr>
          <a:xfrm>
            <a:off x="4038600" y="6356350"/>
            <a:ext cx="4114800" cy="365125"/>
          </a:xfrm>
        </p:spPr>
        <p:txBody>
          <a:bodyPr/>
          <a:lstStyle/>
          <a:p>
            <a:r>
              <a:rPr lang="fi-FI"/>
              <a:t>7</a:t>
            </a:r>
          </a:p>
        </p:txBody>
      </p:sp>
      <p:pic>
        <p:nvPicPr>
          <p:cNvPr id="2" name="Kuva 1">
            <a:extLst>
              <a:ext uri="{FF2B5EF4-FFF2-40B4-BE49-F238E27FC236}">
                <a16:creationId xmlns:a16="http://schemas.microsoft.com/office/drawing/2014/main" id="{927DF12D-73B9-29C1-69C6-CBD62257E69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275855">
            <a:off x="9635249" y="-843780"/>
            <a:ext cx="2857500" cy="2857500"/>
          </a:xfrm>
          <a:prstGeom prst="rect">
            <a:avLst/>
          </a:prstGeom>
        </p:spPr>
      </p:pic>
      <p:sp>
        <p:nvSpPr>
          <p:cNvPr id="3" name="Rectangle 11">
            <a:extLst>
              <a:ext uri="{FF2B5EF4-FFF2-40B4-BE49-F238E27FC236}">
                <a16:creationId xmlns:a16="http://schemas.microsoft.com/office/drawing/2014/main" id="{C965BFED-6161-CFDC-AF60-F483B8FFB216}"/>
              </a:ext>
            </a:extLst>
          </p:cNvPr>
          <p:cNvSpPr/>
          <p:nvPr/>
        </p:nvSpPr>
        <p:spPr>
          <a:xfrm>
            <a:off x="826047" y="2040070"/>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Rectangle 19">
            <a:extLst>
              <a:ext uri="{FF2B5EF4-FFF2-40B4-BE49-F238E27FC236}">
                <a16:creationId xmlns:a16="http://schemas.microsoft.com/office/drawing/2014/main" id="{18FC0E4A-7253-629F-80BC-21B626ED2935}"/>
              </a:ext>
            </a:extLst>
          </p:cNvPr>
          <p:cNvSpPr/>
          <p:nvPr/>
        </p:nvSpPr>
        <p:spPr>
          <a:xfrm>
            <a:off x="826047" y="3487916"/>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9" name="Rectangle 19">
            <a:extLst>
              <a:ext uri="{FF2B5EF4-FFF2-40B4-BE49-F238E27FC236}">
                <a16:creationId xmlns:a16="http://schemas.microsoft.com/office/drawing/2014/main" id="{577315CC-0CFA-F895-7727-4E77EE9FDC11}"/>
              </a:ext>
            </a:extLst>
          </p:cNvPr>
          <p:cNvSpPr/>
          <p:nvPr/>
        </p:nvSpPr>
        <p:spPr>
          <a:xfrm>
            <a:off x="807041" y="4935762"/>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9851037"/>
      </p:ext>
    </p:extLst>
  </p:cSld>
  <p:clrMapOvr>
    <a:masterClrMapping/>
  </p:clrMapOvr>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Lista">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01ADF76-DB4B-8A40-876C-507823A91007}"/>
              </a:ext>
            </a:extLst>
          </p:cNvPr>
          <p:cNvSpPr/>
          <p:nvPr/>
        </p:nvSpPr>
        <p:spPr>
          <a:xfrm>
            <a:off x="826047" y="2040070"/>
            <a:ext cx="1134000" cy="1134000"/>
          </a:xfrm>
          <a:prstGeom prst="rect">
            <a:avLst/>
          </a:prstGeom>
          <a:solidFill>
            <a:srgbClr val="152B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indent="0" algn="ctr">
              <a:buFontTx/>
              <a:buNone/>
            </a:pPr>
            <a:endParaRPr lang="fi-FI"/>
          </a:p>
        </p:txBody>
      </p:sp>
      <p:sp>
        <p:nvSpPr>
          <p:cNvPr id="20" name="Rectangle 19">
            <a:extLst>
              <a:ext uri="{FF2B5EF4-FFF2-40B4-BE49-F238E27FC236}">
                <a16:creationId xmlns:a16="http://schemas.microsoft.com/office/drawing/2014/main" id="{5058EC07-1235-BC40-A1A8-934AC8DA6C18}"/>
              </a:ext>
            </a:extLst>
          </p:cNvPr>
          <p:cNvSpPr/>
          <p:nvPr/>
        </p:nvSpPr>
        <p:spPr>
          <a:xfrm>
            <a:off x="826047" y="3487916"/>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indent="0" algn="ctr">
              <a:buFontTx/>
              <a:buNone/>
            </a:pPr>
            <a:endParaRPr lang="fi-FI"/>
          </a:p>
        </p:txBody>
      </p:sp>
      <p:sp>
        <p:nvSpPr>
          <p:cNvPr id="22" name="Rectangle 21">
            <a:extLst>
              <a:ext uri="{FF2B5EF4-FFF2-40B4-BE49-F238E27FC236}">
                <a16:creationId xmlns:a16="http://schemas.microsoft.com/office/drawing/2014/main" id="{7E2A9DBA-6CCF-F34E-ADC2-DA0ED39C4D99}"/>
              </a:ext>
            </a:extLst>
          </p:cNvPr>
          <p:cNvSpPr/>
          <p:nvPr/>
        </p:nvSpPr>
        <p:spPr>
          <a:xfrm>
            <a:off x="826641" y="4926091"/>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indent="0" algn="ctr">
              <a:buFontTx/>
              <a:buNone/>
            </a:pPr>
            <a:endParaRPr lang="fi-FI"/>
          </a:p>
        </p:txBody>
      </p:sp>
      <p:sp>
        <p:nvSpPr>
          <p:cNvPr id="13" name="Text Placeholder 18">
            <a:extLst>
              <a:ext uri="{FF2B5EF4-FFF2-40B4-BE49-F238E27FC236}">
                <a16:creationId xmlns:a16="http://schemas.microsoft.com/office/drawing/2014/main" id="{3FD108DD-485D-2549-9877-EFDA18A38E95}"/>
              </a:ext>
            </a:extLst>
          </p:cNvPr>
          <p:cNvSpPr>
            <a:spLocks noGrp="1"/>
          </p:cNvSpPr>
          <p:nvPr>
            <p:ph type="body" sz="quarter" idx="16"/>
          </p:nvPr>
        </p:nvSpPr>
        <p:spPr>
          <a:xfrm>
            <a:off x="2223821" y="2040205"/>
            <a:ext cx="9125958" cy="1107047"/>
          </a:xfrm>
          <a:prstGeom prst="rect">
            <a:avLst/>
          </a:prstGeom>
        </p:spPr>
        <p:txBody>
          <a:bodyPr>
            <a:noAutofit/>
          </a:bodyPr>
          <a:lstStyle>
            <a:lvl1pPr marL="0" indent="0">
              <a:buFontTx/>
              <a:buNone/>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7" name="Text Placeholder 18">
            <a:extLst>
              <a:ext uri="{FF2B5EF4-FFF2-40B4-BE49-F238E27FC236}">
                <a16:creationId xmlns:a16="http://schemas.microsoft.com/office/drawing/2014/main" id="{6C727791-DF80-3844-81B0-8A50CAAFC650}"/>
              </a:ext>
            </a:extLst>
          </p:cNvPr>
          <p:cNvSpPr>
            <a:spLocks noGrp="1"/>
          </p:cNvSpPr>
          <p:nvPr>
            <p:ph type="body" sz="quarter" idx="17"/>
          </p:nvPr>
        </p:nvSpPr>
        <p:spPr>
          <a:xfrm>
            <a:off x="2228851" y="3489558"/>
            <a:ext cx="9125958" cy="1107047"/>
          </a:xfrm>
          <a:prstGeom prst="rect">
            <a:avLst/>
          </a:prstGeom>
        </p:spPr>
        <p:txBody>
          <a:bodyPr>
            <a:noAutofit/>
          </a:bodyPr>
          <a:lstStyle>
            <a:lvl1pPr marL="0" indent="0">
              <a:buFontTx/>
              <a:buNone/>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8" name="Text Placeholder 18">
            <a:extLst>
              <a:ext uri="{FF2B5EF4-FFF2-40B4-BE49-F238E27FC236}">
                <a16:creationId xmlns:a16="http://schemas.microsoft.com/office/drawing/2014/main" id="{445A95EE-AA46-BF47-8EE0-8FAD165E4549}"/>
              </a:ext>
            </a:extLst>
          </p:cNvPr>
          <p:cNvSpPr>
            <a:spLocks noGrp="1"/>
          </p:cNvSpPr>
          <p:nvPr>
            <p:ph type="body" sz="quarter" idx="18"/>
          </p:nvPr>
        </p:nvSpPr>
        <p:spPr>
          <a:xfrm>
            <a:off x="2215864" y="4917828"/>
            <a:ext cx="9125958" cy="1107047"/>
          </a:xfrm>
          <a:prstGeom prst="rect">
            <a:avLst/>
          </a:prstGeom>
        </p:spPr>
        <p:txBody>
          <a:bodyPr>
            <a:noAutofit/>
          </a:bodyPr>
          <a:lstStyle>
            <a:lvl1pPr marL="0" indent="0">
              <a:buFontTx/>
              <a:buNone/>
              <a:defRPr sz="18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4" name="Päivämäärän paikkamerkki 3">
            <a:extLst>
              <a:ext uri="{FF2B5EF4-FFF2-40B4-BE49-F238E27FC236}">
                <a16:creationId xmlns:a16="http://schemas.microsoft.com/office/drawing/2014/main" id="{F0C3BE3B-365A-F34F-7512-ACE065AE75F1}"/>
              </a:ext>
            </a:extLst>
          </p:cNvPr>
          <p:cNvSpPr>
            <a:spLocks noGrp="1"/>
          </p:cNvSpPr>
          <p:nvPr>
            <p:ph type="dt" sz="half" idx="14"/>
          </p:nvPr>
        </p:nvSpPr>
        <p:spPr>
          <a:xfrm>
            <a:off x="838200" y="6356350"/>
            <a:ext cx="2743200" cy="365125"/>
          </a:xfrm>
        </p:spPr>
        <p:txBody>
          <a:bodyPr/>
          <a:lstStyle>
            <a:lvl1pPr marL="0" indent="0">
              <a:buFontTx/>
              <a:buNone/>
              <a:defRPr/>
            </a:lvl1pPr>
          </a:lstStyle>
          <a:p>
            <a:endParaRPr lang="fi-FI" dirty="0"/>
          </a:p>
        </p:txBody>
      </p:sp>
      <p:sp>
        <p:nvSpPr>
          <p:cNvPr id="5" name="Alatunnisteen paikkamerkki 4">
            <a:extLst>
              <a:ext uri="{FF2B5EF4-FFF2-40B4-BE49-F238E27FC236}">
                <a16:creationId xmlns:a16="http://schemas.microsoft.com/office/drawing/2014/main" id="{C8898B48-5E4C-4E99-7B1E-3E8FB8566180}"/>
              </a:ext>
            </a:extLst>
          </p:cNvPr>
          <p:cNvSpPr>
            <a:spLocks noGrp="1"/>
          </p:cNvSpPr>
          <p:nvPr>
            <p:ph type="ftr" sz="quarter" idx="15"/>
          </p:nvPr>
        </p:nvSpPr>
        <p:spPr>
          <a:xfrm>
            <a:off x="4038600" y="6356350"/>
            <a:ext cx="4114800" cy="365125"/>
          </a:xfrm>
        </p:spPr>
        <p:txBody>
          <a:bodyPr/>
          <a:lstStyle>
            <a:lvl1pPr marL="0" indent="0">
              <a:buFontTx/>
              <a:buNone/>
              <a:defRPr/>
            </a:lvl1pPr>
          </a:lstStyle>
          <a:p>
            <a:r>
              <a:rPr lang="fi-FI"/>
              <a:t>7</a:t>
            </a:r>
          </a:p>
        </p:txBody>
      </p:sp>
      <p:sp>
        <p:nvSpPr>
          <p:cNvPr id="6" name="Title 1">
            <a:extLst>
              <a:ext uri="{FF2B5EF4-FFF2-40B4-BE49-F238E27FC236}">
                <a16:creationId xmlns:a16="http://schemas.microsoft.com/office/drawing/2014/main" id="{B907A589-1EED-2BD9-853A-9992680111AD}"/>
              </a:ext>
            </a:extLst>
          </p:cNvPr>
          <p:cNvSpPr>
            <a:spLocks noGrp="1"/>
          </p:cNvSpPr>
          <p:nvPr>
            <p:ph type="title"/>
          </p:nvPr>
        </p:nvSpPr>
        <p:spPr>
          <a:xfrm>
            <a:off x="838200" y="681037"/>
            <a:ext cx="10515600" cy="1009651"/>
          </a:xfrm>
        </p:spPr>
        <p:txBody>
          <a:bodyPr>
            <a:noAutofit/>
          </a:bodyPr>
          <a:lstStyle>
            <a:lvl1pPr marL="0" indent="0">
              <a:lnSpc>
                <a:spcPct val="100000"/>
              </a:lnSpc>
              <a:buFontTx/>
              <a:buNone/>
              <a:defRPr b="1" i="0">
                <a:solidFill>
                  <a:srgbClr val="152A96"/>
                </a:solidFill>
                <a:latin typeface="Poppins" pitchFamily="2" charset="77"/>
                <a:cs typeface="Poppins" pitchFamily="2" charset="77"/>
              </a:defRPr>
            </a:lvl1pPr>
          </a:lstStyle>
          <a:p>
            <a:r>
              <a:rPr lang="fi-FI"/>
              <a:t>Muokkaa ots. perustyyl. napsautt.</a:t>
            </a:r>
          </a:p>
        </p:txBody>
      </p:sp>
      <p:sp>
        <p:nvSpPr>
          <p:cNvPr id="2" name="Rectangle 11">
            <a:extLst>
              <a:ext uri="{FF2B5EF4-FFF2-40B4-BE49-F238E27FC236}">
                <a16:creationId xmlns:a16="http://schemas.microsoft.com/office/drawing/2014/main" id="{75E253B2-B92F-22A5-9232-D7C1B4269241}"/>
              </a:ext>
            </a:extLst>
          </p:cNvPr>
          <p:cNvSpPr/>
          <p:nvPr/>
        </p:nvSpPr>
        <p:spPr>
          <a:xfrm>
            <a:off x="826047" y="2040070"/>
            <a:ext cx="1134000" cy="1134000"/>
          </a:xfrm>
          <a:prstGeom prst="rect">
            <a:avLst/>
          </a:prstGeom>
          <a:solidFill>
            <a:srgbClr val="152B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indent="0" algn="ctr">
              <a:buFontTx/>
              <a:buNone/>
            </a:pPr>
            <a:endParaRPr lang="fi-FI"/>
          </a:p>
        </p:txBody>
      </p:sp>
      <p:sp>
        <p:nvSpPr>
          <p:cNvPr id="3" name="Rectangle 19">
            <a:extLst>
              <a:ext uri="{FF2B5EF4-FFF2-40B4-BE49-F238E27FC236}">
                <a16:creationId xmlns:a16="http://schemas.microsoft.com/office/drawing/2014/main" id="{42607EC8-88E6-0271-E2B1-BD400C03BC8F}"/>
              </a:ext>
            </a:extLst>
          </p:cNvPr>
          <p:cNvSpPr/>
          <p:nvPr/>
        </p:nvSpPr>
        <p:spPr>
          <a:xfrm>
            <a:off x="826047" y="3487916"/>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indent="0" algn="ctr">
              <a:buFontTx/>
              <a:buNone/>
            </a:pPr>
            <a:endParaRPr lang="fi-FI"/>
          </a:p>
        </p:txBody>
      </p:sp>
      <p:sp>
        <p:nvSpPr>
          <p:cNvPr id="7" name="Rectangle 21">
            <a:extLst>
              <a:ext uri="{FF2B5EF4-FFF2-40B4-BE49-F238E27FC236}">
                <a16:creationId xmlns:a16="http://schemas.microsoft.com/office/drawing/2014/main" id="{8401998F-239B-69E9-97D0-E5856383799F}"/>
              </a:ext>
            </a:extLst>
          </p:cNvPr>
          <p:cNvSpPr/>
          <p:nvPr/>
        </p:nvSpPr>
        <p:spPr>
          <a:xfrm>
            <a:off x="826641" y="4926091"/>
            <a:ext cx="1134000" cy="1134000"/>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indent="0" algn="ctr">
              <a:buFontTx/>
              <a:buNone/>
            </a:pPr>
            <a:endParaRPr lang="fi-FI"/>
          </a:p>
        </p:txBody>
      </p:sp>
    </p:spTree>
    <p:extLst>
      <p:ext uri="{BB962C8B-B14F-4D97-AF65-F5344CB8AC3E}">
        <p14:creationId xmlns:p14="http://schemas.microsoft.com/office/powerpoint/2010/main" val="220147963"/>
      </p:ext>
    </p:extLst>
  </p:cSld>
  <p:clrMapOvr>
    <a:masterClrMapping/>
  </p:clrMapOvr>
  <p:hf sldNum="0" hdr="0" dt="0"/>
  <p:extLst>
    <p:ext uri="{DCECCB84-F9BA-43D5-87BE-67443E8EF086}">
      <p15:sldGuideLst xmlns:p15="http://schemas.microsoft.com/office/powerpoint/2012/main">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Lista laatikoilla">
    <p:spTree>
      <p:nvGrpSpPr>
        <p:cNvPr id="1" name=""/>
        <p:cNvGrpSpPr/>
        <p:nvPr/>
      </p:nvGrpSpPr>
      <p:grpSpPr>
        <a:xfrm>
          <a:off x="0" y="0"/>
          <a:ext cx="0" cy="0"/>
          <a:chOff x="0" y="0"/>
          <a:chExt cx="0" cy="0"/>
        </a:xfrm>
      </p:grpSpPr>
      <p:sp>
        <p:nvSpPr>
          <p:cNvPr id="13" name="Rectangle 11">
            <a:extLst>
              <a:ext uri="{FF2B5EF4-FFF2-40B4-BE49-F238E27FC236}">
                <a16:creationId xmlns:a16="http://schemas.microsoft.com/office/drawing/2014/main" id="{9475E897-16AB-4568-B326-0F080396D3AF}"/>
              </a:ext>
            </a:extLst>
          </p:cNvPr>
          <p:cNvSpPr/>
          <p:nvPr/>
        </p:nvSpPr>
        <p:spPr>
          <a:xfrm>
            <a:off x="4164960" y="1684818"/>
            <a:ext cx="7186279" cy="1107047"/>
          </a:xfrm>
          <a:prstGeom prst="rect">
            <a:avLst/>
          </a:prstGeom>
          <a:solidFill>
            <a:srgbClr val="B8CD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19" name="Text Placeholder 18"/>
          <p:cNvSpPr>
            <a:spLocks noGrp="1"/>
          </p:cNvSpPr>
          <p:nvPr>
            <p:ph type="body" sz="quarter" idx="16"/>
          </p:nvPr>
        </p:nvSpPr>
        <p:spPr>
          <a:xfrm>
            <a:off x="4244022" y="1824717"/>
            <a:ext cx="6866776" cy="869752"/>
          </a:xfrm>
          <a:prstGeom prst="rect">
            <a:avLst/>
          </a:prstGeom>
        </p:spPr>
        <p:txBody>
          <a:bodyPr>
            <a:noAutofit/>
          </a:bodyPr>
          <a:lstStyle>
            <a:lvl1pPr marL="0" indent="0">
              <a:buFontTx/>
              <a:buNone/>
              <a:defRPr sz="14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12" name="Rectangle 11">
            <a:extLst>
              <a:ext uri="{FF2B5EF4-FFF2-40B4-BE49-F238E27FC236}">
                <a16:creationId xmlns:a16="http://schemas.microsoft.com/office/drawing/2014/main" id="{901ADF76-DB4B-8A40-876C-507823A91007}"/>
              </a:ext>
            </a:extLst>
          </p:cNvPr>
          <p:cNvSpPr/>
          <p:nvPr/>
        </p:nvSpPr>
        <p:spPr>
          <a:xfrm>
            <a:off x="837192" y="1684818"/>
            <a:ext cx="3199198" cy="1107047"/>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20" name="Rectangle 19">
            <a:extLst>
              <a:ext uri="{FF2B5EF4-FFF2-40B4-BE49-F238E27FC236}">
                <a16:creationId xmlns:a16="http://schemas.microsoft.com/office/drawing/2014/main" id="{5058EC07-1235-BC40-A1A8-934AC8DA6C18}"/>
              </a:ext>
            </a:extLst>
          </p:cNvPr>
          <p:cNvSpPr/>
          <p:nvPr/>
        </p:nvSpPr>
        <p:spPr>
          <a:xfrm>
            <a:off x="837192" y="2962978"/>
            <a:ext cx="3199198" cy="1107047"/>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22" name="Rectangle 21">
            <a:extLst>
              <a:ext uri="{FF2B5EF4-FFF2-40B4-BE49-F238E27FC236}">
                <a16:creationId xmlns:a16="http://schemas.microsoft.com/office/drawing/2014/main" id="{7E2A9DBA-6CCF-F34E-ADC2-DA0ED39C4D99}"/>
              </a:ext>
            </a:extLst>
          </p:cNvPr>
          <p:cNvSpPr/>
          <p:nvPr/>
        </p:nvSpPr>
        <p:spPr>
          <a:xfrm>
            <a:off x="837786" y="4241138"/>
            <a:ext cx="3198604" cy="1107047"/>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10" name="Rectangle 21">
            <a:extLst>
              <a:ext uri="{FF2B5EF4-FFF2-40B4-BE49-F238E27FC236}">
                <a16:creationId xmlns:a16="http://schemas.microsoft.com/office/drawing/2014/main" id="{35D6AED0-8A9B-47A6-9DA5-836963DEB41D}"/>
              </a:ext>
            </a:extLst>
          </p:cNvPr>
          <p:cNvSpPr/>
          <p:nvPr/>
        </p:nvSpPr>
        <p:spPr>
          <a:xfrm>
            <a:off x="837786" y="5507072"/>
            <a:ext cx="3198604" cy="1107047"/>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24" name="Text Placeholder 18">
            <a:extLst>
              <a:ext uri="{FF2B5EF4-FFF2-40B4-BE49-F238E27FC236}">
                <a16:creationId xmlns:a16="http://schemas.microsoft.com/office/drawing/2014/main" id="{994D5562-A069-4CB1-8603-D326701A41D9}"/>
              </a:ext>
            </a:extLst>
          </p:cNvPr>
          <p:cNvSpPr>
            <a:spLocks noGrp="1"/>
          </p:cNvSpPr>
          <p:nvPr>
            <p:ph type="body" sz="quarter" idx="19"/>
          </p:nvPr>
        </p:nvSpPr>
        <p:spPr>
          <a:xfrm>
            <a:off x="937481" y="1838559"/>
            <a:ext cx="2936935" cy="855910"/>
          </a:xfrm>
          <a:prstGeom prst="rect">
            <a:avLst/>
          </a:prstGeom>
        </p:spPr>
        <p:txBody>
          <a:bodyPr anchor="ctr">
            <a:noAutofit/>
          </a:bodyPr>
          <a:lstStyle>
            <a:lvl1pPr marL="0" indent="0" algn="ctr">
              <a:buFontTx/>
              <a:buNone/>
              <a:defRPr sz="1800" b="1">
                <a:solidFill>
                  <a:srgbClr val="B8CDFF"/>
                </a:solidFill>
              </a:defRPr>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5" name="Text Placeholder 18">
            <a:extLst>
              <a:ext uri="{FF2B5EF4-FFF2-40B4-BE49-F238E27FC236}">
                <a16:creationId xmlns:a16="http://schemas.microsoft.com/office/drawing/2014/main" id="{FB2C082C-D169-48C4-BE02-9BEF194BF779}"/>
              </a:ext>
            </a:extLst>
          </p:cNvPr>
          <p:cNvSpPr>
            <a:spLocks noGrp="1"/>
          </p:cNvSpPr>
          <p:nvPr>
            <p:ph type="body" sz="quarter" idx="20"/>
          </p:nvPr>
        </p:nvSpPr>
        <p:spPr>
          <a:xfrm>
            <a:off x="968323" y="3110845"/>
            <a:ext cx="2936935" cy="838985"/>
          </a:xfrm>
          <a:prstGeom prst="rect">
            <a:avLst/>
          </a:prstGeom>
        </p:spPr>
        <p:txBody>
          <a:bodyPr anchor="ctr">
            <a:noAutofit/>
          </a:bodyPr>
          <a:lstStyle>
            <a:lvl1pPr marL="0" indent="0" algn="ctr">
              <a:buFontTx/>
              <a:buNone/>
              <a:defRPr sz="1800" b="1">
                <a:solidFill>
                  <a:srgbClr val="B8CDFF"/>
                </a:solidFill>
              </a:defRPr>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6" name="Text Placeholder 18">
            <a:extLst>
              <a:ext uri="{FF2B5EF4-FFF2-40B4-BE49-F238E27FC236}">
                <a16:creationId xmlns:a16="http://schemas.microsoft.com/office/drawing/2014/main" id="{4554A398-70C7-49EF-9E3E-05D75872FBCA}"/>
              </a:ext>
            </a:extLst>
          </p:cNvPr>
          <p:cNvSpPr>
            <a:spLocks noGrp="1"/>
          </p:cNvSpPr>
          <p:nvPr>
            <p:ph type="body" sz="quarter" idx="21"/>
          </p:nvPr>
        </p:nvSpPr>
        <p:spPr>
          <a:xfrm>
            <a:off x="968323" y="4375168"/>
            <a:ext cx="2936935" cy="838985"/>
          </a:xfrm>
          <a:prstGeom prst="rect">
            <a:avLst/>
          </a:prstGeom>
        </p:spPr>
        <p:txBody>
          <a:bodyPr anchor="ctr">
            <a:noAutofit/>
          </a:bodyPr>
          <a:lstStyle>
            <a:lvl1pPr marL="0" indent="0" algn="ctr">
              <a:buFontTx/>
              <a:buNone/>
              <a:defRPr sz="1800" b="1">
                <a:solidFill>
                  <a:srgbClr val="B8CDFF"/>
                </a:solidFill>
              </a:defRPr>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7" name="Text Placeholder 18">
            <a:extLst>
              <a:ext uri="{FF2B5EF4-FFF2-40B4-BE49-F238E27FC236}">
                <a16:creationId xmlns:a16="http://schemas.microsoft.com/office/drawing/2014/main" id="{486BBBE7-F938-4571-8BCC-11889204F3E1}"/>
              </a:ext>
            </a:extLst>
          </p:cNvPr>
          <p:cNvSpPr>
            <a:spLocks noGrp="1"/>
          </p:cNvSpPr>
          <p:nvPr>
            <p:ph type="body" sz="quarter" idx="22"/>
          </p:nvPr>
        </p:nvSpPr>
        <p:spPr>
          <a:xfrm>
            <a:off x="968322" y="5645962"/>
            <a:ext cx="2936935" cy="838985"/>
          </a:xfrm>
          <a:prstGeom prst="rect">
            <a:avLst/>
          </a:prstGeom>
        </p:spPr>
        <p:txBody>
          <a:bodyPr anchor="ctr">
            <a:noAutofit/>
          </a:bodyPr>
          <a:lstStyle>
            <a:lvl1pPr marL="0" indent="0" algn="ctr">
              <a:buFontTx/>
              <a:buNone/>
              <a:defRPr sz="1800" b="1">
                <a:solidFill>
                  <a:srgbClr val="B8CDFF"/>
                </a:solidFill>
              </a:defRPr>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8" name="Rectangle 11">
            <a:extLst>
              <a:ext uri="{FF2B5EF4-FFF2-40B4-BE49-F238E27FC236}">
                <a16:creationId xmlns:a16="http://schemas.microsoft.com/office/drawing/2014/main" id="{306C0533-8257-49D0-BD81-57AECBA366A9}"/>
              </a:ext>
            </a:extLst>
          </p:cNvPr>
          <p:cNvSpPr/>
          <p:nvPr/>
        </p:nvSpPr>
        <p:spPr>
          <a:xfrm>
            <a:off x="4167521" y="2962978"/>
            <a:ext cx="7186279" cy="1107047"/>
          </a:xfrm>
          <a:prstGeom prst="rect">
            <a:avLst/>
          </a:prstGeom>
          <a:solidFill>
            <a:srgbClr val="B8CD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29" name="Text Placeholder 18">
            <a:extLst>
              <a:ext uri="{FF2B5EF4-FFF2-40B4-BE49-F238E27FC236}">
                <a16:creationId xmlns:a16="http://schemas.microsoft.com/office/drawing/2014/main" id="{7C5CBD88-7BCB-45C3-BFBD-58ABB0BEFD14}"/>
              </a:ext>
            </a:extLst>
          </p:cNvPr>
          <p:cNvSpPr>
            <a:spLocks noGrp="1"/>
          </p:cNvSpPr>
          <p:nvPr>
            <p:ph type="body" sz="quarter" idx="23"/>
          </p:nvPr>
        </p:nvSpPr>
        <p:spPr>
          <a:xfrm>
            <a:off x="4246583" y="3110846"/>
            <a:ext cx="6866776" cy="838984"/>
          </a:xfrm>
          <a:prstGeom prst="rect">
            <a:avLst/>
          </a:prstGeom>
        </p:spPr>
        <p:txBody>
          <a:bodyPr>
            <a:noAutofit/>
          </a:bodyPr>
          <a:lstStyle>
            <a:lvl1pPr marL="0" indent="0">
              <a:buFontTx/>
              <a:buNone/>
              <a:defRPr sz="14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30" name="Rectangle 11">
            <a:extLst>
              <a:ext uri="{FF2B5EF4-FFF2-40B4-BE49-F238E27FC236}">
                <a16:creationId xmlns:a16="http://schemas.microsoft.com/office/drawing/2014/main" id="{1D9B4FBB-393A-4A23-940C-D8C34778810A}"/>
              </a:ext>
            </a:extLst>
          </p:cNvPr>
          <p:cNvSpPr/>
          <p:nvPr/>
        </p:nvSpPr>
        <p:spPr>
          <a:xfrm>
            <a:off x="4164960" y="4241139"/>
            <a:ext cx="7186279" cy="1107046"/>
          </a:xfrm>
          <a:prstGeom prst="rect">
            <a:avLst/>
          </a:prstGeom>
          <a:solidFill>
            <a:srgbClr val="B8CD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31" name="Text Placeholder 18">
            <a:extLst>
              <a:ext uri="{FF2B5EF4-FFF2-40B4-BE49-F238E27FC236}">
                <a16:creationId xmlns:a16="http://schemas.microsoft.com/office/drawing/2014/main" id="{B11D9F3A-D458-49E3-9A78-AD092814496E}"/>
              </a:ext>
            </a:extLst>
          </p:cNvPr>
          <p:cNvSpPr>
            <a:spLocks noGrp="1"/>
          </p:cNvSpPr>
          <p:nvPr>
            <p:ph type="body" sz="quarter" idx="24"/>
          </p:nvPr>
        </p:nvSpPr>
        <p:spPr>
          <a:xfrm>
            <a:off x="4244022" y="4375168"/>
            <a:ext cx="6866776" cy="838985"/>
          </a:xfrm>
          <a:prstGeom prst="rect">
            <a:avLst/>
          </a:prstGeom>
        </p:spPr>
        <p:txBody>
          <a:bodyPr>
            <a:noAutofit/>
          </a:bodyPr>
          <a:lstStyle>
            <a:lvl1pPr marL="0" indent="0">
              <a:buFontTx/>
              <a:buNone/>
              <a:defRPr sz="14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32" name="Rectangle 11">
            <a:extLst>
              <a:ext uri="{FF2B5EF4-FFF2-40B4-BE49-F238E27FC236}">
                <a16:creationId xmlns:a16="http://schemas.microsoft.com/office/drawing/2014/main" id="{0D7A0154-2E69-4557-B70B-38F0A83C4E10}"/>
              </a:ext>
            </a:extLst>
          </p:cNvPr>
          <p:cNvSpPr/>
          <p:nvPr/>
        </p:nvSpPr>
        <p:spPr>
          <a:xfrm>
            <a:off x="4164960" y="5507073"/>
            <a:ext cx="7186279" cy="1107046"/>
          </a:xfrm>
          <a:prstGeom prst="rect">
            <a:avLst/>
          </a:prstGeom>
          <a:solidFill>
            <a:srgbClr val="B8CD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33" name="Text Placeholder 18">
            <a:extLst>
              <a:ext uri="{FF2B5EF4-FFF2-40B4-BE49-F238E27FC236}">
                <a16:creationId xmlns:a16="http://schemas.microsoft.com/office/drawing/2014/main" id="{67370471-906B-414E-BCEA-5EDD4FCE80AF}"/>
              </a:ext>
            </a:extLst>
          </p:cNvPr>
          <p:cNvSpPr>
            <a:spLocks noGrp="1"/>
          </p:cNvSpPr>
          <p:nvPr>
            <p:ph type="body" sz="quarter" idx="25"/>
          </p:nvPr>
        </p:nvSpPr>
        <p:spPr>
          <a:xfrm>
            <a:off x="4244022" y="5645962"/>
            <a:ext cx="6866776" cy="838985"/>
          </a:xfrm>
          <a:prstGeom prst="rect">
            <a:avLst/>
          </a:prstGeom>
        </p:spPr>
        <p:txBody>
          <a:bodyPr>
            <a:noAutofit/>
          </a:bodyPr>
          <a:lstStyle>
            <a:lvl1pPr marL="0" indent="0">
              <a:buFontTx/>
              <a:buNone/>
              <a:defRPr sz="14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4" name="Title 1">
            <a:extLst>
              <a:ext uri="{FF2B5EF4-FFF2-40B4-BE49-F238E27FC236}">
                <a16:creationId xmlns:a16="http://schemas.microsoft.com/office/drawing/2014/main" id="{9D51047D-E35E-DB58-140A-70ED08A76594}"/>
              </a:ext>
            </a:extLst>
          </p:cNvPr>
          <p:cNvSpPr>
            <a:spLocks noGrp="1"/>
          </p:cNvSpPr>
          <p:nvPr>
            <p:ph type="title"/>
          </p:nvPr>
        </p:nvSpPr>
        <p:spPr>
          <a:xfrm>
            <a:off x="838200" y="681037"/>
            <a:ext cx="10515600" cy="1009651"/>
          </a:xfrm>
        </p:spPr>
        <p:txBody>
          <a:bodyPr>
            <a:noAutofit/>
          </a:bodyPr>
          <a:lstStyle>
            <a:lvl1pPr>
              <a:lnSpc>
                <a:spcPct val="100000"/>
              </a:lnSpc>
              <a:buFontTx/>
              <a:buNone/>
              <a:defRPr b="1" i="0">
                <a:solidFill>
                  <a:srgbClr val="152A96"/>
                </a:solidFill>
                <a:latin typeface="Poppins" pitchFamily="2" charset="77"/>
                <a:cs typeface="Poppins" pitchFamily="2" charset="77"/>
              </a:defRPr>
            </a:lvl1pPr>
          </a:lstStyle>
          <a:p>
            <a:r>
              <a:rPr lang="fi-FI"/>
              <a:t>Muokkaa ots. perustyyl. napsautt.</a:t>
            </a:r>
          </a:p>
        </p:txBody>
      </p:sp>
      <p:pic>
        <p:nvPicPr>
          <p:cNvPr id="5" name="Kuva 4">
            <a:extLst>
              <a:ext uri="{FF2B5EF4-FFF2-40B4-BE49-F238E27FC236}">
                <a16:creationId xmlns:a16="http://schemas.microsoft.com/office/drawing/2014/main" id="{A461E26F-107B-7AF3-2A2B-4B582DEC95B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flipH="1">
            <a:off x="9922489" y="-256976"/>
            <a:ext cx="2857500" cy="2857500"/>
          </a:xfrm>
          <a:prstGeom prst="rect">
            <a:avLst/>
          </a:prstGeom>
        </p:spPr>
      </p:pic>
      <p:sp>
        <p:nvSpPr>
          <p:cNvPr id="2" name="Rectangle 11">
            <a:extLst>
              <a:ext uri="{FF2B5EF4-FFF2-40B4-BE49-F238E27FC236}">
                <a16:creationId xmlns:a16="http://schemas.microsoft.com/office/drawing/2014/main" id="{2532FC12-F9FA-43F0-A452-86AA77CB042F}"/>
              </a:ext>
            </a:extLst>
          </p:cNvPr>
          <p:cNvSpPr/>
          <p:nvPr/>
        </p:nvSpPr>
        <p:spPr>
          <a:xfrm>
            <a:off x="4164960" y="1684818"/>
            <a:ext cx="7186279" cy="1107047"/>
          </a:xfrm>
          <a:prstGeom prst="rect">
            <a:avLst/>
          </a:prstGeom>
          <a:solidFill>
            <a:srgbClr val="B8CD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3" name="Rectangle 11">
            <a:extLst>
              <a:ext uri="{FF2B5EF4-FFF2-40B4-BE49-F238E27FC236}">
                <a16:creationId xmlns:a16="http://schemas.microsoft.com/office/drawing/2014/main" id="{7B44C553-60FC-498E-2C78-FDF8B27CFDAA}"/>
              </a:ext>
            </a:extLst>
          </p:cNvPr>
          <p:cNvSpPr/>
          <p:nvPr/>
        </p:nvSpPr>
        <p:spPr>
          <a:xfrm>
            <a:off x="837192" y="1684818"/>
            <a:ext cx="3199198" cy="1107047"/>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6" name="Rectangle 19">
            <a:extLst>
              <a:ext uri="{FF2B5EF4-FFF2-40B4-BE49-F238E27FC236}">
                <a16:creationId xmlns:a16="http://schemas.microsoft.com/office/drawing/2014/main" id="{A3060848-B69D-6C1F-469B-52A70E8D879E}"/>
              </a:ext>
            </a:extLst>
          </p:cNvPr>
          <p:cNvSpPr/>
          <p:nvPr/>
        </p:nvSpPr>
        <p:spPr>
          <a:xfrm>
            <a:off x="837192" y="2962978"/>
            <a:ext cx="3199198" cy="1107047"/>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7" name="Rectangle 21">
            <a:extLst>
              <a:ext uri="{FF2B5EF4-FFF2-40B4-BE49-F238E27FC236}">
                <a16:creationId xmlns:a16="http://schemas.microsoft.com/office/drawing/2014/main" id="{F6D7E508-4D6D-6BEA-5077-43EE39374EAE}"/>
              </a:ext>
            </a:extLst>
          </p:cNvPr>
          <p:cNvSpPr/>
          <p:nvPr/>
        </p:nvSpPr>
        <p:spPr>
          <a:xfrm>
            <a:off x="837786" y="4241138"/>
            <a:ext cx="3198604" cy="1107047"/>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8" name="Rectangle 21">
            <a:extLst>
              <a:ext uri="{FF2B5EF4-FFF2-40B4-BE49-F238E27FC236}">
                <a16:creationId xmlns:a16="http://schemas.microsoft.com/office/drawing/2014/main" id="{63D66092-4980-4C54-1F33-DCD332C6E1C0}"/>
              </a:ext>
            </a:extLst>
          </p:cNvPr>
          <p:cNvSpPr/>
          <p:nvPr/>
        </p:nvSpPr>
        <p:spPr>
          <a:xfrm>
            <a:off x="837786" y="5507072"/>
            <a:ext cx="3198604" cy="1107047"/>
          </a:xfrm>
          <a:prstGeom prst="rect">
            <a:avLst/>
          </a:prstGeom>
          <a:solidFill>
            <a:srgbClr val="152A9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9" name="Rectangle 11">
            <a:extLst>
              <a:ext uri="{FF2B5EF4-FFF2-40B4-BE49-F238E27FC236}">
                <a16:creationId xmlns:a16="http://schemas.microsoft.com/office/drawing/2014/main" id="{6BD5CA28-83F9-C849-714E-C35EF489DA20}"/>
              </a:ext>
            </a:extLst>
          </p:cNvPr>
          <p:cNvSpPr/>
          <p:nvPr/>
        </p:nvSpPr>
        <p:spPr>
          <a:xfrm>
            <a:off x="4167521" y="2962978"/>
            <a:ext cx="7186279" cy="1107047"/>
          </a:xfrm>
          <a:prstGeom prst="rect">
            <a:avLst/>
          </a:prstGeom>
          <a:solidFill>
            <a:srgbClr val="B8CD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11" name="Rectangle 11">
            <a:extLst>
              <a:ext uri="{FF2B5EF4-FFF2-40B4-BE49-F238E27FC236}">
                <a16:creationId xmlns:a16="http://schemas.microsoft.com/office/drawing/2014/main" id="{D318DEAE-A331-616E-EF6C-E49DAD361095}"/>
              </a:ext>
            </a:extLst>
          </p:cNvPr>
          <p:cNvSpPr/>
          <p:nvPr/>
        </p:nvSpPr>
        <p:spPr>
          <a:xfrm>
            <a:off x="4164960" y="4241139"/>
            <a:ext cx="7186279" cy="1107046"/>
          </a:xfrm>
          <a:prstGeom prst="rect">
            <a:avLst/>
          </a:prstGeom>
          <a:solidFill>
            <a:srgbClr val="B8CD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sp>
        <p:nvSpPr>
          <p:cNvPr id="14" name="Rectangle 11">
            <a:extLst>
              <a:ext uri="{FF2B5EF4-FFF2-40B4-BE49-F238E27FC236}">
                <a16:creationId xmlns:a16="http://schemas.microsoft.com/office/drawing/2014/main" id="{BE784361-84E2-7296-CBFF-727856936392}"/>
              </a:ext>
            </a:extLst>
          </p:cNvPr>
          <p:cNvSpPr/>
          <p:nvPr/>
        </p:nvSpPr>
        <p:spPr>
          <a:xfrm>
            <a:off x="4164960" y="5507073"/>
            <a:ext cx="7186279" cy="1107046"/>
          </a:xfrm>
          <a:prstGeom prst="rect">
            <a:avLst/>
          </a:prstGeom>
          <a:solidFill>
            <a:srgbClr val="B8CD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FontTx/>
              <a:buNone/>
            </a:pPr>
            <a:endParaRPr lang="fi-FI"/>
          </a:p>
        </p:txBody>
      </p:sp>
      <p:pic>
        <p:nvPicPr>
          <p:cNvPr id="15" name="Kuva 14">
            <a:extLst>
              <a:ext uri="{FF2B5EF4-FFF2-40B4-BE49-F238E27FC236}">
                <a16:creationId xmlns:a16="http://schemas.microsoft.com/office/drawing/2014/main" id="{CBCD4B09-C500-AE9F-E5D3-451B11DCE9D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flipH="1">
            <a:off x="9922489" y="-256976"/>
            <a:ext cx="2857500" cy="2857500"/>
          </a:xfrm>
          <a:prstGeom prst="rect">
            <a:avLst/>
          </a:prstGeom>
        </p:spPr>
      </p:pic>
    </p:spTree>
    <p:extLst>
      <p:ext uri="{BB962C8B-B14F-4D97-AF65-F5344CB8AC3E}">
        <p14:creationId xmlns:p14="http://schemas.microsoft.com/office/powerpoint/2010/main" val="2665711530"/>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ekstipohja tyhja">
    <p:spTree>
      <p:nvGrpSpPr>
        <p:cNvPr id="1" name=""/>
        <p:cNvGrpSpPr/>
        <p:nvPr/>
      </p:nvGrpSpPr>
      <p:grpSpPr>
        <a:xfrm>
          <a:off x="0" y="0"/>
          <a:ext cx="0" cy="0"/>
          <a:chOff x="0" y="0"/>
          <a:chExt cx="0" cy="0"/>
        </a:xfrm>
      </p:grpSpPr>
      <p:sp>
        <p:nvSpPr>
          <p:cNvPr id="5" name="Kuvan paikkamerkki 14">
            <a:extLst>
              <a:ext uri="{FF2B5EF4-FFF2-40B4-BE49-F238E27FC236}">
                <a16:creationId xmlns:a16="http://schemas.microsoft.com/office/drawing/2014/main" id="{35E54030-206A-72EB-6BE4-0638527C7FBF}"/>
              </a:ext>
            </a:extLst>
          </p:cNvPr>
          <p:cNvSpPr>
            <a:spLocks noGrp="1"/>
          </p:cNvSpPr>
          <p:nvPr>
            <p:ph type="pic" sz="quarter" idx="10" hasCustomPrompt="1"/>
          </p:nvPr>
        </p:nvSpPr>
        <p:spPr>
          <a:xfrm>
            <a:off x="7991061" y="5717895"/>
            <a:ext cx="3510155" cy="751752"/>
          </a:xfrm>
        </p:spPr>
        <p:txBody>
          <a:bodyPr>
            <a:noAutofit/>
          </a:bodyPr>
          <a:lstStyle>
            <a:lvl1pPr>
              <a:defRPr/>
            </a:lvl1pPr>
          </a:lstStyle>
          <a:p>
            <a:r>
              <a:rPr lang="fi-FI"/>
              <a:t>Lisää kumppanilogo tai tunnus</a:t>
            </a:r>
          </a:p>
        </p:txBody>
      </p:sp>
      <p:sp>
        <p:nvSpPr>
          <p:cNvPr id="7" name="Title 1">
            <a:extLst>
              <a:ext uri="{FF2B5EF4-FFF2-40B4-BE49-F238E27FC236}">
                <a16:creationId xmlns:a16="http://schemas.microsoft.com/office/drawing/2014/main" id="{E6BCD65C-4E9A-0922-93C6-F86689B9C2FE}"/>
              </a:ext>
            </a:extLst>
          </p:cNvPr>
          <p:cNvSpPr>
            <a:spLocks noGrp="1"/>
          </p:cNvSpPr>
          <p:nvPr>
            <p:ph type="title"/>
          </p:nvPr>
        </p:nvSpPr>
        <p:spPr>
          <a:xfrm>
            <a:off x="838200" y="681037"/>
            <a:ext cx="10515600" cy="1009651"/>
          </a:xfrm>
        </p:spPr>
        <p:txBody>
          <a:bodyPr>
            <a:noAutofit/>
          </a:bodyPr>
          <a:lstStyle>
            <a:lvl1pPr>
              <a:lnSpc>
                <a:spcPct val="100000"/>
              </a:lnSpc>
              <a:defRPr b="1" i="0">
                <a:solidFill>
                  <a:srgbClr val="152A96"/>
                </a:solidFill>
                <a:latin typeface="Poppins" pitchFamily="2" charset="77"/>
                <a:cs typeface="Poppins" pitchFamily="2" charset="77"/>
              </a:defRPr>
            </a:lvl1pPr>
          </a:lstStyle>
          <a:p>
            <a:r>
              <a:rPr lang="fi-FI"/>
              <a:t>Muokkaa ots. perustyyl. napsautt.</a:t>
            </a:r>
          </a:p>
        </p:txBody>
      </p:sp>
      <p:sp>
        <p:nvSpPr>
          <p:cNvPr id="9" name="Sisällön paikkamerkki 10">
            <a:extLst>
              <a:ext uri="{FF2B5EF4-FFF2-40B4-BE49-F238E27FC236}">
                <a16:creationId xmlns:a16="http://schemas.microsoft.com/office/drawing/2014/main" id="{679EC430-75AD-3E78-2FCE-9FC9DFC3D440}"/>
              </a:ext>
            </a:extLst>
          </p:cNvPr>
          <p:cNvSpPr>
            <a:spLocks noGrp="1"/>
          </p:cNvSpPr>
          <p:nvPr>
            <p:ph sz="quarter" idx="17" hasCustomPrompt="1"/>
          </p:nvPr>
        </p:nvSpPr>
        <p:spPr>
          <a:xfrm>
            <a:off x="838199" y="2036619"/>
            <a:ext cx="10515599" cy="3449782"/>
          </a:xfrm>
        </p:spPr>
        <p:txBody>
          <a:bodyPr/>
          <a:lstStyle>
            <a:lvl1pPr>
              <a:spcAft>
                <a:spcPts val="600"/>
              </a:spcAft>
              <a:defRPr/>
            </a:lvl1pPr>
            <a:lvl2pPr>
              <a:spcAft>
                <a:spcPts val="0"/>
              </a:spcAft>
              <a:defRPr/>
            </a:lvl2pPr>
            <a:lvl3pPr>
              <a:spcAft>
                <a:spcPts val="0"/>
              </a:spcAft>
              <a:defRPr/>
            </a:lvl3pPr>
            <a:lvl4pPr>
              <a:spcAft>
                <a:spcPts val="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2823774000"/>
      </p:ext>
    </p:extLst>
  </p:cSld>
  <p:clrMapOvr>
    <a:masterClrMapping/>
  </p:clrMapOvr>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ikajana">
    <p:bg>
      <p:bgPr>
        <a:solidFill>
          <a:srgbClr val="A2E4B8">
            <a:alpha val="90000"/>
          </a:srgbClr>
        </a:solidFill>
        <a:effectLst/>
      </p:bgPr>
    </p:bg>
    <p:spTree>
      <p:nvGrpSpPr>
        <p:cNvPr id="1" name=""/>
        <p:cNvGrpSpPr/>
        <p:nvPr/>
      </p:nvGrpSpPr>
      <p:grpSpPr>
        <a:xfrm>
          <a:off x="0" y="0"/>
          <a:ext cx="0" cy="0"/>
          <a:chOff x="0" y="0"/>
          <a:chExt cx="0" cy="0"/>
        </a:xfrm>
      </p:grpSpPr>
      <p:sp>
        <p:nvSpPr>
          <p:cNvPr id="5" name="Rectangle 9">
            <a:extLst>
              <a:ext uri="{FF2B5EF4-FFF2-40B4-BE49-F238E27FC236}">
                <a16:creationId xmlns:a16="http://schemas.microsoft.com/office/drawing/2014/main" id="{D35DEAD2-F187-9BA9-1FAE-CB22CE575220}"/>
              </a:ext>
            </a:extLst>
          </p:cNvPr>
          <p:cNvSpPr/>
          <p:nvPr/>
        </p:nvSpPr>
        <p:spPr>
          <a:xfrm>
            <a:off x="926123" y="2261989"/>
            <a:ext cx="1987062" cy="2583688"/>
          </a:xfrm>
          <a:prstGeom prst="rect">
            <a:avLst/>
          </a:pr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fi-FI" sz="1200" noProof="0">
              <a:solidFill>
                <a:schemeClr val="bg1"/>
              </a:solidFill>
              <a:latin typeface="Poppins" pitchFamily="2" charset="77"/>
              <a:cs typeface="Poppins" pitchFamily="2" charset="77"/>
            </a:endParaRPr>
          </a:p>
        </p:txBody>
      </p:sp>
      <p:sp>
        <p:nvSpPr>
          <p:cNvPr id="6" name="Rectangle 10">
            <a:extLst>
              <a:ext uri="{FF2B5EF4-FFF2-40B4-BE49-F238E27FC236}">
                <a16:creationId xmlns:a16="http://schemas.microsoft.com/office/drawing/2014/main" id="{CFB3D5F8-8221-9DAC-8CE1-4620E831703C}"/>
              </a:ext>
            </a:extLst>
          </p:cNvPr>
          <p:cNvSpPr/>
          <p:nvPr/>
        </p:nvSpPr>
        <p:spPr>
          <a:xfrm>
            <a:off x="3036277" y="2261989"/>
            <a:ext cx="1987062" cy="2583688"/>
          </a:xfrm>
          <a:prstGeom prst="rect">
            <a:avLst/>
          </a:pr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fi-FI" sz="1200" noProof="0">
              <a:solidFill>
                <a:schemeClr val="bg1"/>
              </a:solidFill>
              <a:latin typeface="Poppins" pitchFamily="2" charset="77"/>
              <a:cs typeface="Poppins" pitchFamily="2" charset="77"/>
            </a:endParaRPr>
          </a:p>
        </p:txBody>
      </p:sp>
      <p:sp>
        <p:nvSpPr>
          <p:cNvPr id="7" name="Rectangle 11">
            <a:extLst>
              <a:ext uri="{FF2B5EF4-FFF2-40B4-BE49-F238E27FC236}">
                <a16:creationId xmlns:a16="http://schemas.microsoft.com/office/drawing/2014/main" id="{9A02726A-132A-F401-CD44-639C726986E9}"/>
              </a:ext>
            </a:extLst>
          </p:cNvPr>
          <p:cNvSpPr/>
          <p:nvPr/>
        </p:nvSpPr>
        <p:spPr>
          <a:xfrm>
            <a:off x="5146431" y="2261989"/>
            <a:ext cx="1987062" cy="2583688"/>
          </a:xfrm>
          <a:prstGeom prst="rect">
            <a:avLst/>
          </a:pr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fi-FI" sz="1200" noProof="0">
              <a:solidFill>
                <a:schemeClr val="bg1"/>
              </a:solidFill>
              <a:latin typeface="Poppins" pitchFamily="2" charset="77"/>
              <a:cs typeface="Poppins" pitchFamily="2" charset="77"/>
            </a:endParaRPr>
          </a:p>
        </p:txBody>
      </p:sp>
      <p:sp>
        <p:nvSpPr>
          <p:cNvPr id="8" name="Rectangle 12">
            <a:extLst>
              <a:ext uri="{FF2B5EF4-FFF2-40B4-BE49-F238E27FC236}">
                <a16:creationId xmlns:a16="http://schemas.microsoft.com/office/drawing/2014/main" id="{58F2017A-931A-1532-5E53-61DB958D4F72}"/>
              </a:ext>
            </a:extLst>
          </p:cNvPr>
          <p:cNvSpPr/>
          <p:nvPr/>
        </p:nvSpPr>
        <p:spPr>
          <a:xfrm>
            <a:off x="7256585" y="2261989"/>
            <a:ext cx="1987062" cy="2583688"/>
          </a:xfrm>
          <a:prstGeom prst="rect">
            <a:avLst/>
          </a:pr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fi-FI" sz="1600" noProof="0">
              <a:solidFill>
                <a:schemeClr val="accent2"/>
              </a:solidFill>
              <a:latin typeface="Poppins" pitchFamily="2" charset="77"/>
              <a:cs typeface="Poppins" pitchFamily="2" charset="77"/>
            </a:endParaRPr>
          </a:p>
        </p:txBody>
      </p:sp>
      <p:sp>
        <p:nvSpPr>
          <p:cNvPr id="9" name="Rectangle 13">
            <a:extLst>
              <a:ext uri="{FF2B5EF4-FFF2-40B4-BE49-F238E27FC236}">
                <a16:creationId xmlns:a16="http://schemas.microsoft.com/office/drawing/2014/main" id="{66770E7A-4D39-3952-B990-9D72AD15CD1E}"/>
              </a:ext>
            </a:extLst>
          </p:cNvPr>
          <p:cNvSpPr/>
          <p:nvPr/>
        </p:nvSpPr>
        <p:spPr>
          <a:xfrm>
            <a:off x="9366738" y="2261989"/>
            <a:ext cx="1987062" cy="2583688"/>
          </a:xfrm>
          <a:prstGeom prst="rect">
            <a:avLst/>
          </a:prstGeom>
          <a:solidFill>
            <a:srgbClr val="152B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fi-FI" sz="1600" noProof="0">
              <a:solidFill>
                <a:schemeClr val="accent2"/>
              </a:solidFill>
              <a:latin typeface="Poppins" pitchFamily="2" charset="77"/>
              <a:cs typeface="Poppins" pitchFamily="2" charset="77"/>
            </a:endParaRPr>
          </a:p>
        </p:txBody>
      </p:sp>
      <p:sp>
        <p:nvSpPr>
          <p:cNvPr id="12" name="Tekstin paikkamerkki 11">
            <a:extLst>
              <a:ext uri="{FF2B5EF4-FFF2-40B4-BE49-F238E27FC236}">
                <a16:creationId xmlns:a16="http://schemas.microsoft.com/office/drawing/2014/main" id="{21BBDA6E-A24D-65FE-77D3-BD580E9FD6E6}"/>
              </a:ext>
            </a:extLst>
          </p:cNvPr>
          <p:cNvSpPr>
            <a:spLocks noGrp="1"/>
          </p:cNvSpPr>
          <p:nvPr>
            <p:ph type="body" sz="quarter" idx="12"/>
          </p:nvPr>
        </p:nvSpPr>
        <p:spPr>
          <a:xfrm>
            <a:off x="926123" y="2262815"/>
            <a:ext cx="1987062" cy="2582862"/>
          </a:xfrm>
        </p:spPr>
        <p:txBody>
          <a:bodyPr anchor="ctr" anchorCtr="0">
            <a:normAutofit/>
          </a:bodyPr>
          <a:lstStyle>
            <a:lvl1pPr algn="ctr">
              <a:spcAft>
                <a:spcPts val="0"/>
              </a:spcAft>
              <a:defRPr sz="1600" b="1">
                <a:solidFill>
                  <a:srgbClr val="A2E4B8"/>
                </a:solidFill>
              </a:defRPr>
            </a:lvl1pPr>
            <a:lvl2pPr algn="ctr">
              <a:defRPr b="1"/>
            </a:lvl2pPr>
            <a:lvl3pPr algn="ctr">
              <a:defRPr/>
            </a:lvl3pPr>
            <a:lvl4pPr algn="ctr">
              <a:defRPr/>
            </a:lvl4pPr>
            <a:lvl5pPr algn="ctr">
              <a:defRPr/>
            </a:lvl5pPr>
          </a:lstStyle>
          <a:p>
            <a:pPr lvl="0"/>
            <a:r>
              <a:rPr lang="fi-FI"/>
              <a:t>Muokkaa tekstin perustyylejä napsauttamalla</a:t>
            </a:r>
          </a:p>
        </p:txBody>
      </p:sp>
      <p:sp>
        <p:nvSpPr>
          <p:cNvPr id="13" name="Tekstin paikkamerkki 11">
            <a:extLst>
              <a:ext uri="{FF2B5EF4-FFF2-40B4-BE49-F238E27FC236}">
                <a16:creationId xmlns:a16="http://schemas.microsoft.com/office/drawing/2014/main" id="{AFB48995-E616-12E8-F652-51793987F320}"/>
              </a:ext>
            </a:extLst>
          </p:cNvPr>
          <p:cNvSpPr>
            <a:spLocks noGrp="1"/>
          </p:cNvSpPr>
          <p:nvPr>
            <p:ph type="body" sz="quarter" idx="13"/>
          </p:nvPr>
        </p:nvSpPr>
        <p:spPr>
          <a:xfrm>
            <a:off x="3045069" y="2261989"/>
            <a:ext cx="1987062" cy="2582862"/>
          </a:xfrm>
        </p:spPr>
        <p:txBody>
          <a:bodyPr anchor="ctr" anchorCtr="0">
            <a:normAutofit/>
          </a:bodyPr>
          <a:lstStyle>
            <a:lvl1pPr algn="ctr">
              <a:spcAft>
                <a:spcPts val="0"/>
              </a:spcAft>
              <a:defRPr sz="1600" b="1">
                <a:solidFill>
                  <a:srgbClr val="A2E4B8"/>
                </a:solidFill>
              </a:defRPr>
            </a:lvl1pPr>
            <a:lvl2pPr algn="ctr">
              <a:defRPr b="1"/>
            </a:lvl2pPr>
            <a:lvl3pPr algn="ctr">
              <a:defRPr/>
            </a:lvl3pPr>
            <a:lvl4pPr algn="ctr">
              <a:defRPr/>
            </a:lvl4pPr>
            <a:lvl5pPr algn="ctr">
              <a:defRPr/>
            </a:lvl5pPr>
          </a:lstStyle>
          <a:p>
            <a:pPr lvl="0"/>
            <a:r>
              <a:rPr lang="fi-FI"/>
              <a:t>Muokkaa tekstin perustyylejä napsauttamalla</a:t>
            </a:r>
          </a:p>
        </p:txBody>
      </p:sp>
      <p:sp>
        <p:nvSpPr>
          <p:cNvPr id="14" name="Tekstin paikkamerkki 11">
            <a:extLst>
              <a:ext uri="{FF2B5EF4-FFF2-40B4-BE49-F238E27FC236}">
                <a16:creationId xmlns:a16="http://schemas.microsoft.com/office/drawing/2014/main" id="{F7FC5B1C-D04E-47CB-AC93-57495EA3B9B1}"/>
              </a:ext>
            </a:extLst>
          </p:cNvPr>
          <p:cNvSpPr>
            <a:spLocks noGrp="1"/>
          </p:cNvSpPr>
          <p:nvPr>
            <p:ph type="body" sz="quarter" idx="14"/>
          </p:nvPr>
        </p:nvSpPr>
        <p:spPr>
          <a:xfrm>
            <a:off x="5155222" y="2261989"/>
            <a:ext cx="1987062" cy="2582862"/>
          </a:xfrm>
        </p:spPr>
        <p:txBody>
          <a:bodyPr anchor="ctr" anchorCtr="0">
            <a:normAutofit/>
          </a:bodyPr>
          <a:lstStyle>
            <a:lvl1pPr algn="ctr">
              <a:spcAft>
                <a:spcPts val="0"/>
              </a:spcAft>
              <a:defRPr sz="1600" b="1">
                <a:solidFill>
                  <a:srgbClr val="A2E4B8"/>
                </a:solidFill>
              </a:defRPr>
            </a:lvl1pPr>
            <a:lvl2pPr algn="ctr">
              <a:defRPr b="1"/>
            </a:lvl2pPr>
            <a:lvl3pPr algn="ctr">
              <a:defRPr/>
            </a:lvl3pPr>
            <a:lvl4pPr algn="ctr">
              <a:defRPr/>
            </a:lvl4pPr>
            <a:lvl5pPr algn="ctr">
              <a:defRPr/>
            </a:lvl5pPr>
          </a:lstStyle>
          <a:p>
            <a:pPr lvl="0"/>
            <a:r>
              <a:rPr lang="fi-FI"/>
              <a:t>Muokkaa tekstin perustyylejä napsauttamalla</a:t>
            </a:r>
          </a:p>
        </p:txBody>
      </p:sp>
      <p:sp>
        <p:nvSpPr>
          <p:cNvPr id="15" name="Tekstin paikkamerkki 11">
            <a:extLst>
              <a:ext uri="{FF2B5EF4-FFF2-40B4-BE49-F238E27FC236}">
                <a16:creationId xmlns:a16="http://schemas.microsoft.com/office/drawing/2014/main" id="{6D7AFADF-B093-C43E-4A8F-2312D69D6C76}"/>
              </a:ext>
            </a:extLst>
          </p:cNvPr>
          <p:cNvSpPr>
            <a:spLocks noGrp="1"/>
          </p:cNvSpPr>
          <p:nvPr>
            <p:ph type="body" sz="quarter" idx="15"/>
          </p:nvPr>
        </p:nvSpPr>
        <p:spPr>
          <a:xfrm>
            <a:off x="7265375" y="2261989"/>
            <a:ext cx="1987062" cy="2582862"/>
          </a:xfrm>
        </p:spPr>
        <p:txBody>
          <a:bodyPr anchor="ctr" anchorCtr="0">
            <a:normAutofit/>
          </a:bodyPr>
          <a:lstStyle>
            <a:lvl1pPr algn="ctr">
              <a:spcAft>
                <a:spcPts val="0"/>
              </a:spcAft>
              <a:defRPr sz="1600" b="1">
                <a:solidFill>
                  <a:srgbClr val="A2E4B8"/>
                </a:solidFill>
              </a:defRPr>
            </a:lvl1pPr>
            <a:lvl2pPr algn="ctr">
              <a:defRPr b="1"/>
            </a:lvl2pPr>
            <a:lvl3pPr algn="ctr">
              <a:defRPr/>
            </a:lvl3pPr>
            <a:lvl4pPr algn="ctr">
              <a:defRPr/>
            </a:lvl4pPr>
            <a:lvl5pPr algn="ctr">
              <a:defRPr/>
            </a:lvl5pPr>
          </a:lstStyle>
          <a:p>
            <a:pPr lvl="0"/>
            <a:r>
              <a:rPr lang="fi-FI"/>
              <a:t>Muokkaa tekstin perustyylejä napsauttamalla</a:t>
            </a:r>
          </a:p>
        </p:txBody>
      </p:sp>
      <p:sp>
        <p:nvSpPr>
          <p:cNvPr id="16" name="Tekstin paikkamerkki 11">
            <a:extLst>
              <a:ext uri="{FF2B5EF4-FFF2-40B4-BE49-F238E27FC236}">
                <a16:creationId xmlns:a16="http://schemas.microsoft.com/office/drawing/2014/main" id="{1FF4A9F2-17B6-D185-34D4-D3717759EE73}"/>
              </a:ext>
            </a:extLst>
          </p:cNvPr>
          <p:cNvSpPr>
            <a:spLocks noGrp="1"/>
          </p:cNvSpPr>
          <p:nvPr>
            <p:ph type="body" sz="quarter" idx="16"/>
          </p:nvPr>
        </p:nvSpPr>
        <p:spPr>
          <a:xfrm>
            <a:off x="9375528" y="2261989"/>
            <a:ext cx="1987062" cy="2582862"/>
          </a:xfrm>
        </p:spPr>
        <p:txBody>
          <a:bodyPr anchor="ctr" anchorCtr="0">
            <a:normAutofit/>
          </a:bodyPr>
          <a:lstStyle>
            <a:lvl1pPr algn="ctr">
              <a:spcAft>
                <a:spcPts val="0"/>
              </a:spcAft>
              <a:defRPr sz="1600" b="1">
                <a:solidFill>
                  <a:srgbClr val="A2E4B8"/>
                </a:solidFill>
              </a:defRPr>
            </a:lvl1pPr>
            <a:lvl2pPr algn="ctr">
              <a:defRPr b="1"/>
            </a:lvl2pPr>
            <a:lvl3pPr algn="ctr">
              <a:defRPr/>
            </a:lvl3pPr>
            <a:lvl4pPr algn="ctr">
              <a:defRPr/>
            </a:lvl4pPr>
            <a:lvl5pPr algn="ctr">
              <a:defRPr/>
            </a:lvl5pPr>
          </a:lstStyle>
          <a:p>
            <a:pPr lvl="0"/>
            <a:r>
              <a:rPr lang="fi-FI"/>
              <a:t>Muokkaa tekstin perustyylejä napsauttamalla</a:t>
            </a:r>
          </a:p>
        </p:txBody>
      </p:sp>
      <p:sp>
        <p:nvSpPr>
          <p:cNvPr id="3" name="Päivämäärän paikkamerkki 2">
            <a:extLst>
              <a:ext uri="{FF2B5EF4-FFF2-40B4-BE49-F238E27FC236}">
                <a16:creationId xmlns:a16="http://schemas.microsoft.com/office/drawing/2014/main" id="{F45DDA58-88D7-608E-1A43-09D76B45FCD3}"/>
              </a:ext>
            </a:extLst>
          </p:cNvPr>
          <p:cNvSpPr>
            <a:spLocks noGrp="1"/>
          </p:cNvSpPr>
          <p:nvPr>
            <p:ph type="dt" sz="half" idx="10"/>
          </p:nvPr>
        </p:nvSpPr>
        <p:spPr/>
        <p:txBody>
          <a:bodyPr/>
          <a:lstStyle/>
          <a:p>
            <a:endParaRPr lang="fi-FI" dirty="0"/>
          </a:p>
        </p:txBody>
      </p:sp>
      <p:sp>
        <p:nvSpPr>
          <p:cNvPr id="4" name="Alatunnisteen paikkamerkki 3">
            <a:extLst>
              <a:ext uri="{FF2B5EF4-FFF2-40B4-BE49-F238E27FC236}">
                <a16:creationId xmlns:a16="http://schemas.microsoft.com/office/drawing/2014/main" id="{E0D47F8B-DBD0-3E8F-46CA-EE6A775E8A33}"/>
              </a:ext>
            </a:extLst>
          </p:cNvPr>
          <p:cNvSpPr>
            <a:spLocks noGrp="1"/>
          </p:cNvSpPr>
          <p:nvPr>
            <p:ph type="ftr" sz="quarter" idx="11"/>
          </p:nvPr>
        </p:nvSpPr>
        <p:spPr/>
        <p:txBody>
          <a:bodyPr/>
          <a:lstStyle/>
          <a:p>
            <a:r>
              <a:rPr lang="fi-FI"/>
              <a:t>7</a:t>
            </a:r>
          </a:p>
        </p:txBody>
      </p:sp>
      <p:sp>
        <p:nvSpPr>
          <p:cNvPr id="18" name="Title 1">
            <a:extLst>
              <a:ext uri="{FF2B5EF4-FFF2-40B4-BE49-F238E27FC236}">
                <a16:creationId xmlns:a16="http://schemas.microsoft.com/office/drawing/2014/main" id="{437E7824-E1AD-056C-F5A7-FE90D2190DC1}"/>
              </a:ext>
            </a:extLst>
          </p:cNvPr>
          <p:cNvSpPr>
            <a:spLocks noGrp="1"/>
          </p:cNvSpPr>
          <p:nvPr>
            <p:ph type="title"/>
          </p:nvPr>
        </p:nvSpPr>
        <p:spPr>
          <a:xfrm>
            <a:off x="838200" y="681037"/>
            <a:ext cx="10515600" cy="1009651"/>
          </a:xfrm>
        </p:spPr>
        <p:txBody>
          <a:bodyPr>
            <a:noAutofit/>
          </a:bodyPr>
          <a:lstStyle>
            <a:lvl1pPr marL="0" indent="0">
              <a:lnSpc>
                <a:spcPct val="100000"/>
              </a:lnSpc>
              <a:buFontTx/>
              <a:buNone/>
              <a:defRPr b="1" i="0">
                <a:solidFill>
                  <a:srgbClr val="152A96"/>
                </a:solidFill>
                <a:latin typeface="Poppins" pitchFamily="2" charset="77"/>
                <a:cs typeface="Poppins" pitchFamily="2" charset="77"/>
              </a:defRPr>
            </a:lvl1pPr>
          </a:lstStyle>
          <a:p>
            <a:r>
              <a:rPr lang="fi-FI"/>
              <a:t>Muokkaa ots. perustyyl. napsautt.</a:t>
            </a:r>
          </a:p>
        </p:txBody>
      </p:sp>
      <p:cxnSp>
        <p:nvCxnSpPr>
          <p:cNvPr id="10" name="Straight Arrow Connector 16">
            <a:extLst>
              <a:ext uri="{FF2B5EF4-FFF2-40B4-BE49-F238E27FC236}">
                <a16:creationId xmlns:a16="http://schemas.microsoft.com/office/drawing/2014/main" id="{CE627CFE-2ABB-C796-007B-D275FD7A483A}"/>
              </a:ext>
            </a:extLst>
          </p:cNvPr>
          <p:cNvCxnSpPr>
            <a:cxnSpLocks/>
          </p:cNvCxnSpPr>
          <p:nvPr/>
        </p:nvCxnSpPr>
        <p:spPr>
          <a:xfrm>
            <a:off x="1752600" y="5255158"/>
            <a:ext cx="8686800" cy="0"/>
          </a:xfrm>
          <a:prstGeom prst="straightConnector1">
            <a:avLst/>
          </a:prstGeom>
          <a:ln w="41275">
            <a:solidFill>
              <a:srgbClr val="152A96"/>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2" name="Straight Arrow Connector 16">
            <a:extLst>
              <a:ext uri="{FF2B5EF4-FFF2-40B4-BE49-F238E27FC236}">
                <a16:creationId xmlns:a16="http://schemas.microsoft.com/office/drawing/2014/main" id="{FCFBC1C3-F9ED-967E-FBD0-C9247B9EAA72}"/>
              </a:ext>
            </a:extLst>
          </p:cNvPr>
          <p:cNvCxnSpPr>
            <a:cxnSpLocks/>
          </p:cNvCxnSpPr>
          <p:nvPr/>
        </p:nvCxnSpPr>
        <p:spPr>
          <a:xfrm>
            <a:off x="1752600" y="5255158"/>
            <a:ext cx="8686800" cy="0"/>
          </a:xfrm>
          <a:prstGeom prst="straightConnector1">
            <a:avLst/>
          </a:prstGeom>
          <a:ln w="41275">
            <a:solidFill>
              <a:srgbClr val="152A96"/>
            </a:solidFill>
            <a:tailEnd type="triangle" w="lg" len="lg"/>
          </a:ln>
        </p:spPr>
        <p:style>
          <a:lnRef idx="2">
            <a:schemeClr val="accent1"/>
          </a:lnRef>
          <a:fillRef idx="0">
            <a:schemeClr val="accent1"/>
          </a:fillRef>
          <a:effectRef idx="1">
            <a:schemeClr val="accent1"/>
          </a:effectRef>
          <a:fontRef idx="minor">
            <a:schemeClr val="tx1"/>
          </a:fontRef>
        </p:style>
      </p:cxnSp>
      <p:pic>
        <p:nvPicPr>
          <p:cNvPr id="2" name="Graphic 18">
            <a:extLst>
              <a:ext uri="{FF2B5EF4-FFF2-40B4-BE49-F238E27FC236}">
                <a16:creationId xmlns:a16="http://schemas.microsoft.com/office/drawing/2014/main" id="{C6A0789B-5EF3-6BDB-BCC8-FBCF7E94F26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2558877139"/>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Jäsennys">
    <p:bg>
      <p:bgPr>
        <a:solidFill>
          <a:srgbClr val="A2E4B8">
            <a:alpha val="90000"/>
          </a:srgbClr>
        </a:solidFill>
        <a:effectLst/>
      </p:bgPr>
    </p:bg>
    <p:spTree>
      <p:nvGrpSpPr>
        <p:cNvPr id="1" name=""/>
        <p:cNvGrpSpPr/>
        <p:nvPr/>
      </p:nvGrpSpPr>
      <p:grpSpPr>
        <a:xfrm>
          <a:off x="0" y="0"/>
          <a:ext cx="0" cy="0"/>
          <a:chOff x="0" y="0"/>
          <a:chExt cx="0" cy="0"/>
        </a:xfrm>
      </p:grpSpPr>
      <p:sp>
        <p:nvSpPr>
          <p:cNvPr id="31" name="Rectangle 5">
            <a:extLst>
              <a:ext uri="{FF2B5EF4-FFF2-40B4-BE49-F238E27FC236}">
                <a16:creationId xmlns:a16="http://schemas.microsoft.com/office/drawing/2014/main" id="{4BDCDF37-53E2-19F3-7A59-6CBAF5C51A4F}"/>
              </a:ext>
            </a:extLst>
          </p:cNvPr>
          <p:cNvSpPr/>
          <p:nvPr/>
        </p:nvSpPr>
        <p:spPr>
          <a:xfrm>
            <a:off x="1582982" y="2486492"/>
            <a:ext cx="4527224" cy="1730675"/>
          </a:xfrm>
          <a:prstGeom prst="rect">
            <a:avLst/>
          </a:pr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fi-FI" sz="1200" noProof="0">
              <a:solidFill>
                <a:schemeClr val="accent2"/>
              </a:solidFill>
              <a:latin typeface="Arial" panose="020B0604020202020204" pitchFamily="34" charset="0"/>
              <a:cs typeface="Arial" panose="020B0604020202020204" pitchFamily="34" charset="0"/>
            </a:endParaRPr>
          </a:p>
        </p:txBody>
      </p:sp>
      <p:sp>
        <p:nvSpPr>
          <p:cNvPr id="32" name="Rectangle 7">
            <a:extLst>
              <a:ext uri="{FF2B5EF4-FFF2-40B4-BE49-F238E27FC236}">
                <a16:creationId xmlns:a16="http://schemas.microsoft.com/office/drawing/2014/main" id="{D6A4791B-04C6-827A-7E3E-62DAC6A96DC7}"/>
              </a:ext>
            </a:extLst>
          </p:cNvPr>
          <p:cNvSpPr/>
          <p:nvPr/>
        </p:nvSpPr>
        <p:spPr>
          <a:xfrm>
            <a:off x="6249904" y="2486492"/>
            <a:ext cx="4527225" cy="1730675"/>
          </a:xfrm>
          <a:prstGeom prst="rect">
            <a:avLst/>
          </a:pr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fi-FI" sz="1200" noProof="0">
              <a:solidFill>
                <a:schemeClr val="accent2"/>
              </a:solidFill>
              <a:latin typeface="Arial" panose="020B0604020202020204" pitchFamily="34" charset="0"/>
              <a:cs typeface="Arial" panose="020B0604020202020204" pitchFamily="34" charset="0"/>
            </a:endParaRPr>
          </a:p>
        </p:txBody>
      </p:sp>
      <p:sp>
        <p:nvSpPr>
          <p:cNvPr id="3" name="Päivämäärän paikkamerkki 2">
            <a:extLst>
              <a:ext uri="{FF2B5EF4-FFF2-40B4-BE49-F238E27FC236}">
                <a16:creationId xmlns:a16="http://schemas.microsoft.com/office/drawing/2014/main" id="{F45DDA58-88D7-608E-1A43-09D76B45FCD3}"/>
              </a:ext>
            </a:extLst>
          </p:cNvPr>
          <p:cNvSpPr>
            <a:spLocks noGrp="1"/>
          </p:cNvSpPr>
          <p:nvPr>
            <p:ph type="dt" sz="half" idx="10"/>
          </p:nvPr>
        </p:nvSpPr>
        <p:spPr/>
        <p:txBody>
          <a:bodyPr/>
          <a:lstStyle/>
          <a:p>
            <a:endParaRPr lang="fi-FI" dirty="0"/>
          </a:p>
        </p:txBody>
      </p:sp>
      <p:sp>
        <p:nvSpPr>
          <p:cNvPr id="4" name="Alatunnisteen paikkamerkki 3">
            <a:extLst>
              <a:ext uri="{FF2B5EF4-FFF2-40B4-BE49-F238E27FC236}">
                <a16:creationId xmlns:a16="http://schemas.microsoft.com/office/drawing/2014/main" id="{E0D47F8B-DBD0-3E8F-46CA-EE6A775E8A33}"/>
              </a:ext>
            </a:extLst>
          </p:cNvPr>
          <p:cNvSpPr>
            <a:spLocks noGrp="1"/>
          </p:cNvSpPr>
          <p:nvPr>
            <p:ph type="ftr" sz="quarter" idx="11"/>
          </p:nvPr>
        </p:nvSpPr>
        <p:spPr/>
        <p:txBody>
          <a:bodyPr/>
          <a:lstStyle/>
          <a:p>
            <a:r>
              <a:rPr lang="fi-FI"/>
              <a:t>7</a:t>
            </a:r>
          </a:p>
        </p:txBody>
      </p:sp>
      <p:sp>
        <p:nvSpPr>
          <p:cNvPr id="18" name="Title 1">
            <a:extLst>
              <a:ext uri="{FF2B5EF4-FFF2-40B4-BE49-F238E27FC236}">
                <a16:creationId xmlns:a16="http://schemas.microsoft.com/office/drawing/2014/main" id="{437E7824-E1AD-056C-F5A7-FE90D2190DC1}"/>
              </a:ext>
            </a:extLst>
          </p:cNvPr>
          <p:cNvSpPr>
            <a:spLocks noGrp="1"/>
          </p:cNvSpPr>
          <p:nvPr>
            <p:ph type="title" hasCustomPrompt="1"/>
          </p:nvPr>
        </p:nvSpPr>
        <p:spPr>
          <a:xfrm>
            <a:off x="838200" y="681037"/>
            <a:ext cx="10515600" cy="1009651"/>
          </a:xfrm>
        </p:spPr>
        <p:txBody>
          <a:bodyPr>
            <a:noAutofit/>
          </a:bodyPr>
          <a:lstStyle>
            <a:lvl1pPr marL="0" indent="0">
              <a:lnSpc>
                <a:spcPct val="100000"/>
              </a:lnSpc>
              <a:buFontTx/>
              <a:buNone/>
              <a:defRPr b="1" i="0">
                <a:solidFill>
                  <a:srgbClr val="152A96"/>
                </a:solidFill>
                <a:latin typeface="Poppins" pitchFamily="2" charset="77"/>
                <a:cs typeface="Poppins" pitchFamily="2" charset="77"/>
              </a:defRPr>
            </a:lvl1pPr>
          </a:lstStyle>
          <a:p>
            <a:r>
              <a:rPr lang="fi-FI"/>
              <a:t>Muokkaa </a:t>
            </a:r>
            <a:r>
              <a:rPr lang="fi-FI" err="1"/>
              <a:t>ots</a:t>
            </a:r>
            <a:r>
              <a:rPr lang="fi-FI"/>
              <a:t>. </a:t>
            </a:r>
            <a:br>
              <a:rPr lang="fi-FI"/>
            </a:br>
            <a:r>
              <a:rPr lang="fi-FI" err="1"/>
              <a:t>perustyyl</a:t>
            </a:r>
            <a:r>
              <a:rPr lang="fi-FI"/>
              <a:t>. </a:t>
            </a:r>
            <a:r>
              <a:rPr lang="fi-FI" err="1"/>
              <a:t>napsautt</a:t>
            </a:r>
            <a:r>
              <a:rPr lang="fi-FI"/>
              <a:t>.</a:t>
            </a:r>
          </a:p>
        </p:txBody>
      </p:sp>
      <p:sp>
        <p:nvSpPr>
          <p:cNvPr id="24" name="Rectangle 5">
            <a:extLst>
              <a:ext uri="{FF2B5EF4-FFF2-40B4-BE49-F238E27FC236}">
                <a16:creationId xmlns:a16="http://schemas.microsoft.com/office/drawing/2014/main" id="{B053A9D8-A75F-1A7C-0410-A1E39E6798B3}"/>
              </a:ext>
            </a:extLst>
          </p:cNvPr>
          <p:cNvSpPr/>
          <p:nvPr/>
        </p:nvSpPr>
        <p:spPr>
          <a:xfrm>
            <a:off x="1597187" y="4401705"/>
            <a:ext cx="4527224" cy="1730675"/>
          </a:xfrm>
          <a:prstGeom prst="rect">
            <a:avLst/>
          </a:pr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fi-FI" sz="1200" noProof="0">
              <a:solidFill>
                <a:schemeClr val="accent2"/>
              </a:solidFill>
              <a:latin typeface="Arial" panose="020B0604020202020204" pitchFamily="34" charset="0"/>
              <a:cs typeface="Arial" panose="020B0604020202020204" pitchFamily="34" charset="0"/>
            </a:endParaRPr>
          </a:p>
        </p:txBody>
      </p:sp>
      <p:sp>
        <p:nvSpPr>
          <p:cNvPr id="26" name="Rectangle 7">
            <a:extLst>
              <a:ext uri="{FF2B5EF4-FFF2-40B4-BE49-F238E27FC236}">
                <a16:creationId xmlns:a16="http://schemas.microsoft.com/office/drawing/2014/main" id="{087FCAE4-8A4F-88E0-2710-6BFDE9FD9BE6}"/>
              </a:ext>
            </a:extLst>
          </p:cNvPr>
          <p:cNvSpPr/>
          <p:nvPr/>
        </p:nvSpPr>
        <p:spPr>
          <a:xfrm>
            <a:off x="6264109" y="4401705"/>
            <a:ext cx="4527225" cy="1730675"/>
          </a:xfrm>
          <a:prstGeom prst="rect">
            <a:avLst/>
          </a:prstGeom>
          <a:solidFill>
            <a:srgbClr val="152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fi-FI" sz="1200" noProof="0">
              <a:solidFill>
                <a:schemeClr val="accent2"/>
              </a:solidFill>
              <a:latin typeface="Arial" panose="020B0604020202020204" pitchFamily="34" charset="0"/>
              <a:cs typeface="Arial" panose="020B0604020202020204" pitchFamily="34" charset="0"/>
            </a:endParaRPr>
          </a:p>
        </p:txBody>
      </p:sp>
      <p:sp>
        <p:nvSpPr>
          <p:cNvPr id="12" name="Tekstin paikkamerkki 11">
            <a:extLst>
              <a:ext uri="{FF2B5EF4-FFF2-40B4-BE49-F238E27FC236}">
                <a16:creationId xmlns:a16="http://schemas.microsoft.com/office/drawing/2014/main" id="{21BBDA6E-A24D-65FE-77D3-BD580E9FD6E6}"/>
              </a:ext>
            </a:extLst>
          </p:cNvPr>
          <p:cNvSpPr>
            <a:spLocks noGrp="1"/>
          </p:cNvSpPr>
          <p:nvPr>
            <p:ph type="body" sz="quarter" idx="12"/>
          </p:nvPr>
        </p:nvSpPr>
        <p:spPr>
          <a:xfrm>
            <a:off x="1597187" y="2486491"/>
            <a:ext cx="4498813" cy="1722431"/>
          </a:xfrm>
        </p:spPr>
        <p:txBody>
          <a:bodyPr anchor="ctr" anchorCtr="0">
            <a:normAutofit/>
          </a:bodyPr>
          <a:lstStyle>
            <a:lvl1pPr algn="ctr">
              <a:spcAft>
                <a:spcPts val="0"/>
              </a:spcAft>
              <a:defRPr sz="1600" b="1">
                <a:solidFill>
                  <a:srgbClr val="A2E4B8"/>
                </a:solidFill>
              </a:defRPr>
            </a:lvl1pPr>
            <a:lvl2pPr algn="ctr">
              <a:defRPr b="1"/>
            </a:lvl2pPr>
            <a:lvl3pPr algn="ctr">
              <a:defRPr/>
            </a:lvl3pPr>
            <a:lvl4pPr algn="ctr">
              <a:defRPr/>
            </a:lvl4pPr>
            <a:lvl5pPr algn="ctr">
              <a:defRPr/>
            </a:lvl5pPr>
          </a:lstStyle>
          <a:p>
            <a:pPr lvl="0"/>
            <a:r>
              <a:rPr lang="fi-FI"/>
              <a:t>Muokkaa tekstin perustyylejä napsauttamalla</a:t>
            </a:r>
          </a:p>
        </p:txBody>
      </p:sp>
      <p:sp>
        <p:nvSpPr>
          <p:cNvPr id="27" name="Tekstin paikkamerkki 11">
            <a:extLst>
              <a:ext uri="{FF2B5EF4-FFF2-40B4-BE49-F238E27FC236}">
                <a16:creationId xmlns:a16="http://schemas.microsoft.com/office/drawing/2014/main" id="{67D1E8F6-2785-9C50-939A-DC53FFB81453}"/>
              </a:ext>
            </a:extLst>
          </p:cNvPr>
          <p:cNvSpPr>
            <a:spLocks noGrp="1"/>
          </p:cNvSpPr>
          <p:nvPr>
            <p:ph type="body" sz="quarter" idx="13"/>
          </p:nvPr>
        </p:nvSpPr>
        <p:spPr>
          <a:xfrm>
            <a:off x="6292521" y="2486492"/>
            <a:ext cx="4498813" cy="1705742"/>
          </a:xfrm>
        </p:spPr>
        <p:txBody>
          <a:bodyPr anchor="ctr" anchorCtr="0">
            <a:normAutofit/>
          </a:bodyPr>
          <a:lstStyle>
            <a:lvl1pPr algn="ctr">
              <a:spcAft>
                <a:spcPts val="0"/>
              </a:spcAft>
              <a:defRPr sz="1600" b="1">
                <a:solidFill>
                  <a:srgbClr val="A2E4B8"/>
                </a:solidFill>
              </a:defRPr>
            </a:lvl1pPr>
            <a:lvl2pPr algn="ctr">
              <a:defRPr b="1"/>
            </a:lvl2pPr>
            <a:lvl3pPr algn="ctr">
              <a:defRPr/>
            </a:lvl3pPr>
            <a:lvl4pPr algn="ctr">
              <a:defRPr/>
            </a:lvl4pPr>
            <a:lvl5pPr algn="ctr">
              <a:defRPr/>
            </a:lvl5pPr>
          </a:lstStyle>
          <a:p>
            <a:pPr lvl="0"/>
            <a:r>
              <a:rPr lang="fi-FI"/>
              <a:t>Muokkaa tekstin perustyylejä napsauttamalla</a:t>
            </a:r>
          </a:p>
        </p:txBody>
      </p:sp>
      <p:sp>
        <p:nvSpPr>
          <p:cNvPr id="28" name="Tekstin paikkamerkki 11">
            <a:extLst>
              <a:ext uri="{FF2B5EF4-FFF2-40B4-BE49-F238E27FC236}">
                <a16:creationId xmlns:a16="http://schemas.microsoft.com/office/drawing/2014/main" id="{249C1B4C-692B-0FD1-6E1C-0F79B571EAFA}"/>
              </a:ext>
            </a:extLst>
          </p:cNvPr>
          <p:cNvSpPr>
            <a:spLocks noGrp="1"/>
          </p:cNvSpPr>
          <p:nvPr>
            <p:ph type="body" sz="quarter" idx="14"/>
          </p:nvPr>
        </p:nvSpPr>
        <p:spPr>
          <a:xfrm>
            <a:off x="1625598" y="4418394"/>
            <a:ext cx="4498813" cy="1713986"/>
          </a:xfrm>
        </p:spPr>
        <p:txBody>
          <a:bodyPr anchor="ctr" anchorCtr="0">
            <a:normAutofit/>
          </a:bodyPr>
          <a:lstStyle>
            <a:lvl1pPr algn="ctr">
              <a:spcAft>
                <a:spcPts val="0"/>
              </a:spcAft>
              <a:defRPr sz="1600" b="1">
                <a:solidFill>
                  <a:srgbClr val="A2E4B8"/>
                </a:solidFill>
              </a:defRPr>
            </a:lvl1pPr>
            <a:lvl2pPr algn="ctr">
              <a:defRPr b="1"/>
            </a:lvl2pPr>
            <a:lvl3pPr algn="ctr">
              <a:defRPr/>
            </a:lvl3pPr>
            <a:lvl4pPr algn="ctr">
              <a:defRPr/>
            </a:lvl4pPr>
            <a:lvl5pPr algn="ctr">
              <a:defRPr/>
            </a:lvl5pPr>
          </a:lstStyle>
          <a:p>
            <a:pPr lvl="0"/>
            <a:r>
              <a:rPr lang="fi-FI"/>
              <a:t>Muokkaa tekstin perustyylejä napsauttamalla</a:t>
            </a:r>
          </a:p>
        </p:txBody>
      </p:sp>
      <p:sp>
        <p:nvSpPr>
          <p:cNvPr id="33" name="Tekstin paikkamerkki 11">
            <a:extLst>
              <a:ext uri="{FF2B5EF4-FFF2-40B4-BE49-F238E27FC236}">
                <a16:creationId xmlns:a16="http://schemas.microsoft.com/office/drawing/2014/main" id="{5B83F549-D3D5-5511-7CAC-2856A07DAC61}"/>
              </a:ext>
            </a:extLst>
          </p:cNvPr>
          <p:cNvSpPr>
            <a:spLocks noGrp="1"/>
          </p:cNvSpPr>
          <p:nvPr>
            <p:ph type="body" sz="quarter" idx="15"/>
          </p:nvPr>
        </p:nvSpPr>
        <p:spPr>
          <a:xfrm>
            <a:off x="6292521" y="4401705"/>
            <a:ext cx="4498813" cy="1705742"/>
          </a:xfrm>
        </p:spPr>
        <p:txBody>
          <a:bodyPr anchor="ctr" anchorCtr="0">
            <a:normAutofit/>
          </a:bodyPr>
          <a:lstStyle>
            <a:lvl1pPr algn="ctr">
              <a:spcAft>
                <a:spcPts val="0"/>
              </a:spcAft>
              <a:defRPr sz="1600" b="1">
                <a:solidFill>
                  <a:srgbClr val="A2E4B8"/>
                </a:solidFill>
              </a:defRPr>
            </a:lvl1pPr>
            <a:lvl2pPr algn="ctr">
              <a:defRPr b="1"/>
            </a:lvl2pPr>
            <a:lvl3pPr algn="ctr">
              <a:defRPr/>
            </a:lvl3pPr>
            <a:lvl4pPr algn="ctr">
              <a:defRPr/>
            </a:lvl4pPr>
            <a:lvl5pPr algn="ctr">
              <a:defRPr/>
            </a:lvl5pPr>
          </a:lstStyle>
          <a:p>
            <a:pPr lvl="0"/>
            <a:r>
              <a:rPr lang="fi-FI"/>
              <a:t>Muokkaa tekstin perustyylejä napsauttamalla</a:t>
            </a:r>
          </a:p>
        </p:txBody>
      </p:sp>
    </p:spTree>
    <p:extLst>
      <p:ext uri="{BB962C8B-B14F-4D97-AF65-F5344CB8AC3E}">
        <p14:creationId xmlns:p14="http://schemas.microsoft.com/office/powerpoint/2010/main" val="2156365549"/>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Kuvapaikka oikea">
    <p:bg>
      <p:bgPr>
        <a:solidFill>
          <a:srgbClr val="87DBE8">
            <a:alpha val="70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E1D0E87-623B-5D50-D50D-E438031EC66E}"/>
              </a:ext>
            </a:extLst>
          </p:cNvPr>
          <p:cNvSpPr/>
          <p:nvPr/>
        </p:nvSpPr>
        <p:spPr>
          <a:xfrm>
            <a:off x="6531430" y="-18169"/>
            <a:ext cx="5849020" cy="7137425"/>
          </a:xfrm>
          <a:custGeom>
            <a:avLst/>
            <a:gdLst>
              <a:gd name="connsiteX0" fmla="*/ 0 w 6295292"/>
              <a:gd name="connsiteY0" fmla="*/ 0 h 6588857"/>
              <a:gd name="connsiteX1" fmla="*/ 6295292 w 6295292"/>
              <a:gd name="connsiteY1" fmla="*/ 0 h 6588857"/>
              <a:gd name="connsiteX2" fmla="*/ 6295292 w 6295292"/>
              <a:gd name="connsiteY2" fmla="*/ 6588857 h 6588857"/>
              <a:gd name="connsiteX3" fmla="*/ 0 w 6295292"/>
              <a:gd name="connsiteY3" fmla="*/ 6588857 h 6588857"/>
              <a:gd name="connsiteX4" fmla="*/ 0 w 6295292"/>
              <a:gd name="connsiteY4" fmla="*/ 0 h 6588857"/>
              <a:gd name="connsiteX0" fmla="*/ 0 w 6295292"/>
              <a:gd name="connsiteY0" fmla="*/ 0 h 6588857"/>
              <a:gd name="connsiteX1" fmla="*/ 6295292 w 6295292"/>
              <a:gd name="connsiteY1" fmla="*/ 0 h 6588857"/>
              <a:gd name="connsiteX2" fmla="*/ 6295292 w 6295292"/>
              <a:gd name="connsiteY2" fmla="*/ 6588857 h 6588857"/>
              <a:gd name="connsiteX3" fmla="*/ 35169 w 6295292"/>
              <a:gd name="connsiteY3" fmla="*/ 5064857 h 6588857"/>
              <a:gd name="connsiteX4" fmla="*/ 0 w 6295292"/>
              <a:gd name="connsiteY4" fmla="*/ 0 h 6588857"/>
              <a:gd name="connsiteX0" fmla="*/ 246185 w 6260123"/>
              <a:gd name="connsiteY0" fmla="*/ 1148861 h 6588857"/>
              <a:gd name="connsiteX1" fmla="*/ 6260123 w 6260123"/>
              <a:gd name="connsiteY1" fmla="*/ 0 h 6588857"/>
              <a:gd name="connsiteX2" fmla="*/ 6260123 w 6260123"/>
              <a:gd name="connsiteY2" fmla="*/ 6588857 h 6588857"/>
              <a:gd name="connsiteX3" fmla="*/ 0 w 6260123"/>
              <a:gd name="connsiteY3" fmla="*/ 5064857 h 6588857"/>
              <a:gd name="connsiteX4" fmla="*/ 246185 w 6260123"/>
              <a:gd name="connsiteY4"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0 w 6353907"/>
              <a:gd name="connsiteY3" fmla="*/ 4924180 h 6588857"/>
              <a:gd name="connsiteX4" fmla="*/ 339969 w 6353907"/>
              <a:gd name="connsiteY4" fmla="*/ 1148861 h 6588857"/>
              <a:gd name="connsiteX0" fmla="*/ 339969 w 6353907"/>
              <a:gd name="connsiteY0" fmla="*/ 1148861 h 6713770"/>
              <a:gd name="connsiteX1" fmla="*/ 6353907 w 6353907"/>
              <a:gd name="connsiteY1" fmla="*/ 0 h 6713770"/>
              <a:gd name="connsiteX2" fmla="*/ 6353907 w 6353907"/>
              <a:gd name="connsiteY2" fmla="*/ 6588857 h 6713770"/>
              <a:gd name="connsiteX3" fmla="*/ 1078523 w 6353907"/>
              <a:gd name="connsiteY3" fmla="*/ 6571273 h 6713770"/>
              <a:gd name="connsiteX4" fmla="*/ 0 w 6353907"/>
              <a:gd name="connsiteY4" fmla="*/ 4924180 h 6713770"/>
              <a:gd name="connsiteX5" fmla="*/ 339969 w 6353907"/>
              <a:gd name="connsiteY5" fmla="*/ 1148861 h 6713770"/>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339969 w 6353907"/>
              <a:gd name="connsiteY0" fmla="*/ 1148861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339969 w 6353907"/>
              <a:gd name="connsiteY5" fmla="*/ 1148861 h 6588857"/>
              <a:gd name="connsiteX0" fmla="*/ 492369 w 6353907"/>
              <a:gd name="connsiteY0" fmla="*/ 410307 h 6588857"/>
              <a:gd name="connsiteX1" fmla="*/ 6353907 w 6353907"/>
              <a:gd name="connsiteY1" fmla="*/ 0 h 6588857"/>
              <a:gd name="connsiteX2" fmla="*/ 6353907 w 6353907"/>
              <a:gd name="connsiteY2" fmla="*/ 6588857 h 6588857"/>
              <a:gd name="connsiteX3" fmla="*/ 1078523 w 6353907"/>
              <a:gd name="connsiteY3" fmla="*/ 6571273 h 6588857"/>
              <a:gd name="connsiteX4" fmla="*/ 0 w 6353907"/>
              <a:gd name="connsiteY4" fmla="*/ 4924180 h 6588857"/>
              <a:gd name="connsiteX5" fmla="*/ 492369 w 6353907"/>
              <a:gd name="connsiteY5" fmla="*/ 410307 h 6588857"/>
              <a:gd name="connsiteX0" fmla="*/ 398585 w 6260123"/>
              <a:gd name="connsiteY0" fmla="*/ 410307 h 6588857"/>
              <a:gd name="connsiteX1" fmla="*/ 6260123 w 6260123"/>
              <a:gd name="connsiteY1" fmla="*/ 0 h 6588857"/>
              <a:gd name="connsiteX2" fmla="*/ 6260123 w 6260123"/>
              <a:gd name="connsiteY2" fmla="*/ 6588857 h 6588857"/>
              <a:gd name="connsiteX3" fmla="*/ 984739 w 6260123"/>
              <a:gd name="connsiteY3" fmla="*/ 6571273 h 6588857"/>
              <a:gd name="connsiteX4" fmla="*/ 0 w 6260123"/>
              <a:gd name="connsiteY4" fmla="*/ 4982796 h 6588857"/>
              <a:gd name="connsiteX5" fmla="*/ 398585 w 6260123"/>
              <a:gd name="connsiteY5" fmla="*/ 410307 h 6588857"/>
              <a:gd name="connsiteX0" fmla="*/ 398585 w 6260123"/>
              <a:gd name="connsiteY0" fmla="*/ 410307 h 6594719"/>
              <a:gd name="connsiteX1" fmla="*/ 6260123 w 6260123"/>
              <a:gd name="connsiteY1" fmla="*/ 0 h 6594719"/>
              <a:gd name="connsiteX2" fmla="*/ 6260123 w 6260123"/>
              <a:gd name="connsiteY2" fmla="*/ 6588857 h 6594719"/>
              <a:gd name="connsiteX3" fmla="*/ 1137139 w 6260123"/>
              <a:gd name="connsiteY3" fmla="*/ 6594719 h 6594719"/>
              <a:gd name="connsiteX4" fmla="*/ 0 w 6260123"/>
              <a:gd name="connsiteY4" fmla="*/ 4982796 h 6594719"/>
              <a:gd name="connsiteX5" fmla="*/ 398585 w 6260123"/>
              <a:gd name="connsiteY5" fmla="*/ 410307 h 6594719"/>
              <a:gd name="connsiteX0" fmla="*/ 167107 w 6028645"/>
              <a:gd name="connsiteY0" fmla="*/ 410307 h 6801552"/>
              <a:gd name="connsiteX1" fmla="*/ 6028645 w 6028645"/>
              <a:gd name="connsiteY1" fmla="*/ 0 h 6801552"/>
              <a:gd name="connsiteX2" fmla="*/ 6028645 w 6028645"/>
              <a:gd name="connsiteY2" fmla="*/ 6588857 h 6801552"/>
              <a:gd name="connsiteX3" fmla="*/ 905661 w 6028645"/>
              <a:gd name="connsiteY3" fmla="*/ 6594719 h 6801552"/>
              <a:gd name="connsiteX4" fmla="*/ 0 w 6028645"/>
              <a:gd name="connsiteY4" fmla="*/ 6801552 h 6801552"/>
              <a:gd name="connsiteX5" fmla="*/ 167107 w 6028645"/>
              <a:gd name="connsiteY5" fmla="*/ 410307 h 6801552"/>
              <a:gd name="connsiteX0" fmla="*/ 167107 w 6028645"/>
              <a:gd name="connsiteY0" fmla="*/ 410307 h 6801552"/>
              <a:gd name="connsiteX1" fmla="*/ 6028645 w 6028645"/>
              <a:gd name="connsiteY1" fmla="*/ 0 h 6801552"/>
              <a:gd name="connsiteX2" fmla="*/ 6028645 w 6028645"/>
              <a:gd name="connsiteY2" fmla="*/ 6588857 h 6801552"/>
              <a:gd name="connsiteX3" fmla="*/ 3402317 w 6028645"/>
              <a:gd name="connsiteY3" fmla="*/ 6264036 h 6801552"/>
              <a:gd name="connsiteX4" fmla="*/ 0 w 6028645"/>
              <a:gd name="connsiteY4" fmla="*/ 6801552 h 6801552"/>
              <a:gd name="connsiteX5" fmla="*/ 167107 w 6028645"/>
              <a:gd name="connsiteY5" fmla="*/ 410307 h 6801552"/>
              <a:gd name="connsiteX0" fmla="*/ 167107 w 6028645"/>
              <a:gd name="connsiteY0" fmla="*/ 410307 h 7239551"/>
              <a:gd name="connsiteX1" fmla="*/ 6028645 w 6028645"/>
              <a:gd name="connsiteY1" fmla="*/ 0 h 7239551"/>
              <a:gd name="connsiteX2" fmla="*/ 6028645 w 6028645"/>
              <a:gd name="connsiteY2" fmla="*/ 6588857 h 7239551"/>
              <a:gd name="connsiteX3" fmla="*/ 1765437 w 6028645"/>
              <a:gd name="connsiteY3" fmla="*/ 7239551 h 7239551"/>
              <a:gd name="connsiteX4" fmla="*/ 0 w 6028645"/>
              <a:gd name="connsiteY4" fmla="*/ 6801552 h 7239551"/>
              <a:gd name="connsiteX5" fmla="*/ 167107 w 6028645"/>
              <a:gd name="connsiteY5" fmla="*/ 410307 h 7239551"/>
              <a:gd name="connsiteX0" fmla="*/ 167107 w 6028645"/>
              <a:gd name="connsiteY0" fmla="*/ 410307 h 7239551"/>
              <a:gd name="connsiteX1" fmla="*/ 6028645 w 6028645"/>
              <a:gd name="connsiteY1" fmla="*/ 0 h 7239551"/>
              <a:gd name="connsiteX2" fmla="*/ 6012111 w 6028645"/>
              <a:gd name="connsiteY2" fmla="*/ 7167553 h 7239551"/>
              <a:gd name="connsiteX3" fmla="*/ 1765437 w 6028645"/>
              <a:gd name="connsiteY3" fmla="*/ 7239551 h 7239551"/>
              <a:gd name="connsiteX4" fmla="*/ 0 w 6028645"/>
              <a:gd name="connsiteY4" fmla="*/ 6801552 h 7239551"/>
              <a:gd name="connsiteX5" fmla="*/ 167107 w 6028645"/>
              <a:gd name="connsiteY5" fmla="*/ 410307 h 7239551"/>
              <a:gd name="connsiteX0" fmla="*/ 0 w 6291427"/>
              <a:gd name="connsiteY0" fmla="*/ 0 h 7738622"/>
              <a:gd name="connsiteX1" fmla="*/ 6291427 w 6291427"/>
              <a:gd name="connsiteY1" fmla="*/ 499071 h 7738622"/>
              <a:gd name="connsiteX2" fmla="*/ 6274893 w 6291427"/>
              <a:gd name="connsiteY2" fmla="*/ 7666624 h 7738622"/>
              <a:gd name="connsiteX3" fmla="*/ 2028219 w 6291427"/>
              <a:gd name="connsiteY3" fmla="*/ 7738622 h 7738622"/>
              <a:gd name="connsiteX4" fmla="*/ 262782 w 6291427"/>
              <a:gd name="connsiteY4" fmla="*/ 7300623 h 7738622"/>
              <a:gd name="connsiteX5" fmla="*/ 0 w 6291427"/>
              <a:gd name="connsiteY5" fmla="*/ 0 h 7738622"/>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62782 w 6275019"/>
              <a:gd name="connsiteY4" fmla="*/ 7314110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2428754 w 6275019"/>
              <a:gd name="connsiteY4" fmla="*/ 6933826 h 7752109"/>
              <a:gd name="connsiteX5" fmla="*/ 0 w 6275019"/>
              <a:gd name="connsiteY5" fmla="*/ 13487 h 7752109"/>
              <a:gd name="connsiteX0" fmla="*/ 0 w 6275019"/>
              <a:gd name="connsiteY0" fmla="*/ 13487 h 7752109"/>
              <a:gd name="connsiteX1" fmla="*/ 6109551 w 6275019"/>
              <a:gd name="connsiteY1" fmla="*/ 0 h 7752109"/>
              <a:gd name="connsiteX2" fmla="*/ 6274893 w 6275019"/>
              <a:gd name="connsiteY2" fmla="*/ 7680111 h 7752109"/>
              <a:gd name="connsiteX3" fmla="*/ 2028219 w 6275019"/>
              <a:gd name="connsiteY3" fmla="*/ 7752109 h 7752109"/>
              <a:gd name="connsiteX4" fmla="*/ 0 w 6275019"/>
              <a:gd name="connsiteY4" fmla="*/ 13487 h 7752109"/>
              <a:gd name="connsiteX0" fmla="*/ 0 w 6275019"/>
              <a:gd name="connsiteY0" fmla="*/ 13487 h 7680111"/>
              <a:gd name="connsiteX1" fmla="*/ 6109551 w 6275019"/>
              <a:gd name="connsiteY1" fmla="*/ 0 h 7680111"/>
              <a:gd name="connsiteX2" fmla="*/ 6274893 w 6275019"/>
              <a:gd name="connsiteY2" fmla="*/ 7680111 h 7680111"/>
              <a:gd name="connsiteX3" fmla="*/ 1780207 w 6275019"/>
              <a:gd name="connsiteY3" fmla="*/ 7669438 h 7680111"/>
              <a:gd name="connsiteX4" fmla="*/ 0 w 6275019"/>
              <a:gd name="connsiteY4" fmla="*/ 13487 h 768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5019" h="7680111">
                <a:moveTo>
                  <a:pt x="0" y="13487"/>
                </a:moveTo>
                <a:lnTo>
                  <a:pt x="6109551" y="0"/>
                </a:lnTo>
                <a:cubicBezTo>
                  <a:pt x="6104040" y="2389184"/>
                  <a:pt x="6280404" y="5290927"/>
                  <a:pt x="6274893" y="7680111"/>
                </a:cubicBezTo>
                <a:lnTo>
                  <a:pt x="1780207" y="7669438"/>
                </a:lnTo>
                <a:lnTo>
                  <a:pt x="0" y="13487"/>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8" name="Picture Placeholder 7">
            <a:extLst>
              <a:ext uri="{FF2B5EF4-FFF2-40B4-BE49-F238E27FC236}">
                <a16:creationId xmlns:a16="http://schemas.microsoft.com/office/drawing/2014/main" id="{FAE12E07-70C4-0DBB-251E-EDA6D5378E3E}"/>
              </a:ext>
            </a:extLst>
          </p:cNvPr>
          <p:cNvSpPr>
            <a:spLocks noGrp="1"/>
          </p:cNvSpPr>
          <p:nvPr>
            <p:ph type="pic" sz="quarter" idx="10"/>
          </p:nvPr>
        </p:nvSpPr>
        <p:spPr>
          <a:xfrm>
            <a:off x="6096000" y="-15594"/>
            <a:ext cx="6173016" cy="7036880"/>
          </a:xfrm>
          <a:custGeom>
            <a:avLst/>
            <a:gdLst>
              <a:gd name="connsiteX0" fmla="*/ 0 w 5919787"/>
              <a:gd name="connsiteY0" fmla="*/ 0 h 5264150"/>
              <a:gd name="connsiteX1" fmla="*/ 5919787 w 5919787"/>
              <a:gd name="connsiteY1" fmla="*/ 0 h 5264150"/>
              <a:gd name="connsiteX2" fmla="*/ 5919787 w 5919787"/>
              <a:gd name="connsiteY2" fmla="*/ 5264150 h 5264150"/>
              <a:gd name="connsiteX3" fmla="*/ 0 w 5919787"/>
              <a:gd name="connsiteY3" fmla="*/ 5264150 h 5264150"/>
              <a:gd name="connsiteX4" fmla="*/ 0 w 5919787"/>
              <a:gd name="connsiteY4" fmla="*/ 0 h 5264150"/>
              <a:gd name="connsiteX0" fmla="*/ 363416 w 5919787"/>
              <a:gd name="connsiteY0" fmla="*/ 0 h 5779965"/>
              <a:gd name="connsiteX1" fmla="*/ 5919787 w 5919787"/>
              <a:gd name="connsiteY1" fmla="*/ 515815 h 5779965"/>
              <a:gd name="connsiteX2" fmla="*/ 5919787 w 5919787"/>
              <a:gd name="connsiteY2" fmla="*/ 5779965 h 5779965"/>
              <a:gd name="connsiteX3" fmla="*/ 0 w 5919787"/>
              <a:gd name="connsiteY3" fmla="*/ 5779965 h 5779965"/>
              <a:gd name="connsiteX4" fmla="*/ 363416 w 5919787"/>
              <a:gd name="connsiteY4" fmla="*/ 0 h 5779965"/>
              <a:gd name="connsiteX0" fmla="*/ 1630290 w 7186661"/>
              <a:gd name="connsiteY0" fmla="*/ 0 h 5779965"/>
              <a:gd name="connsiteX1" fmla="*/ 7186661 w 7186661"/>
              <a:gd name="connsiteY1" fmla="*/ 515815 h 5779965"/>
              <a:gd name="connsiteX2" fmla="*/ 7186661 w 7186661"/>
              <a:gd name="connsiteY2" fmla="*/ 5779965 h 5779965"/>
              <a:gd name="connsiteX3" fmla="*/ 1266874 w 7186661"/>
              <a:gd name="connsiteY3" fmla="*/ 5779965 h 5779965"/>
              <a:gd name="connsiteX4" fmla="*/ 415 w 7186661"/>
              <a:gd name="connsiteY4" fmla="*/ 2403720 h 5779965"/>
              <a:gd name="connsiteX5" fmla="*/ 1630290 w 7186661"/>
              <a:gd name="connsiteY5" fmla="*/ 0 h 5779965"/>
              <a:gd name="connsiteX0" fmla="*/ 1629875 w 7186246"/>
              <a:gd name="connsiteY0" fmla="*/ 0 h 5779965"/>
              <a:gd name="connsiteX1" fmla="*/ 7186246 w 7186246"/>
              <a:gd name="connsiteY1" fmla="*/ 515815 h 5779965"/>
              <a:gd name="connsiteX2" fmla="*/ 7186246 w 7186246"/>
              <a:gd name="connsiteY2" fmla="*/ 5779965 h 5779965"/>
              <a:gd name="connsiteX3" fmla="*/ 1266459 w 7186246"/>
              <a:gd name="connsiteY3" fmla="*/ 5779965 h 5779965"/>
              <a:gd name="connsiteX4" fmla="*/ 0 w 7186246"/>
              <a:gd name="connsiteY4" fmla="*/ 2403720 h 5779965"/>
              <a:gd name="connsiteX5" fmla="*/ 1629875 w 7186246"/>
              <a:gd name="connsiteY5" fmla="*/ 0 h 5779965"/>
              <a:gd name="connsiteX0" fmla="*/ 1629875 w 7186246"/>
              <a:gd name="connsiteY0" fmla="*/ 0 h 5780086"/>
              <a:gd name="connsiteX1" fmla="*/ 7186246 w 7186246"/>
              <a:gd name="connsiteY1" fmla="*/ 515815 h 5780086"/>
              <a:gd name="connsiteX2" fmla="*/ 7186246 w 7186246"/>
              <a:gd name="connsiteY2" fmla="*/ 5779965 h 5780086"/>
              <a:gd name="connsiteX3" fmla="*/ 1266459 w 7186246"/>
              <a:gd name="connsiteY3" fmla="*/ 5779965 h 5780086"/>
              <a:gd name="connsiteX4" fmla="*/ 0 w 7186246"/>
              <a:gd name="connsiteY4" fmla="*/ 2403720 h 5780086"/>
              <a:gd name="connsiteX5" fmla="*/ 1629875 w 7186246"/>
              <a:gd name="connsiteY5" fmla="*/ 0 h 5780086"/>
              <a:gd name="connsiteX0" fmla="*/ 1782275 w 7186246"/>
              <a:gd name="connsiteY0" fmla="*/ 0 h 6131778"/>
              <a:gd name="connsiteX1" fmla="*/ 7186246 w 7186246"/>
              <a:gd name="connsiteY1" fmla="*/ 867507 h 6131778"/>
              <a:gd name="connsiteX2" fmla="*/ 7186246 w 7186246"/>
              <a:gd name="connsiteY2" fmla="*/ 6131657 h 6131778"/>
              <a:gd name="connsiteX3" fmla="*/ 1266459 w 7186246"/>
              <a:gd name="connsiteY3" fmla="*/ 6131657 h 6131778"/>
              <a:gd name="connsiteX4" fmla="*/ 0 w 7186246"/>
              <a:gd name="connsiteY4" fmla="*/ 2755412 h 6131778"/>
              <a:gd name="connsiteX5" fmla="*/ 1782275 w 7186246"/>
              <a:gd name="connsiteY5" fmla="*/ 0 h 6131778"/>
              <a:gd name="connsiteX0" fmla="*/ 1782275 w 7186246"/>
              <a:gd name="connsiteY0" fmla="*/ 0 h 6143501"/>
              <a:gd name="connsiteX1" fmla="*/ 7186246 w 7186246"/>
              <a:gd name="connsiteY1" fmla="*/ 867507 h 6143501"/>
              <a:gd name="connsiteX2" fmla="*/ 7186246 w 7186246"/>
              <a:gd name="connsiteY2" fmla="*/ 6131657 h 6143501"/>
              <a:gd name="connsiteX3" fmla="*/ 2309813 w 7186246"/>
              <a:gd name="connsiteY3" fmla="*/ 6143380 h 6143501"/>
              <a:gd name="connsiteX4" fmla="*/ 0 w 7186246"/>
              <a:gd name="connsiteY4" fmla="*/ 2755412 h 6143501"/>
              <a:gd name="connsiteX5" fmla="*/ 1782275 w 7186246"/>
              <a:gd name="connsiteY5" fmla="*/ 0 h 6143501"/>
              <a:gd name="connsiteX0" fmla="*/ 985106 w 6389077"/>
              <a:gd name="connsiteY0" fmla="*/ 0 h 6143553"/>
              <a:gd name="connsiteX1" fmla="*/ 6389077 w 6389077"/>
              <a:gd name="connsiteY1" fmla="*/ 867507 h 6143553"/>
              <a:gd name="connsiteX2" fmla="*/ 6389077 w 6389077"/>
              <a:gd name="connsiteY2" fmla="*/ 6131657 h 6143553"/>
              <a:gd name="connsiteX3" fmla="*/ 1512644 w 6389077"/>
              <a:gd name="connsiteY3" fmla="*/ 6143380 h 6143553"/>
              <a:gd name="connsiteX4" fmla="*/ 0 w 6389077"/>
              <a:gd name="connsiteY4" fmla="*/ 3787042 h 6143553"/>
              <a:gd name="connsiteX5" fmla="*/ 985106 w 6389077"/>
              <a:gd name="connsiteY5" fmla="*/ 0 h 6143553"/>
              <a:gd name="connsiteX0" fmla="*/ 1207844 w 6389077"/>
              <a:gd name="connsiteY0" fmla="*/ 0 h 6589030"/>
              <a:gd name="connsiteX1" fmla="*/ 6389077 w 6389077"/>
              <a:gd name="connsiteY1" fmla="*/ 1312984 h 6589030"/>
              <a:gd name="connsiteX2" fmla="*/ 6389077 w 6389077"/>
              <a:gd name="connsiteY2" fmla="*/ 6577134 h 6589030"/>
              <a:gd name="connsiteX3" fmla="*/ 1512644 w 6389077"/>
              <a:gd name="connsiteY3" fmla="*/ 6588857 h 6589030"/>
              <a:gd name="connsiteX4" fmla="*/ 0 w 6389077"/>
              <a:gd name="connsiteY4" fmla="*/ 4232519 h 6589030"/>
              <a:gd name="connsiteX5" fmla="*/ 1207844 w 6389077"/>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9030"/>
              <a:gd name="connsiteX1" fmla="*/ 6412523 w 6412523"/>
              <a:gd name="connsiteY1" fmla="*/ 726831 h 6589030"/>
              <a:gd name="connsiteX2" fmla="*/ 6389077 w 6412523"/>
              <a:gd name="connsiteY2" fmla="*/ 6577134 h 6589030"/>
              <a:gd name="connsiteX3" fmla="*/ 1512644 w 6412523"/>
              <a:gd name="connsiteY3" fmla="*/ 6588857 h 6589030"/>
              <a:gd name="connsiteX4" fmla="*/ 0 w 6412523"/>
              <a:gd name="connsiteY4" fmla="*/ 4232519 h 6589030"/>
              <a:gd name="connsiteX5" fmla="*/ 1207844 w 6412523"/>
              <a:gd name="connsiteY5" fmla="*/ 0 h 6589030"/>
              <a:gd name="connsiteX0" fmla="*/ 1207844 w 6412523"/>
              <a:gd name="connsiteY0" fmla="*/ 0 h 6588857"/>
              <a:gd name="connsiteX1" fmla="*/ 6412523 w 6412523"/>
              <a:gd name="connsiteY1" fmla="*/ 726831 h 6588857"/>
              <a:gd name="connsiteX2" fmla="*/ 6389077 w 6412523"/>
              <a:gd name="connsiteY2" fmla="*/ 6577134 h 6588857"/>
              <a:gd name="connsiteX3" fmla="*/ 1512644 w 6412523"/>
              <a:gd name="connsiteY3" fmla="*/ 6588857 h 6588857"/>
              <a:gd name="connsiteX4" fmla="*/ 0 w 6412523"/>
              <a:gd name="connsiteY4" fmla="*/ 4232519 h 6588857"/>
              <a:gd name="connsiteX5" fmla="*/ 1207844 w 6412523"/>
              <a:gd name="connsiteY5" fmla="*/ 0 h 6588857"/>
              <a:gd name="connsiteX0" fmla="*/ 1207844 w 6412523"/>
              <a:gd name="connsiteY0" fmla="*/ 0 h 7200620"/>
              <a:gd name="connsiteX1" fmla="*/ 6412523 w 6412523"/>
              <a:gd name="connsiteY1" fmla="*/ 726831 h 7200620"/>
              <a:gd name="connsiteX2" fmla="*/ 6389077 w 6412523"/>
              <a:gd name="connsiteY2" fmla="*/ 6577134 h 7200620"/>
              <a:gd name="connsiteX3" fmla="*/ 2157475 w 6412523"/>
              <a:gd name="connsiteY3" fmla="*/ 7200620 h 7200620"/>
              <a:gd name="connsiteX4" fmla="*/ 0 w 6412523"/>
              <a:gd name="connsiteY4" fmla="*/ 4232519 h 7200620"/>
              <a:gd name="connsiteX5" fmla="*/ 1207844 w 6412523"/>
              <a:gd name="connsiteY5" fmla="*/ 0 h 7200620"/>
              <a:gd name="connsiteX0" fmla="*/ 1207844 w 6412523"/>
              <a:gd name="connsiteY0" fmla="*/ 0 h 7200620"/>
              <a:gd name="connsiteX1" fmla="*/ 6412523 w 6412523"/>
              <a:gd name="connsiteY1" fmla="*/ 726831 h 7200620"/>
              <a:gd name="connsiteX2" fmla="*/ 6389078 w 6412523"/>
              <a:gd name="connsiteY2" fmla="*/ 7172363 h 7200620"/>
              <a:gd name="connsiteX3" fmla="*/ 2157475 w 6412523"/>
              <a:gd name="connsiteY3" fmla="*/ 7200620 h 7200620"/>
              <a:gd name="connsiteX4" fmla="*/ 0 w 6412523"/>
              <a:gd name="connsiteY4" fmla="*/ 4232519 h 7200620"/>
              <a:gd name="connsiteX5" fmla="*/ 1207844 w 6412523"/>
              <a:gd name="connsiteY5" fmla="*/ 0 h 7200620"/>
              <a:gd name="connsiteX0" fmla="*/ 744888 w 6412523"/>
              <a:gd name="connsiteY0" fmla="*/ 0 h 7746246"/>
              <a:gd name="connsiteX1" fmla="*/ 6412523 w 6412523"/>
              <a:gd name="connsiteY1" fmla="*/ 1272457 h 7746246"/>
              <a:gd name="connsiteX2" fmla="*/ 6389078 w 6412523"/>
              <a:gd name="connsiteY2" fmla="*/ 7717989 h 7746246"/>
              <a:gd name="connsiteX3" fmla="*/ 2157475 w 6412523"/>
              <a:gd name="connsiteY3" fmla="*/ 7746246 h 7746246"/>
              <a:gd name="connsiteX4" fmla="*/ 0 w 6412523"/>
              <a:gd name="connsiteY4" fmla="*/ 4778145 h 7746246"/>
              <a:gd name="connsiteX5" fmla="*/ 744888 w 6412523"/>
              <a:gd name="connsiteY5" fmla="*/ 0 h 7746246"/>
              <a:gd name="connsiteX0" fmla="*/ 744888 w 6389113"/>
              <a:gd name="connsiteY0" fmla="*/ 672 h 7746918"/>
              <a:gd name="connsiteX1" fmla="*/ 5106325 w 6389113"/>
              <a:gd name="connsiteY1" fmla="*/ 0 h 7746918"/>
              <a:gd name="connsiteX2" fmla="*/ 6389078 w 6389113"/>
              <a:gd name="connsiteY2" fmla="*/ 7718661 h 7746918"/>
              <a:gd name="connsiteX3" fmla="*/ 2157475 w 6389113"/>
              <a:gd name="connsiteY3" fmla="*/ 7746918 h 7746918"/>
              <a:gd name="connsiteX4" fmla="*/ 0 w 6389113"/>
              <a:gd name="connsiteY4" fmla="*/ 4778817 h 7746918"/>
              <a:gd name="connsiteX5" fmla="*/ 744888 w 6389113"/>
              <a:gd name="connsiteY5" fmla="*/ 672 h 7746918"/>
              <a:gd name="connsiteX0" fmla="*/ 744888 w 6389114"/>
              <a:gd name="connsiteY0" fmla="*/ 672 h 7746918"/>
              <a:gd name="connsiteX1" fmla="*/ 5106325 w 6389114"/>
              <a:gd name="connsiteY1" fmla="*/ 0 h 7746918"/>
              <a:gd name="connsiteX2" fmla="*/ 6389078 w 6389114"/>
              <a:gd name="connsiteY2" fmla="*/ 7718661 h 7746918"/>
              <a:gd name="connsiteX3" fmla="*/ 2157475 w 6389114"/>
              <a:gd name="connsiteY3" fmla="*/ 7746918 h 7746918"/>
              <a:gd name="connsiteX4" fmla="*/ 0 w 6389114"/>
              <a:gd name="connsiteY4" fmla="*/ 4778817 h 7746918"/>
              <a:gd name="connsiteX5" fmla="*/ 744888 w 6389114"/>
              <a:gd name="connsiteY5" fmla="*/ 672 h 7746918"/>
              <a:gd name="connsiteX0" fmla="*/ 1323583 w 6967809"/>
              <a:gd name="connsiteY0" fmla="*/ 672 h 7746918"/>
              <a:gd name="connsiteX1" fmla="*/ 5685020 w 6967809"/>
              <a:gd name="connsiteY1" fmla="*/ 0 h 7746918"/>
              <a:gd name="connsiteX2" fmla="*/ 6967773 w 6967809"/>
              <a:gd name="connsiteY2" fmla="*/ 7718661 h 7746918"/>
              <a:gd name="connsiteX3" fmla="*/ 2736170 w 6967809"/>
              <a:gd name="connsiteY3" fmla="*/ 7746918 h 7746918"/>
              <a:gd name="connsiteX4" fmla="*/ 0 w 6967809"/>
              <a:gd name="connsiteY4" fmla="*/ 7622690 h 7746918"/>
              <a:gd name="connsiteX5" fmla="*/ 1323583 w 6967809"/>
              <a:gd name="connsiteY5" fmla="*/ 672 h 7746918"/>
              <a:gd name="connsiteX0" fmla="*/ 1323583 w 6967809"/>
              <a:gd name="connsiteY0" fmla="*/ 672 h 7718661"/>
              <a:gd name="connsiteX1" fmla="*/ 5685020 w 6967809"/>
              <a:gd name="connsiteY1" fmla="*/ 0 h 7718661"/>
              <a:gd name="connsiteX2" fmla="*/ 6967773 w 6967809"/>
              <a:gd name="connsiteY2" fmla="*/ 7718661 h 7718661"/>
              <a:gd name="connsiteX3" fmla="*/ 6704365 w 6967809"/>
              <a:gd name="connsiteY3" fmla="*/ 6672198 h 7718661"/>
              <a:gd name="connsiteX4" fmla="*/ 0 w 6967809"/>
              <a:gd name="connsiteY4" fmla="*/ 7622690 h 7718661"/>
              <a:gd name="connsiteX5" fmla="*/ 1323583 w 6967809"/>
              <a:gd name="connsiteY5" fmla="*/ 672 h 7718661"/>
              <a:gd name="connsiteX0" fmla="*/ 1323583 w 6719805"/>
              <a:gd name="connsiteY0" fmla="*/ 83834 h 7706253"/>
              <a:gd name="connsiteX1" fmla="*/ 5685020 w 6719805"/>
              <a:gd name="connsiteY1" fmla="*/ 83162 h 7706253"/>
              <a:gd name="connsiteX2" fmla="*/ 6719761 w 6719805"/>
              <a:gd name="connsiteY2" fmla="*/ 1403109 h 7706253"/>
              <a:gd name="connsiteX3" fmla="*/ 6704365 w 6719805"/>
              <a:gd name="connsiteY3" fmla="*/ 6755360 h 7706253"/>
              <a:gd name="connsiteX4" fmla="*/ 0 w 6719805"/>
              <a:gd name="connsiteY4" fmla="*/ 7705852 h 7706253"/>
              <a:gd name="connsiteX5" fmla="*/ 1323583 w 6719805"/>
              <a:gd name="connsiteY5" fmla="*/ 83834 h 7706253"/>
              <a:gd name="connsiteX0" fmla="*/ 1323583 w 6719761"/>
              <a:gd name="connsiteY0" fmla="*/ 672 h 7623092"/>
              <a:gd name="connsiteX1" fmla="*/ 5685020 w 6719761"/>
              <a:gd name="connsiteY1" fmla="*/ 0 h 7623092"/>
              <a:gd name="connsiteX2" fmla="*/ 6719761 w 6719761"/>
              <a:gd name="connsiteY2" fmla="*/ 1319947 h 7623092"/>
              <a:gd name="connsiteX3" fmla="*/ 6704365 w 6719761"/>
              <a:gd name="connsiteY3" fmla="*/ 6672198 h 7623092"/>
              <a:gd name="connsiteX4" fmla="*/ 0 w 6719761"/>
              <a:gd name="connsiteY4" fmla="*/ 7622690 h 7623092"/>
              <a:gd name="connsiteX5" fmla="*/ 1323583 w 6719761"/>
              <a:gd name="connsiteY5" fmla="*/ 672 h 7623092"/>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35388"/>
              <a:gd name="connsiteX1" fmla="*/ 5685020 w 6719761"/>
              <a:gd name="connsiteY1" fmla="*/ 0 h 8135388"/>
              <a:gd name="connsiteX2" fmla="*/ 6719761 w 6719761"/>
              <a:gd name="connsiteY2" fmla="*/ 1319947 h 8135388"/>
              <a:gd name="connsiteX3" fmla="*/ 6704365 w 6719761"/>
              <a:gd name="connsiteY3" fmla="*/ 6672198 h 8135388"/>
              <a:gd name="connsiteX4" fmla="*/ 1978670 w 6719761"/>
              <a:gd name="connsiteY4" fmla="*/ 7353971 h 8135388"/>
              <a:gd name="connsiteX5" fmla="*/ 0 w 6719761"/>
              <a:gd name="connsiteY5" fmla="*/ 7622690 h 8135388"/>
              <a:gd name="connsiteX6" fmla="*/ 1323583 w 6719761"/>
              <a:gd name="connsiteY6" fmla="*/ 672 h 8135388"/>
              <a:gd name="connsiteX0" fmla="*/ 1323583 w 6719761"/>
              <a:gd name="connsiteY0" fmla="*/ 672 h 8196403"/>
              <a:gd name="connsiteX1" fmla="*/ 5685020 w 6719761"/>
              <a:gd name="connsiteY1" fmla="*/ 0 h 8196403"/>
              <a:gd name="connsiteX2" fmla="*/ 6719761 w 6719761"/>
              <a:gd name="connsiteY2" fmla="*/ 1319947 h 8196403"/>
              <a:gd name="connsiteX3" fmla="*/ 6704365 w 6719761"/>
              <a:gd name="connsiteY3" fmla="*/ 6672198 h 8196403"/>
              <a:gd name="connsiteX4" fmla="*/ 2139330 w 6719761"/>
              <a:gd name="connsiteY4" fmla="*/ 7594960 h 8196403"/>
              <a:gd name="connsiteX5" fmla="*/ 0 w 6719761"/>
              <a:gd name="connsiteY5" fmla="*/ 7622690 h 8196403"/>
              <a:gd name="connsiteX6" fmla="*/ 1323583 w 6719761"/>
              <a:gd name="connsiteY6" fmla="*/ 672 h 8196403"/>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8159794"/>
              <a:gd name="connsiteX1" fmla="*/ 5685020 w 6719761"/>
              <a:gd name="connsiteY1" fmla="*/ 0 h 8159794"/>
              <a:gd name="connsiteX2" fmla="*/ 6719761 w 6719761"/>
              <a:gd name="connsiteY2" fmla="*/ 1319947 h 8159794"/>
              <a:gd name="connsiteX3" fmla="*/ 6704365 w 6719761"/>
              <a:gd name="connsiteY3" fmla="*/ 6672198 h 8159794"/>
              <a:gd name="connsiteX4" fmla="*/ 2139330 w 6719761"/>
              <a:gd name="connsiteY4" fmla="*/ 7594960 h 8159794"/>
              <a:gd name="connsiteX5" fmla="*/ 0 w 6719761"/>
              <a:gd name="connsiteY5" fmla="*/ 7622690 h 8159794"/>
              <a:gd name="connsiteX6" fmla="*/ 1323583 w 6719761"/>
              <a:gd name="connsiteY6" fmla="*/ 672 h 8159794"/>
              <a:gd name="connsiteX0" fmla="*/ 1323583 w 6719761"/>
              <a:gd name="connsiteY0" fmla="*/ 672 h 7622689"/>
              <a:gd name="connsiteX1" fmla="*/ 5685020 w 6719761"/>
              <a:gd name="connsiteY1" fmla="*/ 0 h 7622689"/>
              <a:gd name="connsiteX2" fmla="*/ 6719761 w 6719761"/>
              <a:gd name="connsiteY2" fmla="*/ 1319947 h 7622689"/>
              <a:gd name="connsiteX3" fmla="*/ 6704365 w 6719761"/>
              <a:gd name="connsiteY3" fmla="*/ 6672198 h 7622689"/>
              <a:gd name="connsiteX4" fmla="*/ 2139330 w 6719761"/>
              <a:gd name="connsiteY4" fmla="*/ 7594960 h 7622689"/>
              <a:gd name="connsiteX5" fmla="*/ 0 w 6719761"/>
              <a:gd name="connsiteY5" fmla="*/ 7622690 h 7622689"/>
              <a:gd name="connsiteX6" fmla="*/ 1323583 w 6719761"/>
              <a:gd name="connsiteY6" fmla="*/ 672 h 7622689"/>
              <a:gd name="connsiteX0" fmla="*/ 1323583 w 6719761"/>
              <a:gd name="connsiteY0" fmla="*/ 672 h 7622690"/>
              <a:gd name="connsiteX1" fmla="*/ 5685020 w 6719761"/>
              <a:gd name="connsiteY1" fmla="*/ 0 h 7622690"/>
              <a:gd name="connsiteX2" fmla="*/ 6719761 w 6719761"/>
              <a:gd name="connsiteY2" fmla="*/ 1319947 h 7622690"/>
              <a:gd name="connsiteX3" fmla="*/ 6704365 w 6719761"/>
              <a:gd name="connsiteY3" fmla="*/ 6672198 h 7622690"/>
              <a:gd name="connsiteX4" fmla="*/ 2139330 w 6719761"/>
              <a:gd name="connsiteY4" fmla="*/ 7594960 h 7622690"/>
              <a:gd name="connsiteX5" fmla="*/ 0 w 6719761"/>
              <a:gd name="connsiteY5" fmla="*/ 7622690 h 7622690"/>
              <a:gd name="connsiteX6" fmla="*/ 1323583 w 6719761"/>
              <a:gd name="connsiteY6" fmla="*/ 672 h 762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761" h="7622690">
                <a:moveTo>
                  <a:pt x="1323583" y="672"/>
                </a:moveTo>
                <a:lnTo>
                  <a:pt x="5685020" y="0"/>
                </a:lnTo>
                <a:lnTo>
                  <a:pt x="6719761" y="1319947"/>
                </a:lnTo>
                <a:lnTo>
                  <a:pt x="6704365" y="6672198"/>
                </a:lnTo>
                <a:lnTo>
                  <a:pt x="2139330" y="7594960"/>
                </a:lnTo>
                <a:cubicBezTo>
                  <a:pt x="2164402" y="7592716"/>
                  <a:pt x="1126691" y="7616519"/>
                  <a:pt x="0" y="7622690"/>
                </a:cubicBezTo>
                <a:lnTo>
                  <a:pt x="1323583" y="672"/>
                </a:lnTo>
                <a:close/>
              </a:path>
            </a:pathLst>
          </a:custGeom>
        </p:spPr>
        <p:txBody>
          <a:bodyPr/>
          <a:lstStyle/>
          <a:p>
            <a:r>
              <a:rPr lang="fi-FI"/>
              <a:t>Lisää kuva napsauttamalla kuvaketta</a:t>
            </a:r>
            <a:endParaRPr lang="en-FI"/>
          </a:p>
        </p:txBody>
      </p:sp>
      <p:sp>
        <p:nvSpPr>
          <p:cNvPr id="12" name="Title Placeholder 1">
            <a:extLst>
              <a:ext uri="{FF2B5EF4-FFF2-40B4-BE49-F238E27FC236}">
                <a16:creationId xmlns:a16="http://schemas.microsoft.com/office/drawing/2014/main" id="{BBC48ACE-9E4E-C9C3-6C9E-B0B9B7265109}"/>
              </a:ext>
            </a:extLst>
          </p:cNvPr>
          <p:cNvSpPr>
            <a:spLocks noGrp="1"/>
          </p:cNvSpPr>
          <p:nvPr>
            <p:ph type="title"/>
          </p:nvPr>
        </p:nvSpPr>
        <p:spPr>
          <a:xfrm>
            <a:off x="598488" y="604219"/>
            <a:ext cx="5383434" cy="1325563"/>
          </a:xfrm>
          <a:prstGeom prst="rect">
            <a:avLst/>
          </a:prstGeom>
        </p:spPr>
        <p:txBody>
          <a:bodyPr vert="horz" lIns="90000" tIns="45720" rIns="91440" bIns="45720" rtlCol="0" anchor="t" anchorCtr="0">
            <a:noAutofit/>
          </a:bodyPr>
          <a:lstStyle>
            <a:lvl1pPr>
              <a:defRPr sz="4400" b="1">
                <a:solidFill>
                  <a:srgbClr val="450099"/>
                </a:solidFill>
              </a:defRPr>
            </a:lvl1pPr>
          </a:lstStyle>
          <a:p>
            <a:r>
              <a:rPr lang="fi-FI"/>
              <a:t>Muokkaa ots. perustyyl. napsautt.</a:t>
            </a:r>
            <a:endParaRPr lang="en-FI"/>
          </a:p>
        </p:txBody>
      </p:sp>
      <p:sp>
        <p:nvSpPr>
          <p:cNvPr id="3" name="Sisällön paikkamerkki 10">
            <a:extLst>
              <a:ext uri="{FF2B5EF4-FFF2-40B4-BE49-F238E27FC236}">
                <a16:creationId xmlns:a16="http://schemas.microsoft.com/office/drawing/2014/main" id="{58A96BC6-4DC6-95C9-6978-3F7278C07CAF}"/>
              </a:ext>
            </a:extLst>
          </p:cNvPr>
          <p:cNvSpPr>
            <a:spLocks noGrp="1"/>
          </p:cNvSpPr>
          <p:nvPr>
            <p:ph sz="quarter" idx="17" hasCustomPrompt="1"/>
          </p:nvPr>
        </p:nvSpPr>
        <p:spPr>
          <a:xfrm>
            <a:off x="598488" y="2213264"/>
            <a:ext cx="5383434" cy="3963699"/>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49063923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tsikkodia 8">
    <p:bg>
      <p:bgPr>
        <a:solidFill>
          <a:srgbClr val="152B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D508E-DA43-B489-5958-CF698CF85387}"/>
              </a:ext>
            </a:extLst>
          </p:cNvPr>
          <p:cNvSpPr>
            <a:spLocks noGrp="1"/>
          </p:cNvSpPr>
          <p:nvPr>
            <p:ph type="title"/>
          </p:nvPr>
        </p:nvSpPr>
        <p:spPr>
          <a:xfrm>
            <a:off x="914400" y="635001"/>
            <a:ext cx="6870357" cy="5606773"/>
          </a:xfrm>
        </p:spPr>
        <p:txBody>
          <a:bodyPr>
            <a:noAutofit/>
          </a:bodyPr>
          <a:lstStyle>
            <a:lvl1pPr>
              <a:defRPr sz="6000" b="1" i="0">
                <a:solidFill>
                  <a:srgbClr val="B8CDFF"/>
                </a:solidFill>
                <a:latin typeface="Poppins" pitchFamily="2" charset="77"/>
                <a:cs typeface="Poppins" pitchFamily="2" charset="77"/>
              </a:defRPr>
            </a:lvl1pPr>
          </a:lstStyle>
          <a:p>
            <a:r>
              <a:rPr lang="fi-FI"/>
              <a:t>Muokkaa ots. perustyyl. napsautt.</a:t>
            </a:r>
            <a:endParaRPr lang="en-FI"/>
          </a:p>
        </p:txBody>
      </p:sp>
      <p:pic>
        <p:nvPicPr>
          <p:cNvPr id="4" name="Kuva 3">
            <a:extLst>
              <a:ext uri="{FF2B5EF4-FFF2-40B4-BE49-F238E27FC236}">
                <a16:creationId xmlns:a16="http://schemas.microsoft.com/office/drawing/2014/main" id="{EF889E0B-2641-F162-7E81-39EE478CA43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9395700">
            <a:off x="8872749" y="4184010"/>
            <a:ext cx="3357451" cy="3357451"/>
          </a:xfrm>
          <a:prstGeom prst="rect">
            <a:avLst/>
          </a:prstGeom>
        </p:spPr>
      </p:pic>
      <p:sp>
        <p:nvSpPr>
          <p:cNvPr id="5" name="Subtitle 2">
            <a:extLst>
              <a:ext uri="{FF2B5EF4-FFF2-40B4-BE49-F238E27FC236}">
                <a16:creationId xmlns:a16="http://schemas.microsoft.com/office/drawing/2014/main" id="{6F883F3F-8F82-B76D-ED5E-70943FCDDF00}"/>
              </a:ext>
            </a:extLst>
          </p:cNvPr>
          <p:cNvSpPr>
            <a:spLocks noGrp="1"/>
          </p:cNvSpPr>
          <p:nvPr>
            <p:ph type="subTitle" idx="1"/>
          </p:nvPr>
        </p:nvSpPr>
        <p:spPr>
          <a:xfrm>
            <a:off x="914400" y="5800724"/>
            <a:ext cx="6870357" cy="441049"/>
          </a:xfrm>
        </p:spPr>
        <p:txBody>
          <a:bodyPr>
            <a:noAutofit/>
          </a:bodyPr>
          <a:lstStyle>
            <a:lvl1pPr marL="0" indent="0" algn="l">
              <a:buNone/>
              <a:defRPr sz="2400">
                <a:solidFill>
                  <a:srgbClr val="B8CDFF"/>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7" name="Kuva 6">
            <a:extLst>
              <a:ext uri="{FF2B5EF4-FFF2-40B4-BE49-F238E27FC236}">
                <a16:creationId xmlns:a16="http://schemas.microsoft.com/office/drawing/2014/main" id="{87477B05-7F87-E20F-479F-7B8010A2B22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9395700">
            <a:off x="8872749" y="4184010"/>
            <a:ext cx="3357451" cy="3357451"/>
          </a:xfrm>
          <a:prstGeom prst="rect">
            <a:avLst/>
          </a:prstGeom>
        </p:spPr>
      </p:pic>
      <p:pic>
        <p:nvPicPr>
          <p:cNvPr id="8" name="Graphic 18">
            <a:extLst>
              <a:ext uri="{FF2B5EF4-FFF2-40B4-BE49-F238E27FC236}">
                <a16:creationId xmlns:a16="http://schemas.microsoft.com/office/drawing/2014/main" id="{0992F558-9AC2-97E2-0AF4-AD2D3FB937D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6200000">
            <a:off x="8859911" y="2396167"/>
            <a:ext cx="4414875" cy="971490"/>
          </a:xfrm>
          <a:prstGeom prst="rect">
            <a:avLst/>
          </a:prstGeom>
        </p:spPr>
      </p:pic>
    </p:spTree>
    <p:extLst>
      <p:ext uri="{BB962C8B-B14F-4D97-AF65-F5344CB8AC3E}">
        <p14:creationId xmlns:p14="http://schemas.microsoft.com/office/powerpoint/2010/main" val="2812227313"/>
      </p:ext>
    </p:extLst>
  </p:cSld>
  <p:clrMapOvr>
    <a:masterClrMapping/>
  </p:clrMapOvr>
  <p:hf sldNum="0"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Kuvapaikka vasen">
    <p:bg>
      <p:bgPr>
        <a:solidFill>
          <a:schemeClr val="bg1">
            <a:alpha val="80000"/>
          </a:schemeClr>
        </a:solidFill>
        <a:effectLst/>
      </p:bgPr>
    </p:bg>
    <p:spTree>
      <p:nvGrpSpPr>
        <p:cNvPr id="1" name=""/>
        <p:cNvGrpSpPr/>
        <p:nvPr/>
      </p:nvGrpSpPr>
      <p:grpSpPr>
        <a:xfrm>
          <a:off x="0" y="0"/>
          <a:ext cx="0" cy="0"/>
          <a:chOff x="0" y="0"/>
          <a:chExt cx="0" cy="0"/>
        </a:xfrm>
      </p:grpSpPr>
      <p:sp>
        <p:nvSpPr>
          <p:cNvPr id="9" name="Puolivapaa piirto 8">
            <a:extLst>
              <a:ext uri="{FF2B5EF4-FFF2-40B4-BE49-F238E27FC236}">
                <a16:creationId xmlns:a16="http://schemas.microsoft.com/office/drawing/2014/main" id="{51A4D840-8051-29B6-51E9-785C9F8B0436}"/>
              </a:ext>
            </a:extLst>
          </p:cNvPr>
          <p:cNvSpPr/>
          <p:nvPr/>
        </p:nvSpPr>
        <p:spPr>
          <a:xfrm>
            <a:off x="-134911" y="2173574"/>
            <a:ext cx="6385809" cy="4871803"/>
          </a:xfrm>
          <a:custGeom>
            <a:avLst/>
            <a:gdLst>
              <a:gd name="connsiteX0" fmla="*/ 6385809 w 6385809"/>
              <a:gd name="connsiteY0" fmla="*/ 4706911 h 4871803"/>
              <a:gd name="connsiteX1" fmla="*/ 4572000 w 6385809"/>
              <a:gd name="connsiteY1" fmla="*/ 0 h 4871803"/>
              <a:gd name="connsiteX2" fmla="*/ 14990 w 6385809"/>
              <a:gd name="connsiteY2" fmla="*/ 3552669 h 4871803"/>
              <a:gd name="connsiteX3" fmla="*/ 0 w 6385809"/>
              <a:gd name="connsiteY3" fmla="*/ 4871803 h 4871803"/>
              <a:gd name="connsiteX4" fmla="*/ 6385809 w 6385809"/>
              <a:gd name="connsiteY4" fmla="*/ 4706911 h 4871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5809" h="4871803">
                <a:moveTo>
                  <a:pt x="6385809" y="4706911"/>
                </a:moveTo>
                <a:lnTo>
                  <a:pt x="4572000" y="0"/>
                </a:lnTo>
                <a:lnTo>
                  <a:pt x="14990" y="3552669"/>
                </a:lnTo>
                <a:lnTo>
                  <a:pt x="0" y="4871803"/>
                </a:lnTo>
                <a:lnTo>
                  <a:pt x="6385809" y="4706911"/>
                </a:lnTo>
                <a:close/>
              </a:path>
            </a:pathLst>
          </a:custGeom>
          <a:solidFill>
            <a:srgbClr val="87DB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Puolivapaa piirto 5">
            <a:extLst>
              <a:ext uri="{FF2B5EF4-FFF2-40B4-BE49-F238E27FC236}">
                <a16:creationId xmlns:a16="http://schemas.microsoft.com/office/drawing/2014/main" id="{11FA348E-2846-7507-AD3E-DFFDC66EAB39}"/>
              </a:ext>
            </a:extLst>
          </p:cNvPr>
          <p:cNvSpPr/>
          <p:nvPr/>
        </p:nvSpPr>
        <p:spPr>
          <a:xfrm>
            <a:off x="-130284" y="-119920"/>
            <a:ext cx="6076241" cy="7112392"/>
          </a:xfrm>
          <a:custGeom>
            <a:avLst/>
            <a:gdLst>
              <a:gd name="connsiteX0" fmla="*/ 0 w 7476565"/>
              <a:gd name="connsiteY0" fmla="*/ 5898776 h 6956612"/>
              <a:gd name="connsiteX1" fmla="*/ 0 w 7476565"/>
              <a:gd name="connsiteY1" fmla="*/ 2330823 h 6956612"/>
              <a:gd name="connsiteX2" fmla="*/ 1918447 w 7476565"/>
              <a:gd name="connsiteY2" fmla="*/ 0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 name="connsiteX0" fmla="*/ 0 w 7476565"/>
              <a:gd name="connsiteY0" fmla="*/ 5898776 h 6956612"/>
              <a:gd name="connsiteX1" fmla="*/ 0 w 7476565"/>
              <a:gd name="connsiteY1" fmla="*/ 2330823 h 6956612"/>
              <a:gd name="connsiteX2" fmla="*/ 1592457 w 7476565"/>
              <a:gd name="connsiteY2" fmla="*/ 14913 h 6956612"/>
              <a:gd name="connsiteX3" fmla="*/ 7476565 w 7476565"/>
              <a:gd name="connsiteY3" fmla="*/ 0 h 6956612"/>
              <a:gd name="connsiteX4" fmla="*/ 4679576 w 7476565"/>
              <a:gd name="connsiteY4" fmla="*/ 6956612 h 6956612"/>
              <a:gd name="connsiteX5" fmla="*/ 1470212 w 7476565"/>
              <a:gd name="connsiteY5" fmla="*/ 6956612 h 6956612"/>
              <a:gd name="connsiteX6" fmla="*/ 0 w 7476565"/>
              <a:gd name="connsiteY6" fmla="*/ 5898776 h 6956612"/>
              <a:gd name="connsiteX0" fmla="*/ 0 w 7476565"/>
              <a:gd name="connsiteY0" fmla="*/ 5898776 h 6956612"/>
              <a:gd name="connsiteX1" fmla="*/ 1592457 w 7476565"/>
              <a:gd name="connsiteY1" fmla="*/ 14913 h 6956612"/>
              <a:gd name="connsiteX2" fmla="*/ 7476565 w 7476565"/>
              <a:gd name="connsiteY2" fmla="*/ 0 h 6956612"/>
              <a:gd name="connsiteX3" fmla="*/ 4679576 w 7476565"/>
              <a:gd name="connsiteY3" fmla="*/ 6956612 h 6956612"/>
              <a:gd name="connsiteX4" fmla="*/ 1470212 w 7476565"/>
              <a:gd name="connsiteY4" fmla="*/ 6956612 h 6956612"/>
              <a:gd name="connsiteX5" fmla="*/ 0 w 7476565"/>
              <a:gd name="connsiteY5" fmla="*/ 5898776 h 6956612"/>
              <a:gd name="connsiteX0" fmla="*/ 0 w 6006353"/>
              <a:gd name="connsiteY0" fmla="*/ 6956612 h 6956612"/>
              <a:gd name="connsiteX1" fmla="*/ 122245 w 6006353"/>
              <a:gd name="connsiteY1" fmla="*/ 14913 h 6956612"/>
              <a:gd name="connsiteX2" fmla="*/ 6006353 w 6006353"/>
              <a:gd name="connsiteY2" fmla="*/ 0 h 6956612"/>
              <a:gd name="connsiteX3" fmla="*/ 3209364 w 6006353"/>
              <a:gd name="connsiteY3" fmla="*/ 6956612 h 6956612"/>
              <a:gd name="connsiteX4" fmla="*/ 0 w 6006353"/>
              <a:gd name="connsiteY4" fmla="*/ 6956612 h 6956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6353" h="6956612">
                <a:moveTo>
                  <a:pt x="0" y="6956612"/>
                </a:moveTo>
                <a:lnTo>
                  <a:pt x="122245" y="14913"/>
                </a:lnTo>
                <a:lnTo>
                  <a:pt x="6006353" y="0"/>
                </a:lnTo>
                <a:lnTo>
                  <a:pt x="3209364" y="6956612"/>
                </a:lnTo>
                <a:lnTo>
                  <a:pt x="0" y="6956612"/>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Picture Placeholder 12">
            <a:extLst>
              <a:ext uri="{FF2B5EF4-FFF2-40B4-BE49-F238E27FC236}">
                <a16:creationId xmlns:a16="http://schemas.microsoft.com/office/drawing/2014/main" id="{3EEAF4EB-BA74-1DDD-CAEF-3F76F8669AC9}"/>
              </a:ext>
            </a:extLst>
          </p:cNvPr>
          <p:cNvSpPr>
            <a:spLocks noGrp="1"/>
          </p:cNvSpPr>
          <p:nvPr>
            <p:ph type="pic" sz="quarter" idx="12"/>
          </p:nvPr>
        </p:nvSpPr>
        <p:spPr>
          <a:xfrm>
            <a:off x="-179882" y="-1732217"/>
            <a:ext cx="6170809" cy="9273805"/>
          </a:xfrm>
          <a:custGeom>
            <a:avLst/>
            <a:gdLst>
              <a:gd name="connsiteX0" fmla="*/ 0 w 5357813"/>
              <a:gd name="connsiteY0" fmla="*/ 0 h 5064125"/>
              <a:gd name="connsiteX1" fmla="*/ 5357813 w 5357813"/>
              <a:gd name="connsiteY1" fmla="*/ 0 h 5064125"/>
              <a:gd name="connsiteX2" fmla="*/ 5357813 w 5357813"/>
              <a:gd name="connsiteY2" fmla="*/ 5064125 h 5064125"/>
              <a:gd name="connsiteX3" fmla="*/ 0 w 5357813"/>
              <a:gd name="connsiteY3" fmla="*/ 5064125 h 5064125"/>
              <a:gd name="connsiteX4" fmla="*/ 0 w 5357813"/>
              <a:gd name="connsiteY4" fmla="*/ 0 h 5064125"/>
              <a:gd name="connsiteX0" fmla="*/ 11723 w 5357813"/>
              <a:gd name="connsiteY0" fmla="*/ 1371600 h 5064125"/>
              <a:gd name="connsiteX1" fmla="*/ 5357813 w 5357813"/>
              <a:gd name="connsiteY1" fmla="*/ 0 h 5064125"/>
              <a:gd name="connsiteX2" fmla="*/ 5357813 w 5357813"/>
              <a:gd name="connsiteY2" fmla="*/ 5064125 h 5064125"/>
              <a:gd name="connsiteX3" fmla="*/ 0 w 5357813"/>
              <a:gd name="connsiteY3" fmla="*/ 5064125 h 5064125"/>
              <a:gd name="connsiteX4" fmla="*/ 11723 w 5357813"/>
              <a:gd name="connsiteY4" fmla="*/ 1371600 h 5064125"/>
              <a:gd name="connsiteX0" fmla="*/ 11723 w 6811108"/>
              <a:gd name="connsiteY0" fmla="*/ 1371600 h 5064125"/>
              <a:gd name="connsiteX1" fmla="*/ 5357813 w 6811108"/>
              <a:gd name="connsiteY1" fmla="*/ 0 h 5064125"/>
              <a:gd name="connsiteX2" fmla="*/ 6811108 w 6811108"/>
              <a:gd name="connsiteY2" fmla="*/ 2121633 h 5064125"/>
              <a:gd name="connsiteX3" fmla="*/ 5357813 w 6811108"/>
              <a:gd name="connsiteY3" fmla="*/ 5064125 h 5064125"/>
              <a:gd name="connsiteX4" fmla="*/ 0 w 6811108"/>
              <a:gd name="connsiteY4" fmla="*/ 5064125 h 5064125"/>
              <a:gd name="connsiteX5" fmla="*/ 11723 w 6811108"/>
              <a:gd name="connsiteY5" fmla="*/ 1371600 h 5064125"/>
              <a:gd name="connsiteX0" fmla="*/ 11723 w 6811108"/>
              <a:gd name="connsiteY0" fmla="*/ 1629508 h 5322033"/>
              <a:gd name="connsiteX1" fmla="*/ 3927598 w 6811108"/>
              <a:gd name="connsiteY1" fmla="*/ 0 h 5322033"/>
              <a:gd name="connsiteX2" fmla="*/ 6811108 w 6811108"/>
              <a:gd name="connsiteY2" fmla="*/ 2379541 h 5322033"/>
              <a:gd name="connsiteX3" fmla="*/ 5357813 w 6811108"/>
              <a:gd name="connsiteY3" fmla="*/ 5322033 h 5322033"/>
              <a:gd name="connsiteX4" fmla="*/ 0 w 6811108"/>
              <a:gd name="connsiteY4" fmla="*/ 5322033 h 5322033"/>
              <a:gd name="connsiteX5" fmla="*/ 11723 w 6811108"/>
              <a:gd name="connsiteY5" fmla="*/ 1629508 h 5322033"/>
              <a:gd name="connsiteX0" fmla="*/ 11723 w 6811108"/>
              <a:gd name="connsiteY0" fmla="*/ 1630029 h 5322554"/>
              <a:gd name="connsiteX1" fmla="*/ 3927598 w 6811108"/>
              <a:gd name="connsiteY1" fmla="*/ 521 h 5322554"/>
              <a:gd name="connsiteX2" fmla="*/ 6811108 w 6811108"/>
              <a:gd name="connsiteY2" fmla="*/ 2380062 h 5322554"/>
              <a:gd name="connsiteX3" fmla="*/ 5357813 w 6811108"/>
              <a:gd name="connsiteY3" fmla="*/ 5322554 h 5322554"/>
              <a:gd name="connsiteX4" fmla="*/ 0 w 6811108"/>
              <a:gd name="connsiteY4" fmla="*/ 5322554 h 5322554"/>
              <a:gd name="connsiteX5" fmla="*/ 11723 w 6811108"/>
              <a:gd name="connsiteY5" fmla="*/ 1630029 h 5322554"/>
              <a:gd name="connsiteX0" fmla="*/ 11723 w 6811108"/>
              <a:gd name="connsiteY0" fmla="*/ 1629809 h 5322334"/>
              <a:gd name="connsiteX1" fmla="*/ 3927598 w 6811108"/>
              <a:gd name="connsiteY1" fmla="*/ 301 h 5322334"/>
              <a:gd name="connsiteX2" fmla="*/ 6811108 w 6811108"/>
              <a:gd name="connsiteY2" fmla="*/ 2379842 h 5322334"/>
              <a:gd name="connsiteX3" fmla="*/ 5357813 w 6811108"/>
              <a:gd name="connsiteY3" fmla="*/ 5322334 h 5322334"/>
              <a:gd name="connsiteX4" fmla="*/ 0 w 6811108"/>
              <a:gd name="connsiteY4" fmla="*/ 5322334 h 5322334"/>
              <a:gd name="connsiteX5" fmla="*/ 11723 w 6811108"/>
              <a:gd name="connsiteY5" fmla="*/ 1629809 h 5322334"/>
              <a:gd name="connsiteX0" fmla="*/ 11723 w 6682154"/>
              <a:gd name="connsiteY0" fmla="*/ 1630018 h 5322543"/>
              <a:gd name="connsiteX1" fmla="*/ 3927598 w 6682154"/>
              <a:gd name="connsiteY1" fmla="*/ 510 h 5322543"/>
              <a:gd name="connsiteX2" fmla="*/ 6682154 w 6682154"/>
              <a:gd name="connsiteY2" fmla="*/ 1371866 h 5322543"/>
              <a:gd name="connsiteX3" fmla="*/ 5357813 w 6682154"/>
              <a:gd name="connsiteY3" fmla="*/ 5322543 h 5322543"/>
              <a:gd name="connsiteX4" fmla="*/ 0 w 6682154"/>
              <a:gd name="connsiteY4" fmla="*/ 5322543 h 5322543"/>
              <a:gd name="connsiteX5" fmla="*/ 11723 w 6682154"/>
              <a:gd name="connsiteY5" fmla="*/ 1630018 h 5322543"/>
              <a:gd name="connsiteX0" fmla="*/ 11723 w 6682154"/>
              <a:gd name="connsiteY0" fmla="*/ 1934729 h 5627254"/>
              <a:gd name="connsiteX1" fmla="*/ 3575905 w 6682154"/>
              <a:gd name="connsiteY1" fmla="*/ 421 h 5627254"/>
              <a:gd name="connsiteX2" fmla="*/ 6682154 w 6682154"/>
              <a:gd name="connsiteY2" fmla="*/ 1676577 h 5627254"/>
              <a:gd name="connsiteX3" fmla="*/ 5357813 w 6682154"/>
              <a:gd name="connsiteY3" fmla="*/ 5627254 h 5627254"/>
              <a:gd name="connsiteX4" fmla="*/ 0 w 6682154"/>
              <a:gd name="connsiteY4" fmla="*/ 5627254 h 5627254"/>
              <a:gd name="connsiteX5" fmla="*/ 11723 w 6682154"/>
              <a:gd name="connsiteY5" fmla="*/ 1934729 h 5627254"/>
              <a:gd name="connsiteX0" fmla="*/ 11723 w 6682154"/>
              <a:gd name="connsiteY0" fmla="*/ 1934729 h 5650700"/>
              <a:gd name="connsiteX1" fmla="*/ 3575905 w 6682154"/>
              <a:gd name="connsiteY1" fmla="*/ 421 h 5650700"/>
              <a:gd name="connsiteX2" fmla="*/ 6682154 w 6682154"/>
              <a:gd name="connsiteY2" fmla="*/ 1676577 h 5650700"/>
              <a:gd name="connsiteX3" fmla="*/ 5650890 w 6682154"/>
              <a:gd name="connsiteY3" fmla="*/ 5650700 h 5650700"/>
              <a:gd name="connsiteX4" fmla="*/ 0 w 6682154"/>
              <a:gd name="connsiteY4" fmla="*/ 5627254 h 5650700"/>
              <a:gd name="connsiteX5" fmla="*/ 11723 w 6682154"/>
              <a:gd name="connsiteY5" fmla="*/ 1934729 h 5650700"/>
              <a:gd name="connsiteX0" fmla="*/ 11723 w 6682154"/>
              <a:gd name="connsiteY0" fmla="*/ 2309794 h 6025765"/>
              <a:gd name="connsiteX1" fmla="*/ 3060089 w 6682154"/>
              <a:gd name="connsiteY1" fmla="*/ 347 h 6025765"/>
              <a:gd name="connsiteX2" fmla="*/ 6682154 w 6682154"/>
              <a:gd name="connsiteY2" fmla="*/ 2051642 h 6025765"/>
              <a:gd name="connsiteX3" fmla="*/ 5650890 w 6682154"/>
              <a:gd name="connsiteY3" fmla="*/ 6025765 h 6025765"/>
              <a:gd name="connsiteX4" fmla="*/ 0 w 6682154"/>
              <a:gd name="connsiteY4" fmla="*/ 6002319 h 6025765"/>
              <a:gd name="connsiteX5" fmla="*/ 11723 w 6682154"/>
              <a:gd name="connsiteY5" fmla="*/ 2309794 h 6025765"/>
              <a:gd name="connsiteX0" fmla="*/ 11723 w 7022813"/>
              <a:gd name="connsiteY0" fmla="*/ 2309815 h 6025786"/>
              <a:gd name="connsiteX1" fmla="*/ 3060089 w 7022813"/>
              <a:gd name="connsiteY1" fmla="*/ 368 h 6025786"/>
              <a:gd name="connsiteX2" fmla="*/ 7022813 w 7022813"/>
              <a:gd name="connsiteY2" fmla="*/ 1926157 h 6025786"/>
              <a:gd name="connsiteX3" fmla="*/ 5650890 w 7022813"/>
              <a:gd name="connsiteY3" fmla="*/ 6025786 h 6025786"/>
              <a:gd name="connsiteX4" fmla="*/ 0 w 7022813"/>
              <a:gd name="connsiteY4" fmla="*/ 6002340 h 6025786"/>
              <a:gd name="connsiteX5" fmla="*/ 11723 w 7022813"/>
              <a:gd name="connsiteY5" fmla="*/ 2309815 h 6025786"/>
              <a:gd name="connsiteX0" fmla="*/ 11723 w 7022813"/>
              <a:gd name="connsiteY0" fmla="*/ 3367523 h 7083494"/>
              <a:gd name="connsiteX1" fmla="*/ 4888889 w 7022813"/>
              <a:gd name="connsiteY1" fmla="*/ 241 h 7083494"/>
              <a:gd name="connsiteX2" fmla="*/ 7022813 w 7022813"/>
              <a:gd name="connsiteY2" fmla="*/ 2983865 h 7083494"/>
              <a:gd name="connsiteX3" fmla="*/ 5650890 w 7022813"/>
              <a:gd name="connsiteY3" fmla="*/ 7083494 h 7083494"/>
              <a:gd name="connsiteX4" fmla="*/ 0 w 7022813"/>
              <a:gd name="connsiteY4" fmla="*/ 7060048 h 7083494"/>
              <a:gd name="connsiteX5" fmla="*/ 11723 w 7022813"/>
              <a:gd name="connsiteY5" fmla="*/ 3367523 h 7083494"/>
              <a:gd name="connsiteX0" fmla="*/ 11723 w 7022813"/>
              <a:gd name="connsiteY0" fmla="*/ 4748013 h 8463984"/>
              <a:gd name="connsiteX1" fmla="*/ 3902771 w 7022813"/>
              <a:gd name="connsiteY1" fmla="*/ 166 h 8463984"/>
              <a:gd name="connsiteX2" fmla="*/ 7022813 w 7022813"/>
              <a:gd name="connsiteY2" fmla="*/ 4364355 h 8463984"/>
              <a:gd name="connsiteX3" fmla="*/ 5650890 w 7022813"/>
              <a:gd name="connsiteY3" fmla="*/ 8463984 h 8463984"/>
              <a:gd name="connsiteX4" fmla="*/ 0 w 7022813"/>
              <a:gd name="connsiteY4" fmla="*/ 8440538 h 8463984"/>
              <a:gd name="connsiteX5" fmla="*/ 11723 w 7022813"/>
              <a:gd name="connsiteY5" fmla="*/ 4748013 h 8463984"/>
              <a:gd name="connsiteX0" fmla="*/ 53 w 7226296"/>
              <a:gd name="connsiteY0" fmla="*/ 4299778 h 8463984"/>
              <a:gd name="connsiteX1" fmla="*/ 4106254 w 7226296"/>
              <a:gd name="connsiteY1" fmla="*/ 166 h 8463984"/>
              <a:gd name="connsiteX2" fmla="*/ 7226296 w 7226296"/>
              <a:gd name="connsiteY2" fmla="*/ 4364355 h 8463984"/>
              <a:gd name="connsiteX3" fmla="*/ 5854373 w 7226296"/>
              <a:gd name="connsiteY3" fmla="*/ 8463984 h 8463984"/>
              <a:gd name="connsiteX4" fmla="*/ 203483 w 7226296"/>
              <a:gd name="connsiteY4" fmla="*/ 8440538 h 8463984"/>
              <a:gd name="connsiteX5" fmla="*/ 53 w 7226296"/>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95960 w 7226350"/>
              <a:gd name="connsiteY4" fmla="*/ 6665526 h 8463984"/>
              <a:gd name="connsiteX5" fmla="*/ 107 w 7226350"/>
              <a:gd name="connsiteY5" fmla="*/ 4299778 h 8463984"/>
              <a:gd name="connsiteX0" fmla="*/ 107 w 7226350"/>
              <a:gd name="connsiteY0" fmla="*/ 4299778 h 8463984"/>
              <a:gd name="connsiteX1" fmla="*/ 4106308 w 7226350"/>
              <a:gd name="connsiteY1" fmla="*/ 166 h 8463984"/>
              <a:gd name="connsiteX2" fmla="*/ 7226350 w 7226350"/>
              <a:gd name="connsiteY2" fmla="*/ 4364355 h 8463984"/>
              <a:gd name="connsiteX3" fmla="*/ 5854427 w 7226350"/>
              <a:gd name="connsiteY3" fmla="*/ 8463984 h 8463984"/>
              <a:gd name="connsiteX4" fmla="*/ 3134995 w 7226350"/>
              <a:gd name="connsiteY4" fmla="*/ 7615787 h 8463984"/>
              <a:gd name="connsiteX5" fmla="*/ 95960 w 7226350"/>
              <a:gd name="connsiteY5" fmla="*/ 6665526 h 8463984"/>
              <a:gd name="connsiteX6" fmla="*/ 107 w 7226350"/>
              <a:gd name="connsiteY6" fmla="*/ 4299778 h 8463984"/>
              <a:gd name="connsiteX0" fmla="*/ 107 w 7226350"/>
              <a:gd name="connsiteY0" fmla="*/ 4299778 h 8494328"/>
              <a:gd name="connsiteX1" fmla="*/ 4106308 w 7226350"/>
              <a:gd name="connsiteY1" fmla="*/ 166 h 8494328"/>
              <a:gd name="connsiteX2" fmla="*/ 7226350 w 7226350"/>
              <a:gd name="connsiteY2" fmla="*/ 4364355 h 8494328"/>
              <a:gd name="connsiteX3" fmla="*/ 5854427 w 7226350"/>
              <a:gd name="connsiteY3" fmla="*/ 8463984 h 8494328"/>
              <a:gd name="connsiteX4" fmla="*/ 4282478 w 7226350"/>
              <a:gd name="connsiteY4" fmla="*/ 8494328 h 8494328"/>
              <a:gd name="connsiteX5" fmla="*/ 95960 w 7226350"/>
              <a:gd name="connsiteY5" fmla="*/ 6665526 h 8494328"/>
              <a:gd name="connsiteX6" fmla="*/ 107 w 7226350"/>
              <a:gd name="connsiteY6" fmla="*/ 4299778 h 8494328"/>
              <a:gd name="connsiteX0" fmla="*/ 117 w 7226360"/>
              <a:gd name="connsiteY0" fmla="*/ 4299778 h 8494328"/>
              <a:gd name="connsiteX1" fmla="*/ 4106318 w 7226360"/>
              <a:gd name="connsiteY1" fmla="*/ 166 h 8494328"/>
              <a:gd name="connsiteX2" fmla="*/ 7226360 w 7226360"/>
              <a:gd name="connsiteY2" fmla="*/ 4364355 h 8494328"/>
              <a:gd name="connsiteX3" fmla="*/ 5854437 w 7226360"/>
              <a:gd name="connsiteY3" fmla="*/ 8463984 h 8494328"/>
              <a:gd name="connsiteX4" fmla="*/ 4282488 w 7226360"/>
              <a:gd name="connsiteY4" fmla="*/ 8494328 h 8494328"/>
              <a:gd name="connsiteX5" fmla="*/ 95970 w 7226360"/>
              <a:gd name="connsiteY5" fmla="*/ 6665526 h 8494328"/>
              <a:gd name="connsiteX6" fmla="*/ 117 w 7226360"/>
              <a:gd name="connsiteY6" fmla="*/ 4299778 h 8494328"/>
              <a:gd name="connsiteX0" fmla="*/ 61166 w 7287409"/>
              <a:gd name="connsiteY0" fmla="*/ 4299778 h 8494328"/>
              <a:gd name="connsiteX1" fmla="*/ 4167367 w 7287409"/>
              <a:gd name="connsiteY1" fmla="*/ 166 h 8494328"/>
              <a:gd name="connsiteX2" fmla="*/ 7287409 w 7287409"/>
              <a:gd name="connsiteY2" fmla="*/ 4364355 h 8494328"/>
              <a:gd name="connsiteX3" fmla="*/ 5915486 w 7287409"/>
              <a:gd name="connsiteY3" fmla="*/ 8463984 h 8494328"/>
              <a:gd name="connsiteX4" fmla="*/ 4343537 w 7287409"/>
              <a:gd name="connsiteY4" fmla="*/ 8494328 h 8494328"/>
              <a:gd name="connsiteX5" fmla="*/ 265 w 7287409"/>
              <a:gd name="connsiteY5" fmla="*/ 6648109 h 8494328"/>
              <a:gd name="connsiteX6" fmla="*/ 61166 w 7287409"/>
              <a:gd name="connsiteY6" fmla="*/ 4299778 h 8494328"/>
              <a:gd name="connsiteX0" fmla="*/ 18157 w 7287942"/>
              <a:gd name="connsiteY0" fmla="*/ 4343321 h 8494328"/>
              <a:gd name="connsiteX1" fmla="*/ 4167900 w 7287942"/>
              <a:gd name="connsiteY1" fmla="*/ 166 h 8494328"/>
              <a:gd name="connsiteX2" fmla="*/ 7287942 w 7287942"/>
              <a:gd name="connsiteY2" fmla="*/ 4364355 h 8494328"/>
              <a:gd name="connsiteX3" fmla="*/ 5916019 w 7287942"/>
              <a:gd name="connsiteY3" fmla="*/ 8463984 h 8494328"/>
              <a:gd name="connsiteX4" fmla="*/ 4344070 w 7287942"/>
              <a:gd name="connsiteY4" fmla="*/ 8494328 h 8494328"/>
              <a:gd name="connsiteX5" fmla="*/ 798 w 7287942"/>
              <a:gd name="connsiteY5" fmla="*/ 6648109 h 8494328"/>
              <a:gd name="connsiteX6" fmla="*/ 18157 w 7287942"/>
              <a:gd name="connsiteY6" fmla="*/ 4343321 h 8494328"/>
              <a:gd name="connsiteX0" fmla="*/ 18157 w 6838237"/>
              <a:gd name="connsiteY0" fmla="*/ 4343348 h 8494355"/>
              <a:gd name="connsiteX1" fmla="*/ 4167900 w 6838237"/>
              <a:gd name="connsiteY1" fmla="*/ 193 h 8494355"/>
              <a:gd name="connsiteX2" fmla="*/ 6838237 w 6838237"/>
              <a:gd name="connsiteY2" fmla="*/ 3734795 h 8494355"/>
              <a:gd name="connsiteX3" fmla="*/ 5916019 w 6838237"/>
              <a:gd name="connsiteY3" fmla="*/ 8464011 h 8494355"/>
              <a:gd name="connsiteX4" fmla="*/ 4344070 w 6838237"/>
              <a:gd name="connsiteY4" fmla="*/ 8494355 h 8494355"/>
              <a:gd name="connsiteX5" fmla="*/ 798 w 6838237"/>
              <a:gd name="connsiteY5" fmla="*/ 6648136 h 8494355"/>
              <a:gd name="connsiteX6" fmla="*/ 18157 w 6838237"/>
              <a:gd name="connsiteY6" fmla="*/ 4343348 h 8494355"/>
              <a:gd name="connsiteX0" fmla="*/ 18157 w 6838237"/>
              <a:gd name="connsiteY0" fmla="*/ 5317670 h 9468677"/>
              <a:gd name="connsiteX1" fmla="*/ 3448372 w 6838237"/>
              <a:gd name="connsiteY1" fmla="*/ 154 h 9468677"/>
              <a:gd name="connsiteX2" fmla="*/ 6838237 w 6838237"/>
              <a:gd name="connsiteY2" fmla="*/ 4709117 h 9468677"/>
              <a:gd name="connsiteX3" fmla="*/ 5916019 w 6838237"/>
              <a:gd name="connsiteY3" fmla="*/ 9438333 h 9468677"/>
              <a:gd name="connsiteX4" fmla="*/ 4344070 w 6838237"/>
              <a:gd name="connsiteY4" fmla="*/ 9468677 h 9468677"/>
              <a:gd name="connsiteX5" fmla="*/ 798 w 6838237"/>
              <a:gd name="connsiteY5" fmla="*/ 7622458 h 9468677"/>
              <a:gd name="connsiteX6" fmla="*/ 18157 w 6838237"/>
              <a:gd name="connsiteY6" fmla="*/ 5317670 h 9468677"/>
              <a:gd name="connsiteX0" fmla="*/ 14 w 7629563"/>
              <a:gd name="connsiteY0" fmla="*/ 4912936 h 9468677"/>
              <a:gd name="connsiteX1" fmla="*/ 4239698 w 7629563"/>
              <a:gd name="connsiteY1" fmla="*/ 154 h 9468677"/>
              <a:gd name="connsiteX2" fmla="*/ 7629563 w 7629563"/>
              <a:gd name="connsiteY2" fmla="*/ 4709117 h 9468677"/>
              <a:gd name="connsiteX3" fmla="*/ 6707345 w 7629563"/>
              <a:gd name="connsiteY3" fmla="*/ 9438333 h 9468677"/>
              <a:gd name="connsiteX4" fmla="*/ 5135396 w 7629563"/>
              <a:gd name="connsiteY4" fmla="*/ 9468677 h 9468677"/>
              <a:gd name="connsiteX5" fmla="*/ 792124 w 7629563"/>
              <a:gd name="connsiteY5" fmla="*/ 7622458 h 9468677"/>
              <a:gd name="connsiteX6" fmla="*/ 14 w 7629563"/>
              <a:gd name="connsiteY6" fmla="*/ 4912936 h 9468677"/>
              <a:gd name="connsiteX0" fmla="*/ 14 w 7629563"/>
              <a:gd name="connsiteY0" fmla="*/ 4912936 h 9468677"/>
              <a:gd name="connsiteX1" fmla="*/ 4239698 w 7629563"/>
              <a:gd name="connsiteY1" fmla="*/ 154 h 9468677"/>
              <a:gd name="connsiteX2" fmla="*/ 7629563 w 7629563"/>
              <a:gd name="connsiteY2" fmla="*/ 4709117 h 9468677"/>
              <a:gd name="connsiteX3" fmla="*/ 6707345 w 7629563"/>
              <a:gd name="connsiteY3" fmla="*/ 9438333 h 9468677"/>
              <a:gd name="connsiteX4" fmla="*/ 5135396 w 7629563"/>
              <a:gd name="connsiteY4" fmla="*/ 9468677 h 9468677"/>
              <a:gd name="connsiteX5" fmla="*/ 777133 w 7629563"/>
              <a:gd name="connsiteY5" fmla="*/ 7322654 h 9468677"/>
              <a:gd name="connsiteX6" fmla="*/ 14 w 7629563"/>
              <a:gd name="connsiteY6" fmla="*/ 4912936 h 9468677"/>
              <a:gd name="connsiteX0" fmla="*/ 14 w 7629563"/>
              <a:gd name="connsiteY0" fmla="*/ 4912936 h 9438333"/>
              <a:gd name="connsiteX1" fmla="*/ 4239698 w 7629563"/>
              <a:gd name="connsiteY1" fmla="*/ 154 h 9438333"/>
              <a:gd name="connsiteX2" fmla="*/ 7629563 w 7629563"/>
              <a:gd name="connsiteY2" fmla="*/ 4709117 h 9438333"/>
              <a:gd name="connsiteX3" fmla="*/ 6707345 w 7629563"/>
              <a:gd name="connsiteY3" fmla="*/ 9438333 h 9438333"/>
              <a:gd name="connsiteX4" fmla="*/ 5105416 w 7629563"/>
              <a:gd name="connsiteY4" fmla="*/ 9273805 h 9438333"/>
              <a:gd name="connsiteX5" fmla="*/ 777133 w 7629563"/>
              <a:gd name="connsiteY5" fmla="*/ 7322654 h 9438333"/>
              <a:gd name="connsiteX6" fmla="*/ 14 w 7629563"/>
              <a:gd name="connsiteY6" fmla="*/ 4912936 h 9438333"/>
              <a:gd name="connsiteX0" fmla="*/ 14 w 7629563"/>
              <a:gd name="connsiteY0" fmla="*/ 4912936 h 9273805"/>
              <a:gd name="connsiteX1" fmla="*/ 4239698 w 7629563"/>
              <a:gd name="connsiteY1" fmla="*/ 154 h 9273805"/>
              <a:gd name="connsiteX2" fmla="*/ 7629563 w 7629563"/>
              <a:gd name="connsiteY2" fmla="*/ 4709117 h 9273805"/>
              <a:gd name="connsiteX3" fmla="*/ 5957837 w 7629563"/>
              <a:gd name="connsiteY3" fmla="*/ 9258451 h 9273805"/>
              <a:gd name="connsiteX4" fmla="*/ 5105416 w 7629563"/>
              <a:gd name="connsiteY4" fmla="*/ 9273805 h 9273805"/>
              <a:gd name="connsiteX5" fmla="*/ 777133 w 7629563"/>
              <a:gd name="connsiteY5" fmla="*/ 7322654 h 9273805"/>
              <a:gd name="connsiteX6" fmla="*/ 14 w 7629563"/>
              <a:gd name="connsiteY6" fmla="*/ 4912936 h 9273805"/>
              <a:gd name="connsiteX0" fmla="*/ 14 w 7629563"/>
              <a:gd name="connsiteY0" fmla="*/ 4912936 h 9273805"/>
              <a:gd name="connsiteX1" fmla="*/ 1678801 w 7629563"/>
              <a:gd name="connsiteY1" fmla="*/ 2916439 h 9273805"/>
              <a:gd name="connsiteX2" fmla="*/ 4239698 w 7629563"/>
              <a:gd name="connsiteY2" fmla="*/ 154 h 9273805"/>
              <a:gd name="connsiteX3" fmla="*/ 7629563 w 7629563"/>
              <a:gd name="connsiteY3" fmla="*/ 4709117 h 9273805"/>
              <a:gd name="connsiteX4" fmla="*/ 5957837 w 7629563"/>
              <a:gd name="connsiteY4" fmla="*/ 9258451 h 9273805"/>
              <a:gd name="connsiteX5" fmla="*/ 5105416 w 7629563"/>
              <a:gd name="connsiteY5" fmla="*/ 9273805 h 9273805"/>
              <a:gd name="connsiteX6" fmla="*/ 777133 w 7629563"/>
              <a:gd name="connsiteY6" fmla="*/ 7322654 h 9273805"/>
              <a:gd name="connsiteX7" fmla="*/ 14 w 7629563"/>
              <a:gd name="connsiteY7" fmla="*/ 4912936 h 9273805"/>
              <a:gd name="connsiteX0" fmla="*/ 183065 w 7035495"/>
              <a:gd name="connsiteY0" fmla="*/ 7322654 h 9273805"/>
              <a:gd name="connsiteX1" fmla="*/ 1084733 w 7035495"/>
              <a:gd name="connsiteY1" fmla="*/ 2916439 h 9273805"/>
              <a:gd name="connsiteX2" fmla="*/ 3645630 w 7035495"/>
              <a:gd name="connsiteY2" fmla="*/ 154 h 9273805"/>
              <a:gd name="connsiteX3" fmla="*/ 7035495 w 7035495"/>
              <a:gd name="connsiteY3" fmla="*/ 4709117 h 9273805"/>
              <a:gd name="connsiteX4" fmla="*/ 5363769 w 7035495"/>
              <a:gd name="connsiteY4" fmla="*/ 9258451 h 9273805"/>
              <a:gd name="connsiteX5" fmla="*/ 4511348 w 7035495"/>
              <a:gd name="connsiteY5" fmla="*/ 9273805 h 9273805"/>
              <a:gd name="connsiteX6" fmla="*/ 183065 w 7035495"/>
              <a:gd name="connsiteY6" fmla="*/ 7322654 h 9273805"/>
              <a:gd name="connsiteX0" fmla="*/ 183065 w 7035495"/>
              <a:gd name="connsiteY0" fmla="*/ 7322654 h 9273805"/>
              <a:gd name="connsiteX1" fmla="*/ 1084733 w 7035495"/>
              <a:gd name="connsiteY1" fmla="*/ 2916439 h 9273805"/>
              <a:gd name="connsiteX2" fmla="*/ 3645630 w 7035495"/>
              <a:gd name="connsiteY2" fmla="*/ 154 h 9273805"/>
              <a:gd name="connsiteX3" fmla="*/ 7035495 w 7035495"/>
              <a:gd name="connsiteY3" fmla="*/ 4709117 h 9273805"/>
              <a:gd name="connsiteX4" fmla="*/ 5363769 w 7035495"/>
              <a:gd name="connsiteY4" fmla="*/ 9258451 h 9273805"/>
              <a:gd name="connsiteX5" fmla="*/ 4511348 w 7035495"/>
              <a:gd name="connsiteY5" fmla="*/ 9273805 h 9273805"/>
              <a:gd name="connsiteX6" fmla="*/ 864686 w 7035495"/>
              <a:gd name="connsiteY6" fmla="*/ 7638342 h 9273805"/>
              <a:gd name="connsiteX7" fmla="*/ 183065 w 7035495"/>
              <a:gd name="connsiteY7" fmla="*/ 7322654 h 9273805"/>
              <a:gd name="connsiteX0" fmla="*/ 0 w 6170809"/>
              <a:gd name="connsiteY0" fmla="*/ 7638342 h 9273805"/>
              <a:gd name="connsiteX1" fmla="*/ 220047 w 6170809"/>
              <a:gd name="connsiteY1" fmla="*/ 2916439 h 9273805"/>
              <a:gd name="connsiteX2" fmla="*/ 2780944 w 6170809"/>
              <a:gd name="connsiteY2" fmla="*/ 154 h 9273805"/>
              <a:gd name="connsiteX3" fmla="*/ 6170809 w 6170809"/>
              <a:gd name="connsiteY3" fmla="*/ 4709117 h 9273805"/>
              <a:gd name="connsiteX4" fmla="*/ 4499083 w 6170809"/>
              <a:gd name="connsiteY4" fmla="*/ 9258451 h 9273805"/>
              <a:gd name="connsiteX5" fmla="*/ 3646662 w 6170809"/>
              <a:gd name="connsiteY5" fmla="*/ 9273805 h 9273805"/>
              <a:gd name="connsiteX6" fmla="*/ 0 w 6170809"/>
              <a:gd name="connsiteY6" fmla="*/ 7638342 h 927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0809" h="9273805">
                <a:moveTo>
                  <a:pt x="0" y="7638342"/>
                </a:moveTo>
                <a:lnTo>
                  <a:pt x="220047" y="2916439"/>
                </a:lnTo>
                <a:lnTo>
                  <a:pt x="2780944" y="154"/>
                </a:lnTo>
                <a:cubicBezTo>
                  <a:pt x="2780822" y="-31189"/>
                  <a:pt x="6147484" y="4728736"/>
                  <a:pt x="6170809" y="4709117"/>
                </a:cubicBezTo>
                <a:lnTo>
                  <a:pt x="4499083" y="9258451"/>
                </a:lnTo>
                <a:lnTo>
                  <a:pt x="3646662" y="9273805"/>
                </a:lnTo>
                <a:lnTo>
                  <a:pt x="0" y="7638342"/>
                </a:lnTo>
                <a:close/>
              </a:path>
            </a:pathLst>
          </a:custGeom>
        </p:spPr>
        <p:txBody>
          <a:bodyPr/>
          <a:lstStyle/>
          <a:p>
            <a:r>
              <a:rPr lang="fi-FI"/>
              <a:t>Lisää kuva napsauttamalla kuvaketta</a:t>
            </a:r>
            <a:endParaRPr lang="en-FI"/>
          </a:p>
        </p:txBody>
      </p:sp>
      <p:sp>
        <p:nvSpPr>
          <p:cNvPr id="3" name="Title Placeholder 1">
            <a:extLst>
              <a:ext uri="{FF2B5EF4-FFF2-40B4-BE49-F238E27FC236}">
                <a16:creationId xmlns:a16="http://schemas.microsoft.com/office/drawing/2014/main" id="{385147BB-DD09-A084-0B42-EC3C3E0283B3}"/>
              </a:ext>
            </a:extLst>
          </p:cNvPr>
          <p:cNvSpPr>
            <a:spLocks noGrp="1"/>
          </p:cNvSpPr>
          <p:nvPr>
            <p:ph type="title"/>
          </p:nvPr>
        </p:nvSpPr>
        <p:spPr>
          <a:xfrm>
            <a:off x="6564923" y="705226"/>
            <a:ext cx="5231357" cy="1325563"/>
          </a:xfrm>
          <a:prstGeom prst="rect">
            <a:avLst/>
          </a:prstGeom>
        </p:spPr>
        <p:txBody>
          <a:bodyPr vert="horz" lIns="91440" tIns="45720" rIns="91440" bIns="45720" rtlCol="0" anchor="ctr">
            <a:normAutofit/>
          </a:bodyPr>
          <a:lstStyle>
            <a:lvl1pPr>
              <a:defRPr sz="4400" b="1">
                <a:solidFill>
                  <a:srgbClr val="450099"/>
                </a:solidFill>
              </a:defRPr>
            </a:lvl1pPr>
          </a:lstStyle>
          <a:p>
            <a:r>
              <a:rPr lang="fi-FI"/>
              <a:t>Muokkaa ots. perustyyl. napsautt.</a:t>
            </a:r>
            <a:endParaRPr lang="en-FI"/>
          </a:p>
        </p:txBody>
      </p:sp>
      <p:sp>
        <p:nvSpPr>
          <p:cNvPr id="10" name="Sisällön paikkamerkki 10">
            <a:extLst>
              <a:ext uri="{FF2B5EF4-FFF2-40B4-BE49-F238E27FC236}">
                <a16:creationId xmlns:a16="http://schemas.microsoft.com/office/drawing/2014/main" id="{6612B5BE-4F0F-8F53-60C3-F22F10904D99}"/>
              </a:ext>
            </a:extLst>
          </p:cNvPr>
          <p:cNvSpPr>
            <a:spLocks noGrp="1"/>
          </p:cNvSpPr>
          <p:nvPr>
            <p:ph sz="quarter" idx="17" hasCustomPrompt="1"/>
          </p:nvPr>
        </p:nvSpPr>
        <p:spPr>
          <a:xfrm>
            <a:off x="6571884" y="2312090"/>
            <a:ext cx="5143722" cy="3569165"/>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fi-FI"/>
              <a:t>Muokkaa tekstin perustyylejä napsauttamalla 18 pt</a:t>
            </a:r>
          </a:p>
          <a:p>
            <a:pPr lvl="1"/>
            <a:r>
              <a:rPr lang="fi-FI"/>
              <a:t>Toinen taso 16 pt</a:t>
            </a:r>
          </a:p>
          <a:p>
            <a:pPr lvl="2"/>
            <a:r>
              <a:rPr lang="fi-FI"/>
              <a:t>Kolmas taso 14 pt</a:t>
            </a:r>
          </a:p>
          <a:p>
            <a:pPr lvl="3"/>
            <a:r>
              <a:rPr lang="fi-FI"/>
              <a:t>Neljäs taso 12 pt</a:t>
            </a:r>
          </a:p>
        </p:txBody>
      </p:sp>
    </p:spTree>
    <p:extLst>
      <p:ext uri="{BB962C8B-B14F-4D97-AF65-F5344CB8AC3E}">
        <p14:creationId xmlns:p14="http://schemas.microsoft.com/office/powerpoint/2010/main" val="566801516"/>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korostedia">
    <p:bg>
      <p:bgPr>
        <a:solidFill>
          <a:srgbClr val="A2E4B8">
            <a:alpha val="90000"/>
          </a:srgbClr>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207C4A44-EECE-3B9F-D595-575D4C6BC228}"/>
              </a:ext>
            </a:extLst>
          </p:cNvPr>
          <p:cNvSpPr>
            <a:spLocks noGrp="1"/>
          </p:cNvSpPr>
          <p:nvPr>
            <p:ph type="body" sz="quarter" idx="14"/>
          </p:nvPr>
        </p:nvSpPr>
        <p:spPr>
          <a:xfrm>
            <a:off x="843229" y="2404351"/>
            <a:ext cx="3007763" cy="729964"/>
          </a:xfrm>
          <a:prstGeom prst="rect">
            <a:avLst/>
          </a:prstGeom>
        </p:spPr>
        <p:txBody>
          <a:bodyPr>
            <a:noAutofit/>
          </a:bodyPr>
          <a:lstStyle>
            <a:lvl1pPr marL="0" indent="0" algn="ctr">
              <a:buFontTx/>
              <a:buNone/>
              <a:defRPr b="1">
                <a:solidFill>
                  <a:schemeClr val="tx1"/>
                </a:solidFill>
                <a:latin typeface="Poppins" pitchFamily="2" charset="77"/>
                <a:cs typeface="Poppins" pitchFamily="2" charset="77"/>
              </a:defRPr>
            </a:lvl1pPr>
          </a:lstStyle>
          <a:p>
            <a:pPr lvl="0"/>
            <a:r>
              <a:rPr lang="fi-FI"/>
              <a:t>Muokkaa tekstin perustyylejä napsauttamalla</a:t>
            </a:r>
          </a:p>
        </p:txBody>
      </p:sp>
      <p:sp>
        <p:nvSpPr>
          <p:cNvPr id="5" name="Text Placeholder 3">
            <a:extLst>
              <a:ext uri="{FF2B5EF4-FFF2-40B4-BE49-F238E27FC236}">
                <a16:creationId xmlns:a16="http://schemas.microsoft.com/office/drawing/2014/main" id="{6DE060A0-D47C-B8A5-6FB0-E9FA0BB86DCD}"/>
              </a:ext>
            </a:extLst>
          </p:cNvPr>
          <p:cNvSpPr>
            <a:spLocks noGrp="1"/>
          </p:cNvSpPr>
          <p:nvPr>
            <p:ph type="body" sz="quarter" idx="15" hasCustomPrompt="1"/>
          </p:nvPr>
        </p:nvSpPr>
        <p:spPr>
          <a:xfrm>
            <a:off x="843229" y="3272780"/>
            <a:ext cx="3007763" cy="1050412"/>
          </a:xfrm>
          <a:prstGeom prst="rect">
            <a:avLst/>
          </a:prstGeom>
        </p:spPr>
        <p:txBody>
          <a:bodyPr anchor="ctr">
            <a:noAutofit/>
          </a:bodyPr>
          <a:lstStyle>
            <a:lvl1pPr marL="0" indent="0" algn="ctr">
              <a:lnSpc>
                <a:spcPct val="100000"/>
              </a:lnSpc>
              <a:buFontTx/>
              <a:buNone/>
              <a:defRPr sz="5400" b="1">
                <a:solidFill>
                  <a:srgbClr val="152A96"/>
                </a:solidFill>
                <a:latin typeface="Poppins" pitchFamily="2" charset="77"/>
                <a:cs typeface="Poppins" pitchFamily="2" charset="77"/>
              </a:defRPr>
            </a:lvl1pPr>
          </a:lstStyle>
          <a:p>
            <a:pPr lvl="0"/>
            <a:r>
              <a:rPr lang="fi-FI"/>
              <a:t>100 %</a:t>
            </a:r>
          </a:p>
        </p:txBody>
      </p:sp>
      <p:sp>
        <p:nvSpPr>
          <p:cNvPr id="6" name="Text Placeholder 3">
            <a:extLst>
              <a:ext uri="{FF2B5EF4-FFF2-40B4-BE49-F238E27FC236}">
                <a16:creationId xmlns:a16="http://schemas.microsoft.com/office/drawing/2014/main" id="{189CFB6C-5CE6-6A30-4088-1E54DB890071}"/>
              </a:ext>
            </a:extLst>
          </p:cNvPr>
          <p:cNvSpPr>
            <a:spLocks noGrp="1"/>
          </p:cNvSpPr>
          <p:nvPr>
            <p:ph type="body" sz="quarter" idx="16"/>
          </p:nvPr>
        </p:nvSpPr>
        <p:spPr>
          <a:xfrm>
            <a:off x="843229" y="4421127"/>
            <a:ext cx="3007763" cy="1293592"/>
          </a:xfrm>
          <a:prstGeom prst="rect">
            <a:avLst/>
          </a:prstGeom>
        </p:spPr>
        <p:txBody>
          <a:bodyPr>
            <a:noAutofit/>
          </a:bodyPr>
          <a:lstStyle>
            <a:lvl1pPr marL="0" indent="0" algn="ctr">
              <a:buFontTx/>
              <a:buNone/>
              <a:defRPr sz="1800">
                <a:latin typeface="Poppins" pitchFamily="2" charset="77"/>
                <a:cs typeface="Poppins" pitchFamily="2" charset="77"/>
              </a:defRPr>
            </a:lvl1pPr>
          </a:lstStyle>
          <a:p>
            <a:pPr lvl="0"/>
            <a:r>
              <a:rPr lang="fi-FI"/>
              <a:t>Muokkaa tekstin perustyylejä napsauttamalla</a:t>
            </a:r>
          </a:p>
        </p:txBody>
      </p:sp>
      <p:sp>
        <p:nvSpPr>
          <p:cNvPr id="18" name="Title 1">
            <a:extLst>
              <a:ext uri="{FF2B5EF4-FFF2-40B4-BE49-F238E27FC236}">
                <a16:creationId xmlns:a16="http://schemas.microsoft.com/office/drawing/2014/main" id="{64F540B8-5DC0-DB1A-7F06-FF28BC053D30}"/>
              </a:ext>
            </a:extLst>
          </p:cNvPr>
          <p:cNvSpPr>
            <a:spLocks noGrp="1"/>
          </p:cNvSpPr>
          <p:nvPr>
            <p:ph type="title"/>
          </p:nvPr>
        </p:nvSpPr>
        <p:spPr>
          <a:xfrm>
            <a:off x="838200" y="681037"/>
            <a:ext cx="10515600" cy="1009651"/>
          </a:xfrm>
        </p:spPr>
        <p:txBody>
          <a:bodyPr>
            <a:noAutofit/>
          </a:bodyPr>
          <a:lstStyle>
            <a:lvl1pPr>
              <a:lnSpc>
                <a:spcPct val="100000"/>
              </a:lnSpc>
              <a:buFontTx/>
              <a:buNone/>
              <a:defRPr b="1" i="0">
                <a:solidFill>
                  <a:srgbClr val="152A96"/>
                </a:solidFill>
                <a:latin typeface="Poppins" pitchFamily="2" charset="77"/>
                <a:cs typeface="Poppins" pitchFamily="2" charset="77"/>
              </a:defRPr>
            </a:lvl1pPr>
          </a:lstStyle>
          <a:p>
            <a:r>
              <a:rPr lang="fi-FI"/>
              <a:t>Muokkaa ots. perustyyl. napsautt.</a:t>
            </a:r>
          </a:p>
        </p:txBody>
      </p:sp>
      <p:sp>
        <p:nvSpPr>
          <p:cNvPr id="21" name="Kuvan paikkamerkki 20">
            <a:extLst>
              <a:ext uri="{FF2B5EF4-FFF2-40B4-BE49-F238E27FC236}">
                <a16:creationId xmlns:a16="http://schemas.microsoft.com/office/drawing/2014/main" id="{D72CE71F-DF4B-96CC-4761-9BB2FB5B1CB4}"/>
              </a:ext>
            </a:extLst>
          </p:cNvPr>
          <p:cNvSpPr>
            <a:spLocks noGrp="1"/>
          </p:cNvSpPr>
          <p:nvPr>
            <p:ph type="pic" sz="quarter" idx="17"/>
          </p:nvPr>
        </p:nvSpPr>
        <p:spPr>
          <a:xfrm>
            <a:off x="4227513" y="2405063"/>
            <a:ext cx="7126287" cy="3282950"/>
          </a:xfrm>
        </p:spPr>
        <p:txBody>
          <a:bodyPr/>
          <a:lstStyle>
            <a:lvl1pPr marL="0" indent="0">
              <a:buFontTx/>
              <a:buNone/>
              <a:defRPr/>
            </a:lvl1pPr>
          </a:lstStyle>
          <a:p>
            <a:r>
              <a:rPr lang="fi-FI"/>
              <a:t>Lisää kuva napsauttamalla kuvaketta</a:t>
            </a:r>
          </a:p>
        </p:txBody>
      </p:sp>
      <p:pic>
        <p:nvPicPr>
          <p:cNvPr id="2" name="Graphic 18">
            <a:extLst>
              <a:ext uri="{FF2B5EF4-FFF2-40B4-BE49-F238E27FC236}">
                <a16:creationId xmlns:a16="http://schemas.microsoft.com/office/drawing/2014/main" id="{1442ADB6-4E66-D0BE-3EDA-E51EC2D2DA3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80231" y="6176963"/>
            <a:ext cx="1459367" cy="321133"/>
          </a:xfrm>
          <a:prstGeom prst="rect">
            <a:avLst/>
          </a:prstGeom>
        </p:spPr>
      </p:pic>
    </p:spTree>
    <p:extLst>
      <p:ext uri="{BB962C8B-B14F-4D97-AF65-F5344CB8AC3E}">
        <p14:creationId xmlns:p14="http://schemas.microsoft.com/office/powerpoint/2010/main" val="3121932648"/>
      </p:ext>
    </p:extLst>
  </p:cSld>
  <p:clrMapOvr>
    <a:masterClrMapping/>
  </p:clrMapOvr>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Mukautettu asettelu 1">
    <p:spTree>
      <p:nvGrpSpPr>
        <p:cNvPr id="1" name=""/>
        <p:cNvGrpSpPr/>
        <p:nvPr/>
      </p:nvGrpSpPr>
      <p:grpSpPr>
        <a:xfrm>
          <a:off x="0" y="0"/>
          <a:ext cx="0" cy="0"/>
          <a:chOff x="0" y="0"/>
          <a:chExt cx="0" cy="0"/>
        </a:xfrm>
      </p:grpSpPr>
      <p:pic>
        <p:nvPicPr>
          <p:cNvPr id="6" name="Kuva 5">
            <a:extLst>
              <a:ext uri="{FF2B5EF4-FFF2-40B4-BE49-F238E27FC236}">
                <a16:creationId xmlns:a16="http://schemas.microsoft.com/office/drawing/2014/main" id="{B8A1733C-BE0C-BE2F-BE1F-0443C1FCA0E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13" name="Title 1">
            <a:extLst>
              <a:ext uri="{FF2B5EF4-FFF2-40B4-BE49-F238E27FC236}">
                <a16:creationId xmlns:a16="http://schemas.microsoft.com/office/drawing/2014/main" id="{EBB71F7C-B971-38E5-9CE2-949982FDBF83}"/>
              </a:ext>
            </a:extLst>
          </p:cNvPr>
          <p:cNvSpPr>
            <a:spLocks noGrp="1"/>
          </p:cNvSpPr>
          <p:nvPr>
            <p:ph type="title" hasCustomPrompt="1"/>
          </p:nvPr>
        </p:nvSpPr>
        <p:spPr>
          <a:xfrm>
            <a:off x="1775012" y="1631576"/>
            <a:ext cx="7942729" cy="4087906"/>
          </a:xfrm>
        </p:spPr>
        <p:txBody>
          <a:bodyPr>
            <a:noAutofit/>
          </a:bodyPr>
          <a:lstStyle>
            <a:lvl1pPr algn="ctr">
              <a:defRPr sz="6000" b="1" i="0">
                <a:solidFill>
                  <a:srgbClr val="FFCC99"/>
                </a:solidFill>
                <a:latin typeface="+mj-lt"/>
                <a:cs typeface="Poppins" pitchFamily="2" charset="77"/>
              </a:defRPr>
            </a:lvl1pPr>
          </a:lstStyle>
          <a:p>
            <a:r>
              <a:rPr lang="en-GB"/>
              <a:t>Click to edit </a:t>
            </a:r>
            <a:br>
              <a:rPr lang="en-GB"/>
            </a:br>
            <a:r>
              <a:rPr lang="en-GB"/>
              <a:t>master title style</a:t>
            </a:r>
            <a:endParaRPr lang="en-FI"/>
          </a:p>
        </p:txBody>
      </p:sp>
      <p:pic>
        <p:nvPicPr>
          <p:cNvPr id="3" name="Graphic 7">
            <a:extLst>
              <a:ext uri="{FF2B5EF4-FFF2-40B4-BE49-F238E27FC236}">
                <a16:creationId xmlns:a16="http://schemas.microsoft.com/office/drawing/2014/main" id="{1ABB6FA3-BF43-4CF6-90E6-5118148B150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660467" y="5929587"/>
            <a:ext cx="2191714" cy="609570"/>
          </a:xfrm>
          <a:prstGeom prst="rect">
            <a:avLst/>
          </a:prstGeom>
        </p:spPr>
      </p:pic>
      <p:pic>
        <p:nvPicPr>
          <p:cNvPr id="4" name="Graphic 7">
            <a:extLst>
              <a:ext uri="{FF2B5EF4-FFF2-40B4-BE49-F238E27FC236}">
                <a16:creationId xmlns:a16="http://schemas.microsoft.com/office/drawing/2014/main" id="{2B548A99-05CE-621B-01CC-F1CE4C1C7F9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660467" y="5929587"/>
            <a:ext cx="2191714" cy="609570"/>
          </a:xfrm>
          <a:prstGeom prst="rect">
            <a:avLst/>
          </a:prstGeom>
        </p:spPr>
      </p:pic>
    </p:spTree>
    <p:extLst>
      <p:ext uri="{BB962C8B-B14F-4D97-AF65-F5344CB8AC3E}">
        <p14:creationId xmlns:p14="http://schemas.microsoft.com/office/powerpoint/2010/main" val="600905898"/>
      </p:ext>
    </p:extLst>
  </p:cSld>
  <p:clrMapOvr>
    <a:masterClrMapping/>
  </p:clrMapOvr>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Mukautettu asettelu 2">
    <p:spTree>
      <p:nvGrpSpPr>
        <p:cNvPr id="1" name=""/>
        <p:cNvGrpSpPr/>
        <p:nvPr/>
      </p:nvGrpSpPr>
      <p:grpSpPr>
        <a:xfrm>
          <a:off x="0" y="0"/>
          <a:ext cx="0" cy="0"/>
          <a:chOff x="0" y="0"/>
          <a:chExt cx="0" cy="0"/>
        </a:xfrm>
      </p:grpSpPr>
      <p:pic>
        <p:nvPicPr>
          <p:cNvPr id="6" name="Kuva 5">
            <a:extLst>
              <a:ext uri="{FF2B5EF4-FFF2-40B4-BE49-F238E27FC236}">
                <a16:creationId xmlns:a16="http://schemas.microsoft.com/office/drawing/2014/main" id="{B8A1733C-BE0C-BE2F-BE1F-0443C1FCA0E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13" name="Title 1">
            <a:extLst>
              <a:ext uri="{FF2B5EF4-FFF2-40B4-BE49-F238E27FC236}">
                <a16:creationId xmlns:a16="http://schemas.microsoft.com/office/drawing/2014/main" id="{EBB71F7C-B971-38E5-9CE2-949982FDBF83}"/>
              </a:ext>
            </a:extLst>
          </p:cNvPr>
          <p:cNvSpPr>
            <a:spLocks noGrp="1"/>
          </p:cNvSpPr>
          <p:nvPr>
            <p:ph type="title" hasCustomPrompt="1"/>
          </p:nvPr>
        </p:nvSpPr>
        <p:spPr>
          <a:xfrm>
            <a:off x="1775012" y="1631576"/>
            <a:ext cx="7942729" cy="4087906"/>
          </a:xfrm>
        </p:spPr>
        <p:txBody>
          <a:bodyPr>
            <a:noAutofit/>
          </a:bodyPr>
          <a:lstStyle>
            <a:lvl1pPr algn="ctr">
              <a:defRPr sz="6000" b="1" i="0">
                <a:solidFill>
                  <a:srgbClr val="FFCC99"/>
                </a:solidFill>
                <a:latin typeface="+mj-lt"/>
                <a:cs typeface="Poppins" pitchFamily="2" charset="77"/>
              </a:defRPr>
            </a:lvl1pPr>
          </a:lstStyle>
          <a:p>
            <a:r>
              <a:rPr lang="en-GB"/>
              <a:t>Click to edit </a:t>
            </a:r>
            <a:br>
              <a:rPr lang="en-GB"/>
            </a:br>
            <a:r>
              <a:rPr lang="en-GB"/>
              <a:t>master title style</a:t>
            </a:r>
            <a:endParaRPr lang="en-FI"/>
          </a:p>
        </p:txBody>
      </p:sp>
      <p:pic>
        <p:nvPicPr>
          <p:cNvPr id="3" name="Graphic 7">
            <a:extLst>
              <a:ext uri="{FF2B5EF4-FFF2-40B4-BE49-F238E27FC236}">
                <a16:creationId xmlns:a16="http://schemas.microsoft.com/office/drawing/2014/main" id="{1ABB6FA3-BF43-4CF6-90E6-5118148B150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660467" y="5929587"/>
            <a:ext cx="2191714" cy="609570"/>
          </a:xfrm>
          <a:prstGeom prst="rect">
            <a:avLst/>
          </a:prstGeom>
        </p:spPr>
      </p:pic>
      <p:pic>
        <p:nvPicPr>
          <p:cNvPr id="4" name="Graphic 7">
            <a:extLst>
              <a:ext uri="{FF2B5EF4-FFF2-40B4-BE49-F238E27FC236}">
                <a16:creationId xmlns:a16="http://schemas.microsoft.com/office/drawing/2014/main" id="{2B548A99-05CE-621B-01CC-F1CE4C1C7F9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660467" y="5929587"/>
            <a:ext cx="2191714" cy="609570"/>
          </a:xfrm>
          <a:prstGeom prst="rect">
            <a:avLst/>
          </a:prstGeom>
        </p:spPr>
      </p:pic>
      <p:sp>
        <p:nvSpPr>
          <p:cNvPr id="5" name="Suorakulmio 4">
            <a:extLst>
              <a:ext uri="{FF2B5EF4-FFF2-40B4-BE49-F238E27FC236}">
                <a16:creationId xmlns:a16="http://schemas.microsoft.com/office/drawing/2014/main" id="{B79E6266-FC5F-0F56-DBCB-668B3A48B14F}"/>
              </a:ext>
            </a:extLst>
          </p:cNvPr>
          <p:cNvSpPr/>
          <p:nvPr/>
        </p:nvSpPr>
        <p:spPr>
          <a:xfrm>
            <a:off x="9660467" y="5719482"/>
            <a:ext cx="2355070" cy="970076"/>
          </a:xfrm>
          <a:prstGeom prst="rect">
            <a:avLst/>
          </a:prstGeom>
          <a:solidFill>
            <a:srgbClr val="FFCC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7" name="Kuva 6">
            <a:extLst>
              <a:ext uri="{FF2B5EF4-FFF2-40B4-BE49-F238E27FC236}">
                <a16:creationId xmlns:a16="http://schemas.microsoft.com/office/drawing/2014/main" id="{74E8FC11-F24A-BF50-85E6-39F9DD595F2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789039" y="6006892"/>
            <a:ext cx="2063142" cy="464207"/>
          </a:xfrm>
          <a:prstGeom prst="rect">
            <a:avLst/>
          </a:prstGeom>
        </p:spPr>
      </p:pic>
    </p:spTree>
    <p:extLst>
      <p:ext uri="{BB962C8B-B14F-4D97-AF65-F5344CB8AC3E}">
        <p14:creationId xmlns:p14="http://schemas.microsoft.com/office/powerpoint/2010/main" val="1649501216"/>
      </p:ext>
    </p:extLst>
  </p:cSld>
  <p:clrMapOvr>
    <a:masterClrMapping/>
  </p:clrMapOvr>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Mukautettu asettelu Vantaa">
    <p:bg>
      <p:bgPr>
        <a:solidFill>
          <a:srgbClr val="152A96"/>
        </a:solidFill>
        <a:effectLst/>
      </p:bgPr>
    </p:bg>
    <p:spTree>
      <p:nvGrpSpPr>
        <p:cNvPr id="1" name=""/>
        <p:cNvGrpSpPr/>
        <p:nvPr/>
      </p:nvGrpSpPr>
      <p:grpSpPr>
        <a:xfrm>
          <a:off x="0" y="0"/>
          <a:ext cx="0" cy="0"/>
          <a:chOff x="0" y="0"/>
          <a:chExt cx="0" cy="0"/>
        </a:xfrm>
      </p:grpSpPr>
      <p:pic>
        <p:nvPicPr>
          <p:cNvPr id="29" name="Graphic 4">
            <a:extLst>
              <a:ext uri="{FF2B5EF4-FFF2-40B4-BE49-F238E27FC236}">
                <a16:creationId xmlns:a16="http://schemas.microsoft.com/office/drawing/2014/main" id="{6D498FD3-EC31-36BA-2C8F-A8D873D9D4BD}"/>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551475" y="685572"/>
            <a:ext cx="1001618" cy="4465548"/>
          </a:xfrm>
          <a:prstGeom prst="rect">
            <a:avLst/>
          </a:prstGeom>
        </p:spPr>
      </p:pic>
      <p:pic>
        <p:nvPicPr>
          <p:cNvPr id="2" name="Kuva 1">
            <a:extLst>
              <a:ext uri="{FF2B5EF4-FFF2-40B4-BE49-F238E27FC236}">
                <a16:creationId xmlns:a16="http://schemas.microsoft.com/office/drawing/2014/main" id="{98B19447-0918-C25A-8419-198710E2C4D4}"/>
              </a:ext>
            </a:extLst>
          </p:cNvPr>
          <p:cNvPicPr/>
          <p:nvPr/>
        </p:nvPicPr>
        <p:blipFill>
          <a:blip>
            <a:extLst>
              <a:ext uri="{96DAC541-7B7A-43D3-8B79-37D633B846F1}">
                <asvg:svgBlip xmlns:asvg="http://schemas.microsoft.com/office/drawing/2016/SVG/main" r:embed="rId3"/>
              </a:ext>
            </a:extLst>
          </a:blip>
          <a:srcRect l="39215" t="36030" r="-10556"/>
          <a:stretch>
            <a:fillRect/>
          </a:stretch>
        </p:blipFill>
        <p:spPr>
          <a:xfrm>
            <a:off x="0" y="-11875"/>
            <a:ext cx="12192000" cy="7126253"/>
          </a:xfrm>
          <a:prstGeom prst="rect">
            <a:avLst/>
          </a:prstGeom>
        </p:spPr>
      </p:pic>
      <p:sp>
        <p:nvSpPr>
          <p:cNvPr id="4" name="Otsikko 1">
            <a:extLst>
              <a:ext uri="{FF2B5EF4-FFF2-40B4-BE49-F238E27FC236}">
                <a16:creationId xmlns:a16="http://schemas.microsoft.com/office/drawing/2014/main" id="{3FBE4A5F-A21E-B675-019A-29F5515863A4}"/>
              </a:ext>
            </a:extLst>
          </p:cNvPr>
          <p:cNvSpPr txBox="1">
            <a:spLocks/>
          </p:cNvSpPr>
          <p:nvPr/>
        </p:nvSpPr>
        <p:spPr>
          <a:xfrm>
            <a:off x="1981200" y="4581026"/>
            <a:ext cx="9801826" cy="2194452"/>
          </a:xfrm>
          <a:prstGeom prst="rect">
            <a:avLst/>
          </a:prstGeom>
        </p:spPr>
        <p:txBody>
          <a:bodyPr>
            <a:noAutofit/>
          </a:bodyPr>
          <a:lstStyle>
            <a:lvl1pPr algn="l" defTabSz="914400" rtl="0" eaLnBrk="1" latinLnBrk="0" hangingPunct="1">
              <a:lnSpc>
                <a:spcPct val="90000"/>
              </a:lnSpc>
              <a:spcBef>
                <a:spcPct val="0"/>
              </a:spcBef>
              <a:buNone/>
              <a:defRPr sz="4000" b="1" i="0" kern="1200">
                <a:solidFill>
                  <a:schemeClr val="tx1"/>
                </a:solidFill>
                <a:latin typeface="Arial" panose="020B0604020202020204" pitchFamily="34" charset="0"/>
                <a:ea typeface="+mj-ea"/>
                <a:cs typeface="Arial" panose="020B0604020202020204" pitchFamily="34" charset="0"/>
              </a:defRPr>
            </a:lvl1pPr>
          </a:lstStyle>
          <a:p>
            <a:pPr algn="ctr"/>
            <a:endParaRPr lang="fi-FI" sz="1200" b="1">
              <a:solidFill>
                <a:srgbClr val="A2E4B8"/>
              </a:solidFill>
              <a:latin typeface="Poppins" pitchFamily="2" charset="77"/>
              <a:cs typeface="Poppins" pitchFamily="2" charset="77"/>
            </a:endParaRPr>
          </a:p>
        </p:txBody>
      </p:sp>
      <p:sp>
        <p:nvSpPr>
          <p:cNvPr id="5" name="Tekstiruutu 4">
            <a:extLst>
              <a:ext uri="{FF2B5EF4-FFF2-40B4-BE49-F238E27FC236}">
                <a16:creationId xmlns:a16="http://schemas.microsoft.com/office/drawing/2014/main" id="{354CF7E8-3F59-4810-C0F2-2BD8EAA4BE7A}"/>
              </a:ext>
            </a:extLst>
          </p:cNvPr>
          <p:cNvSpPr txBox="1"/>
          <p:nvPr/>
        </p:nvSpPr>
        <p:spPr>
          <a:xfrm>
            <a:off x="4438049" y="4671569"/>
            <a:ext cx="9187135" cy="1785104"/>
          </a:xfrm>
          <a:prstGeom prst="rect">
            <a:avLst/>
          </a:prstGeom>
          <a:noFill/>
        </p:spPr>
        <p:txBody>
          <a:bodyPr wrap="square">
            <a:spAutoFit/>
          </a:bodyPr>
          <a:lstStyle/>
          <a:p>
            <a:pPr marL="171450" indent="-171450" algn="l">
              <a:spcBef>
                <a:spcPts val="600"/>
              </a:spcBef>
              <a:spcAft>
                <a:spcPts val="0"/>
              </a:spcAft>
              <a:buFont typeface="Wingdings" pitchFamily="2" charset="2"/>
              <a:buChar char="ü"/>
            </a:pPr>
            <a:r>
              <a:rPr lang="fi-FI" sz="1800" b="1">
                <a:solidFill>
                  <a:schemeClr val="bg1"/>
                </a:solidFill>
                <a:latin typeface="Poppins" pitchFamily="2" charset="77"/>
                <a:cs typeface="Poppins" pitchFamily="2" charset="77"/>
              </a:rPr>
              <a:t> </a:t>
            </a:r>
            <a:r>
              <a:rPr lang="fi-FI" sz="1800" b="0">
                <a:solidFill>
                  <a:schemeClr val="bg1"/>
                </a:solidFill>
                <a:latin typeface="Poppins" pitchFamily="2" charset="77"/>
                <a:cs typeface="Poppins" pitchFamily="2" charset="77"/>
              </a:rPr>
              <a:t>Suomen paras sijainti</a:t>
            </a:r>
          </a:p>
          <a:p>
            <a:pPr marL="171450" indent="-171450" algn="l">
              <a:spcBef>
                <a:spcPts val="600"/>
              </a:spcBef>
              <a:spcAft>
                <a:spcPts val="0"/>
              </a:spcAft>
              <a:buFont typeface="Wingdings" pitchFamily="2" charset="2"/>
              <a:buChar char="ü"/>
            </a:pPr>
            <a:r>
              <a:rPr lang="fi-FI" sz="1800" b="0">
                <a:solidFill>
                  <a:schemeClr val="bg1"/>
                </a:solidFill>
                <a:latin typeface="Poppins" pitchFamily="2" charset="77"/>
                <a:cs typeface="Poppins" pitchFamily="2" charset="77"/>
              </a:rPr>
              <a:t> Kasvun kaupunki</a:t>
            </a:r>
          </a:p>
          <a:p>
            <a:pPr marL="171450" indent="-171450" algn="l">
              <a:spcBef>
                <a:spcPts val="600"/>
              </a:spcBef>
              <a:spcAft>
                <a:spcPts val="0"/>
              </a:spcAft>
              <a:buFont typeface="Wingdings" pitchFamily="2" charset="2"/>
              <a:buChar char="ü"/>
            </a:pPr>
            <a:r>
              <a:rPr lang="fi-FI" sz="1800" b="0">
                <a:solidFill>
                  <a:schemeClr val="bg1"/>
                </a:solidFill>
                <a:latin typeface="Poppins" pitchFamily="2" charset="77"/>
                <a:cs typeface="Poppins" pitchFamily="2" charset="77"/>
              </a:rPr>
              <a:t> Nuori ikärakenne</a:t>
            </a:r>
          </a:p>
          <a:p>
            <a:pPr marL="171450" indent="-171450" algn="l">
              <a:spcBef>
                <a:spcPts val="600"/>
              </a:spcBef>
              <a:spcAft>
                <a:spcPts val="0"/>
              </a:spcAft>
              <a:buFont typeface="Wingdings" pitchFamily="2" charset="2"/>
              <a:buChar char="ü"/>
            </a:pPr>
            <a:r>
              <a:rPr lang="fi-FI" sz="1800" b="0">
                <a:solidFill>
                  <a:schemeClr val="bg1"/>
                </a:solidFill>
                <a:latin typeface="Poppins" pitchFamily="2" charset="77"/>
                <a:cs typeface="Poppins" pitchFamily="2" charset="77"/>
              </a:rPr>
              <a:t> Paljon kansainvälisiä osaajia</a:t>
            </a:r>
          </a:p>
          <a:p>
            <a:pPr marL="171450" indent="-171450" algn="l">
              <a:spcBef>
                <a:spcPts val="600"/>
              </a:spcBef>
              <a:spcAft>
                <a:spcPts val="0"/>
              </a:spcAft>
              <a:buFont typeface="Wingdings" pitchFamily="2" charset="2"/>
              <a:buChar char="ü"/>
            </a:pPr>
            <a:r>
              <a:rPr lang="fi-FI" sz="1800" b="0">
                <a:solidFill>
                  <a:schemeClr val="bg1"/>
                </a:solidFill>
                <a:latin typeface="Poppins" pitchFamily="2" charset="77"/>
                <a:cs typeface="Poppins" pitchFamily="2" charset="77"/>
              </a:rPr>
              <a:t> Osaavaa työvoimaa kaikkiin tarpeisiin</a:t>
            </a:r>
          </a:p>
        </p:txBody>
      </p:sp>
      <p:sp>
        <p:nvSpPr>
          <p:cNvPr id="7" name="Tekstiruutu 6">
            <a:extLst>
              <a:ext uri="{FF2B5EF4-FFF2-40B4-BE49-F238E27FC236}">
                <a16:creationId xmlns:a16="http://schemas.microsoft.com/office/drawing/2014/main" id="{47481FEC-F715-CE84-463D-4D3140DBECA0}"/>
              </a:ext>
            </a:extLst>
          </p:cNvPr>
          <p:cNvSpPr txBox="1"/>
          <p:nvPr/>
        </p:nvSpPr>
        <p:spPr>
          <a:xfrm>
            <a:off x="2751782" y="3297614"/>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Helsinki</a:t>
            </a:r>
          </a:p>
        </p:txBody>
      </p:sp>
      <p:sp>
        <p:nvSpPr>
          <p:cNvPr id="8" name="Tekstiruutu 7">
            <a:extLst>
              <a:ext uri="{FF2B5EF4-FFF2-40B4-BE49-F238E27FC236}">
                <a16:creationId xmlns:a16="http://schemas.microsoft.com/office/drawing/2014/main" id="{2A79C4A2-65BB-1B7A-7FB3-ADB05D9389D6}"/>
              </a:ext>
            </a:extLst>
          </p:cNvPr>
          <p:cNvSpPr txBox="1"/>
          <p:nvPr/>
        </p:nvSpPr>
        <p:spPr>
          <a:xfrm>
            <a:off x="1405199" y="3036004"/>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Espoo</a:t>
            </a:r>
          </a:p>
        </p:txBody>
      </p:sp>
      <p:sp>
        <p:nvSpPr>
          <p:cNvPr id="9" name="Tekstiruutu 8">
            <a:extLst>
              <a:ext uri="{FF2B5EF4-FFF2-40B4-BE49-F238E27FC236}">
                <a16:creationId xmlns:a16="http://schemas.microsoft.com/office/drawing/2014/main" id="{522554A0-D8AE-5723-07C4-D0CEAC7BEE28}"/>
              </a:ext>
            </a:extLst>
          </p:cNvPr>
          <p:cNvSpPr txBox="1"/>
          <p:nvPr/>
        </p:nvSpPr>
        <p:spPr>
          <a:xfrm>
            <a:off x="3373235" y="1883740"/>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Kerava</a:t>
            </a:r>
          </a:p>
        </p:txBody>
      </p:sp>
      <p:sp>
        <p:nvSpPr>
          <p:cNvPr id="10" name="Tekstiruutu 9">
            <a:extLst>
              <a:ext uri="{FF2B5EF4-FFF2-40B4-BE49-F238E27FC236}">
                <a16:creationId xmlns:a16="http://schemas.microsoft.com/office/drawing/2014/main" id="{7143A087-DB97-318B-E017-5DF938B4142E}"/>
              </a:ext>
            </a:extLst>
          </p:cNvPr>
          <p:cNvSpPr txBox="1"/>
          <p:nvPr/>
        </p:nvSpPr>
        <p:spPr>
          <a:xfrm>
            <a:off x="4022586" y="2428145"/>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Sipoo</a:t>
            </a:r>
          </a:p>
        </p:txBody>
      </p:sp>
      <p:sp>
        <p:nvSpPr>
          <p:cNvPr id="11" name="Tekstiruutu 10">
            <a:extLst>
              <a:ext uri="{FF2B5EF4-FFF2-40B4-BE49-F238E27FC236}">
                <a16:creationId xmlns:a16="http://schemas.microsoft.com/office/drawing/2014/main" id="{60F50076-5F41-A0D1-0766-7E80D53AF1C6}"/>
              </a:ext>
            </a:extLst>
          </p:cNvPr>
          <p:cNvSpPr txBox="1"/>
          <p:nvPr/>
        </p:nvSpPr>
        <p:spPr>
          <a:xfrm>
            <a:off x="1708428" y="3535886"/>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Kauniainen</a:t>
            </a:r>
          </a:p>
        </p:txBody>
      </p:sp>
      <p:sp>
        <p:nvSpPr>
          <p:cNvPr id="12" name="Tekstiruutu 11">
            <a:extLst>
              <a:ext uri="{FF2B5EF4-FFF2-40B4-BE49-F238E27FC236}">
                <a16:creationId xmlns:a16="http://schemas.microsoft.com/office/drawing/2014/main" id="{E96F04FF-BCC1-FF76-5648-A02248FB8738}"/>
              </a:ext>
            </a:extLst>
          </p:cNvPr>
          <p:cNvSpPr txBox="1"/>
          <p:nvPr/>
        </p:nvSpPr>
        <p:spPr>
          <a:xfrm>
            <a:off x="2751782" y="2081897"/>
            <a:ext cx="844346"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Tuusula</a:t>
            </a:r>
          </a:p>
        </p:txBody>
      </p:sp>
      <p:sp>
        <p:nvSpPr>
          <p:cNvPr id="14" name="Tekstiruutu 13">
            <a:extLst>
              <a:ext uri="{FF2B5EF4-FFF2-40B4-BE49-F238E27FC236}">
                <a16:creationId xmlns:a16="http://schemas.microsoft.com/office/drawing/2014/main" id="{9B69578A-526E-F6B9-874A-8601F9A0C026}"/>
              </a:ext>
            </a:extLst>
          </p:cNvPr>
          <p:cNvSpPr txBox="1"/>
          <p:nvPr/>
        </p:nvSpPr>
        <p:spPr>
          <a:xfrm>
            <a:off x="3234627" y="1260428"/>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Järvenpää</a:t>
            </a:r>
          </a:p>
        </p:txBody>
      </p:sp>
      <p:sp>
        <p:nvSpPr>
          <p:cNvPr id="15" name="Tekstiruutu 14">
            <a:extLst>
              <a:ext uri="{FF2B5EF4-FFF2-40B4-BE49-F238E27FC236}">
                <a16:creationId xmlns:a16="http://schemas.microsoft.com/office/drawing/2014/main" id="{589E08F1-A13F-299C-CA15-43995587AE66}"/>
              </a:ext>
            </a:extLst>
          </p:cNvPr>
          <p:cNvSpPr txBox="1"/>
          <p:nvPr/>
        </p:nvSpPr>
        <p:spPr>
          <a:xfrm>
            <a:off x="4348841" y="1073695"/>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Pornainen</a:t>
            </a:r>
          </a:p>
        </p:txBody>
      </p:sp>
      <p:sp>
        <p:nvSpPr>
          <p:cNvPr id="16" name="Tekstiruutu 15">
            <a:extLst>
              <a:ext uri="{FF2B5EF4-FFF2-40B4-BE49-F238E27FC236}">
                <a16:creationId xmlns:a16="http://schemas.microsoft.com/office/drawing/2014/main" id="{FED0E6CA-B88E-9691-B3CC-F92D2AE80F25}"/>
              </a:ext>
            </a:extLst>
          </p:cNvPr>
          <p:cNvSpPr txBox="1"/>
          <p:nvPr/>
        </p:nvSpPr>
        <p:spPr>
          <a:xfrm>
            <a:off x="3879499" y="422905"/>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Mäntsälä</a:t>
            </a:r>
          </a:p>
        </p:txBody>
      </p:sp>
      <p:sp>
        <p:nvSpPr>
          <p:cNvPr id="17" name="Tekstiruutu 16">
            <a:extLst>
              <a:ext uri="{FF2B5EF4-FFF2-40B4-BE49-F238E27FC236}">
                <a16:creationId xmlns:a16="http://schemas.microsoft.com/office/drawing/2014/main" id="{8C01ACDC-09B5-27A3-83C7-3ABC927E614D}"/>
              </a:ext>
            </a:extLst>
          </p:cNvPr>
          <p:cNvSpPr txBox="1"/>
          <p:nvPr/>
        </p:nvSpPr>
        <p:spPr>
          <a:xfrm>
            <a:off x="2359683" y="137985"/>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Hyvinkää</a:t>
            </a:r>
          </a:p>
        </p:txBody>
      </p:sp>
      <p:sp>
        <p:nvSpPr>
          <p:cNvPr id="18" name="Tekstiruutu 17">
            <a:extLst>
              <a:ext uri="{FF2B5EF4-FFF2-40B4-BE49-F238E27FC236}">
                <a16:creationId xmlns:a16="http://schemas.microsoft.com/office/drawing/2014/main" id="{3BB0B17C-CBBB-2A58-7D47-610F00715A4F}"/>
              </a:ext>
            </a:extLst>
          </p:cNvPr>
          <p:cNvSpPr txBox="1"/>
          <p:nvPr/>
        </p:nvSpPr>
        <p:spPr>
          <a:xfrm>
            <a:off x="1783682" y="1532936"/>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Nurmijärvi</a:t>
            </a:r>
          </a:p>
        </p:txBody>
      </p:sp>
      <p:sp>
        <p:nvSpPr>
          <p:cNvPr id="19" name="Tekstiruutu 18">
            <a:extLst>
              <a:ext uri="{FF2B5EF4-FFF2-40B4-BE49-F238E27FC236}">
                <a16:creationId xmlns:a16="http://schemas.microsoft.com/office/drawing/2014/main" id="{DD61013F-E798-1BF9-A3BD-E5719B63A503}"/>
              </a:ext>
            </a:extLst>
          </p:cNvPr>
          <p:cNvSpPr txBox="1"/>
          <p:nvPr/>
        </p:nvSpPr>
        <p:spPr>
          <a:xfrm>
            <a:off x="452431" y="2089846"/>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Vihti</a:t>
            </a:r>
          </a:p>
        </p:txBody>
      </p:sp>
      <p:sp>
        <p:nvSpPr>
          <p:cNvPr id="20" name="Tekstiruutu 19">
            <a:extLst>
              <a:ext uri="{FF2B5EF4-FFF2-40B4-BE49-F238E27FC236}">
                <a16:creationId xmlns:a16="http://schemas.microsoft.com/office/drawing/2014/main" id="{A7E16824-1D2E-6CFD-5D96-FC92D259D1D4}"/>
              </a:ext>
            </a:extLst>
          </p:cNvPr>
          <p:cNvSpPr txBox="1"/>
          <p:nvPr/>
        </p:nvSpPr>
        <p:spPr>
          <a:xfrm>
            <a:off x="215153" y="4191567"/>
            <a:ext cx="1333464"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Kirkkonummi</a:t>
            </a:r>
          </a:p>
        </p:txBody>
      </p:sp>
      <p:sp>
        <p:nvSpPr>
          <p:cNvPr id="21" name="Tekstiruutu 20">
            <a:extLst>
              <a:ext uri="{FF2B5EF4-FFF2-40B4-BE49-F238E27FC236}">
                <a16:creationId xmlns:a16="http://schemas.microsoft.com/office/drawing/2014/main" id="{F82F5390-2796-2493-C8F9-176D7F496148}"/>
              </a:ext>
            </a:extLst>
          </p:cNvPr>
          <p:cNvSpPr txBox="1"/>
          <p:nvPr/>
        </p:nvSpPr>
        <p:spPr>
          <a:xfrm>
            <a:off x="2175781" y="2433224"/>
            <a:ext cx="1152002" cy="276999"/>
          </a:xfrm>
          <a:prstGeom prst="rect">
            <a:avLst/>
          </a:prstGeom>
          <a:noFill/>
        </p:spPr>
        <p:txBody>
          <a:bodyPr wrap="square" rtlCol="0">
            <a:spAutoFit/>
          </a:bodyPr>
          <a:lstStyle/>
          <a:p>
            <a:r>
              <a:rPr lang="fi-FI" sz="1200" b="1">
                <a:solidFill>
                  <a:schemeClr val="bg1"/>
                </a:solidFill>
                <a:latin typeface="Poppins" pitchFamily="2" charset="77"/>
                <a:cs typeface="Poppins" pitchFamily="2" charset="77"/>
              </a:rPr>
              <a:t>Vantaa</a:t>
            </a:r>
          </a:p>
        </p:txBody>
      </p:sp>
      <p:pic>
        <p:nvPicPr>
          <p:cNvPr id="22" name="Kuva 21" descr="Lentokone tasaisella täytöllä">
            <a:extLst>
              <a:ext uri="{FF2B5EF4-FFF2-40B4-BE49-F238E27FC236}">
                <a16:creationId xmlns:a16="http://schemas.microsoft.com/office/drawing/2014/main" id="{C90F10EB-24D2-AC68-43A3-1241230B419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3967652">
            <a:off x="2932640" y="2693976"/>
            <a:ext cx="244743" cy="244743"/>
          </a:xfrm>
          <a:prstGeom prst="rect">
            <a:avLst/>
          </a:prstGeom>
        </p:spPr>
      </p:pic>
      <p:pic>
        <p:nvPicPr>
          <p:cNvPr id="23" name="Kuva 22" descr="Lentokone tasaisella täytöllä">
            <a:extLst>
              <a:ext uri="{FF2B5EF4-FFF2-40B4-BE49-F238E27FC236}">
                <a16:creationId xmlns:a16="http://schemas.microsoft.com/office/drawing/2014/main" id="{59DCA42B-835B-A65B-4A55-9F34FB355C7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2741525">
            <a:off x="1137853" y="6231923"/>
            <a:ext cx="244743" cy="244743"/>
          </a:xfrm>
          <a:prstGeom prst="rect">
            <a:avLst/>
          </a:prstGeom>
        </p:spPr>
      </p:pic>
      <p:pic>
        <p:nvPicPr>
          <p:cNvPr id="24" name="Kuva 23" descr="Lentokone tasaisella täytöllä">
            <a:extLst>
              <a:ext uri="{FF2B5EF4-FFF2-40B4-BE49-F238E27FC236}">
                <a16:creationId xmlns:a16="http://schemas.microsoft.com/office/drawing/2014/main" id="{4FD95D38-DB18-4D0A-2D94-4EF376EDF2B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5564828">
            <a:off x="9945658" y="1182156"/>
            <a:ext cx="244743" cy="244743"/>
          </a:xfrm>
          <a:prstGeom prst="rect">
            <a:avLst/>
          </a:prstGeom>
        </p:spPr>
      </p:pic>
      <p:pic>
        <p:nvPicPr>
          <p:cNvPr id="25" name="Kuva 24" descr="Lentokone tasaisella täytöllä">
            <a:extLst>
              <a:ext uri="{FF2B5EF4-FFF2-40B4-BE49-F238E27FC236}">
                <a16:creationId xmlns:a16="http://schemas.microsoft.com/office/drawing/2014/main" id="{FB3FC009-12AB-3BE8-BDF1-B1E0766B6AE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6357818">
            <a:off x="11349916" y="322644"/>
            <a:ext cx="244743" cy="244743"/>
          </a:xfrm>
          <a:prstGeom prst="rect">
            <a:avLst/>
          </a:prstGeom>
        </p:spPr>
      </p:pic>
      <p:pic>
        <p:nvPicPr>
          <p:cNvPr id="26" name="Kuva 25" descr="Lentokone tasaisella täytöllä">
            <a:extLst>
              <a:ext uri="{FF2B5EF4-FFF2-40B4-BE49-F238E27FC236}">
                <a16:creationId xmlns:a16="http://schemas.microsoft.com/office/drawing/2014/main" id="{FD125BBF-BDE7-A7F1-E261-B744F343E86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6802921">
            <a:off x="9975073" y="4407351"/>
            <a:ext cx="244743" cy="244743"/>
          </a:xfrm>
          <a:prstGeom prst="rect">
            <a:avLst/>
          </a:prstGeom>
        </p:spPr>
      </p:pic>
      <p:pic>
        <p:nvPicPr>
          <p:cNvPr id="30" name="Kuva 29">
            <a:extLst>
              <a:ext uri="{FF2B5EF4-FFF2-40B4-BE49-F238E27FC236}">
                <a16:creationId xmlns:a16="http://schemas.microsoft.com/office/drawing/2014/main" id="{1F992CA6-FC98-0248-8445-8F5B77BA5E8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rot="9395700">
            <a:off x="8872749" y="4184010"/>
            <a:ext cx="3357451" cy="3357451"/>
          </a:xfrm>
          <a:prstGeom prst="rect">
            <a:avLst/>
          </a:prstGeom>
        </p:spPr>
      </p:pic>
      <p:pic>
        <p:nvPicPr>
          <p:cNvPr id="31" name="Kuva 30" descr="Lentokone tasaisella täytöllä">
            <a:extLst>
              <a:ext uri="{FF2B5EF4-FFF2-40B4-BE49-F238E27FC236}">
                <a16:creationId xmlns:a16="http://schemas.microsoft.com/office/drawing/2014/main" id="{C158F2F8-A259-69D5-B82E-DDE5902DCE5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3449644">
            <a:off x="1759102" y="5740364"/>
            <a:ext cx="244743" cy="244743"/>
          </a:xfrm>
          <a:prstGeom prst="rect">
            <a:avLst/>
          </a:prstGeom>
        </p:spPr>
      </p:pic>
      <p:pic>
        <p:nvPicPr>
          <p:cNvPr id="32" name="Kuva 31" descr="Lentokone tasaisella täytöllä">
            <a:extLst>
              <a:ext uri="{FF2B5EF4-FFF2-40B4-BE49-F238E27FC236}">
                <a16:creationId xmlns:a16="http://schemas.microsoft.com/office/drawing/2014/main" id="{F48373FA-7295-756E-2879-7B06E3567DE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4071106">
            <a:off x="2361199" y="5513303"/>
            <a:ext cx="244743" cy="244743"/>
          </a:xfrm>
          <a:prstGeom prst="rect">
            <a:avLst/>
          </a:prstGeom>
        </p:spPr>
      </p:pic>
      <p:pic>
        <p:nvPicPr>
          <p:cNvPr id="33" name="Kuva 32" descr="Lentokone tasaisella täytöllä">
            <a:extLst>
              <a:ext uri="{FF2B5EF4-FFF2-40B4-BE49-F238E27FC236}">
                <a16:creationId xmlns:a16="http://schemas.microsoft.com/office/drawing/2014/main" id="{2425BDFA-9AE4-30F7-AF2F-12D0E1E0994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2155917">
            <a:off x="3068603" y="5188225"/>
            <a:ext cx="244743" cy="244743"/>
          </a:xfrm>
          <a:prstGeom prst="rect">
            <a:avLst/>
          </a:prstGeom>
        </p:spPr>
      </p:pic>
      <p:pic>
        <p:nvPicPr>
          <p:cNvPr id="34" name="Kuva 33" descr="Lentokone tasaisella täytöllä">
            <a:extLst>
              <a:ext uri="{FF2B5EF4-FFF2-40B4-BE49-F238E27FC236}">
                <a16:creationId xmlns:a16="http://schemas.microsoft.com/office/drawing/2014/main" id="{7EF7EAE6-6DBC-ADEB-2ADD-A6DE0C99900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573387">
            <a:off x="3449405" y="4760013"/>
            <a:ext cx="244743" cy="244743"/>
          </a:xfrm>
          <a:prstGeom prst="rect">
            <a:avLst/>
          </a:prstGeom>
        </p:spPr>
      </p:pic>
      <p:pic>
        <p:nvPicPr>
          <p:cNvPr id="3" name="Graphic 4">
            <a:extLst>
              <a:ext uri="{FF2B5EF4-FFF2-40B4-BE49-F238E27FC236}">
                <a16:creationId xmlns:a16="http://schemas.microsoft.com/office/drawing/2014/main" id="{F780D051-3F07-D891-0017-08CFEA38736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551475" y="685572"/>
            <a:ext cx="1001618" cy="4465548"/>
          </a:xfrm>
          <a:prstGeom prst="rect">
            <a:avLst/>
          </a:prstGeom>
        </p:spPr>
      </p:pic>
      <p:pic>
        <p:nvPicPr>
          <p:cNvPr id="6" name="Kuva 5">
            <a:extLst>
              <a:ext uri="{FF2B5EF4-FFF2-40B4-BE49-F238E27FC236}">
                <a16:creationId xmlns:a16="http://schemas.microsoft.com/office/drawing/2014/main" id="{4383492E-ED18-2CB8-29C6-52E272C6DD11}"/>
              </a:ext>
            </a:extLst>
          </p:cNvPr>
          <p:cNvPicPr/>
          <p:nvPr/>
        </p:nvPicPr>
        <p:blipFill>
          <a:blip>
            <a:extLst>
              <a:ext uri="{96DAC541-7B7A-43D3-8B79-37D633B846F1}">
                <asvg:svgBlip xmlns:asvg="http://schemas.microsoft.com/office/drawing/2016/SVG/main" r:embed="rId3"/>
              </a:ext>
            </a:extLst>
          </a:blip>
          <a:srcRect l="39215" t="36030" r="-10556"/>
          <a:stretch>
            <a:fillRect/>
          </a:stretch>
        </p:blipFill>
        <p:spPr>
          <a:xfrm>
            <a:off x="0" y="-11875"/>
            <a:ext cx="12192000" cy="7126253"/>
          </a:xfrm>
          <a:prstGeom prst="rect">
            <a:avLst/>
          </a:prstGeom>
        </p:spPr>
      </p:pic>
      <p:sp>
        <p:nvSpPr>
          <p:cNvPr id="13" name="Otsikko 1">
            <a:extLst>
              <a:ext uri="{FF2B5EF4-FFF2-40B4-BE49-F238E27FC236}">
                <a16:creationId xmlns:a16="http://schemas.microsoft.com/office/drawing/2014/main" id="{EC40D39A-C62C-BB66-46CF-2B296E6E6DF8}"/>
              </a:ext>
            </a:extLst>
          </p:cNvPr>
          <p:cNvSpPr txBox="1">
            <a:spLocks/>
          </p:cNvSpPr>
          <p:nvPr/>
        </p:nvSpPr>
        <p:spPr>
          <a:xfrm>
            <a:off x="1981200" y="4581026"/>
            <a:ext cx="9801826" cy="2194452"/>
          </a:xfrm>
          <a:prstGeom prst="rect">
            <a:avLst/>
          </a:prstGeom>
        </p:spPr>
        <p:txBody>
          <a:bodyPr>
            <a:noAutofit/>
          </a:bodyPr>
          <a:lstStyle>
            <a:lvl1pPr algn="l" defTabSz="914400" rtl="0" eaLnBrk="1" latinLnBrk="0" hangingPunct="1">
              <a:lnSpc>
                <a:spcPct val="90000"/>
              </a:lnSpc>
              <a:spcBef>
                <a:spcPct val="0"/>
              </a:spcBef>
              <a:buNone/>
              <a:defRPr sz="4000" b="1" i="0" kern="1200">
                <a:solidFill>
                  <a:schemeClr val="tx1"/>
                </a:solidFill>
                <a:latin typeface="Arial" panose="020B0604020202020204" pitchFamily="34" charset="0"/>
                <a:ea typeface="+mj-ea"/>
                <a:cs typeface="Arial" panose="020B0604020202020204" pitchFamily="34" charset="0"/>
              </a:defRPr>
            </a:lvl1pPr>
          </a:lstStyle>
          <a:p>
            <a:pPr algn="ctr"/>
            <a:endParaRPr lang="fi-FI" sz="1200" b="1">
              <a:solidFill>
                <a:srgbClr val="A2E4B8"/>
              </a:solidFill>
              <a:latin typeface="Poppins" pitchFamily="2" charset="77"/>
              <a:cs typeface="Poppins" pitchFamily="2" charset="77"/>
            </a:endParaRPr>
          </a:p>
        </p:txBody>
      </p:sp>
      <p:sp>
        <p:nvSpPr>
          <p:cNvPr id="28" name="Tekstiruutu 27">
            <a:extLst>
              <a:ext uri="{FF2B5EF4-FFF2-40B4-BE49-F238E27FC236}">
                <a16:creationId xmlns:a16="http://schemas.microsoft.com/office/drawing/2014/main" id="{6FAA6EFE-22FB-4799-F9EB-BA03132C8F64}"/>
              </a:ext>
            </a:extLst>
          </p:cNvPr>
          <p:cNvSpPr txBox="1"/>
          <p:nvPr/>
        </p:nvSpPr>
        <p:spPr>
          <a:xfrm>
            <a:off x="2751782" y="3297614"/>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Helsinki</a:t>
            </a:r>
          </a:p>
        </p:txBody>
      </p:sp>
      <p:sp>
        <p:nvSpPr>
          <p:cNvPr id="35" name="Tekstiruutu 34">
            <a:extLst>
              <a:ext uri="{FF2B5EF4-FFF2-40B4-BE49-F238E27FC236}">
                <a16:creationId xmlns:a16="http://schemas.microsoft.com/office/drawing/2014/main" id="{BF182D0C-905A-F308-16AC-EA5FA3BD699A}"/>
              </a:ext>
            </a:extLst>
          </p:cNvPr>
          <p:cNvSpPr txBox="1"/>
          <p:nvPr/>
        </p:nvSpPr>
        <p:spPr>
          <a:xfrm>
            <a:off x="1405199" y="3036004"/>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Espoo</a:t>
            </a:r>
          </a:p>
        </p:txBody>
      </p:sp>
      <p:sp>
        <p:nvSpPr>
          <p:cNvPr id="36" name="Tekstiruutu 35">
            <a:extLst>
              <a:ext uri="{FF2B5EF4-FFF2-40B4-BE49-F238E27FC236}">
                <a16:creationId xmlns:a16="http://schemas.microsoft.com/office/drawing/2014/main" id="{2848E105-B0D9-EE72-8BAB-BF040ECC74D0}"/>
              </a:ext>
            </a:extLst>
          </p:cNvPr>
          <p:cNvSpPr txBox="1"/>
          <p:nvPr/>
        </p:nvSpPr>
        <p:spPr>
          <a:xfrm>
            <a:off x="3373235" y="1883740"/>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Kerava</a:t>
            </a:r>
          </a:p>
        </p:txBody>
      </p:sp>
      <p:sp>
        <p:nvSpPr>
          <p:cNvPr id="37" name="Tekstiruutu 36">
            <a:extLst>
              <a:ext uri="{FF2B5EF4-FFF2-40B4-BE49-F238E27FC236}">
                <a16:creationId xmlns:a16="http://schemas.microsoft.com/office/drawing/2014/main" id="{54D91769-CC7D-0AA2-1141-B58F94330297}"/>
              </a:ext>
            </a:extLst>
          </p:cNvPr>
          <p:cNvSpPr txBox="1"/>
          <p:nvPr/>
        </p:nvSpPr>
        <p:spPr>
          <a:xfrm>
            <a:off x="4022586" y="2428145"/>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Sipoo</a:t>
            </a:r>
          </a:p>
        </p:txBody>
      </p:sp>
      <p:sp>
        <p:nvSpPr>
          <p:cNvPr id="38" name="Tekstiruutu 37">
            <a:extLst>
              <a:ext uri="{FF2B5EF4-FFF2-40B4-BE49-F238E27FC236}">
                <a16:creationId xmlns:a16="http://schemas.microsoft.com/office/drawing/2014/main" id="{B1535A02-E61B-D5F0-E4B4-756803724B27}"/>
              </a:ext>
            </a:extLst>
          </p:cNvPr>
          <p:cNvSpPr txBox="1"/>
          <p:nvPr/>
        </p:nvSpPr>
        <p:spPr>
          <a:xfrm>
            <a:off x="1708428" y="3535886"/>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Kauniainen</a:t>
            </a:r>
          </a:p>
        </p:txBody>
      </p:sp>
      <p:sp>
        <p:nvSpPr>
          <p:cNvPr id="39" name="Tekstiruutu 38">
            <a:extLst>
              <a:ext uri="{FF2B5EF4-FFF2-40B4-BE49-F238E27FC236}">
                <a16:creationId xmlns:a16="http://schemas.microsoft.com/office/drawing/2014/main" id="{FC34CEBF-87AE-A20D-8AE9-E486B96856E2}"/>
              </a:ext>
            </a:extLst>
          </p:cNvPr>
          <p:cNvSpPr txBox="1"/>
          <p:nvPr/>
        </p:nvSpPr>
        <p:spPr>
          <a:xfrm>
            <a:off x="2751782" y="2081897"/>
            <a:ext cx="844346"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Tuusula</a:t>
            </a:r>
          </a:p>
        </p:txBody>
      </p:sp>
      <p:sp>
        <p:nvSpPr>
          <p:cNvPr id="40" name="Tekstiruutu 39">
            <a:extLst>
              <a:ext uri="{FF2B5EF4-FFF2-40B4-BE49-F238E27FC236}">
                <a16:creationId xmlns:a16="http://schemas.microsoft.com/office/drawing/2014/main" id="{05BB4EFE-19F9-E121-2E17-39ABCD7FB40A}"/>
              </a:ext>
            </a:extLst>
          </p:cNvPr>
          <p:cNvSpPr txBox="1"/>
          <p:nvPr/>
        </p:nvSpPr>
        <p:spPr>
          <a:xfrm>
            <a:off x="3234627" y="1260428"/>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Järvenpää</a:t>
            </a:r>
          </a:p>
        </p:txBody>
      </p:sp>
      <p:sp>
        <p:nvSpPr>
          <p:cNvPr id="41" name="Tekstiruutu 40">
            <a:extLst>
              <a:ext uri="{FF2B5EF4-FFF2-40B4-BE49-F238E27FC236}">
                <a16:creationId xmlns:a16="http://schemas.microsoft.com/office/drawing/2014/main" id="{556B1785-7776-2901-53CE-23A9F7FBE5ED}"/>
              </a:ext>
            </a:extLst>
          </p:cNvPr>
          <p:cNvSpPr txBox="1"/>
          <p:nvPr/>
        </p:nvSpPr>
        <p:spPr>
          <a:xfrm>
            <a:off x="4348841" y="1073695"/>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Pornainen</a:t>
            </a:r>
          </a:p>
        </p:txBody>
      </p:sp>
      <p:sp>
        <p:nvSpPr>
          <p:cNvPr id="42" name="Tekstiruutu 41">
            <a:extLst>
              <a:ext uri="{FF2B5EF4-FFF2-40B4-BE49-F238E27FC236}">
                <a16:creationId xmlns:a16="http://schemas.microsoft.com/office/drawing/2014/main" id="{16FDE425-9865-92B8-A75C-61FCB8EE2D10}"/>
              </a:ext>
            </a:extLst>
          </p:cNvPr>
          <p:cNvSpPr txBox="1"/>
          <p:nvPr/>
        </p:nvSpPr>
        <p:spPr>
          <a:xfrm>
            <a:off x="3879499" y="422905"/>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Mäntsälä</a:t>
            </a:r>
          </a:p>
        </p:txBody>
      </p:sp>
      <p:sp>
        <p:nvSpPr>
          <p:cNvPr id="43" name="Tekstiruutu 42">
            <a:extLst>
              <a:ext uri="{FF2B5EF4-FFF2-40B4-BE49-F238E27FC236}">
                <a16:creationId xmlns:a16="http://schemas.microsoft.com/office/drawing/2014/main" id="{FF0E1A50-629F-9A2D-A4D5-F289C6FE81C5}"/>
              </a:ext>
            </a:extLst>
          </p:cNvPr>
          <p:cNvSpPr txBox="1"/>
          <p:nvPr/>
        </p:nvSpPr>
        <p:spPr>
          <a:xfrm>
            <a:off x="2359683" y="137985"/>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Hyvinkää</a:t>
            </a:r>
          </a:p>
        </p:txBody>
      </p:sp>
      <p:sp>
        <p:nvSpPr>
          <p:cNvPr id="44" name="Tekstiruutu 43">
            <a:extLst>
              <a:ext uri="{FF2B5EF4-FFF2-40B4-BE49-F238E27FC236}">
                <a16:creationId xmlns:a16="http://schemas.microsoft.com/office/drawing/2014/main" id="{777D6622-C37D-22A7-9F99-C6C585498A0D}"/>
              </a:ext>
            </a:extLst>
          </p:cNvPr>
          <p:cNvSpPr txBox="1"/>
          <p:nvPr/>
        </p:nvSpPr>
        <p:spPr>
          <a:xfrm>
            <a:off x="1783682" y="1532936"/>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Nurmijärvi</a:t>
            </a:r>
          </a:p>
        </p:txBody>
      </p:sp>
      <p:sp>
        <p:nvSpPr>
          <p:cNvPr id="45" name="Tekstiruutu 44">
            <a:extLst>
              <a:ext uri="{FF2B5EF4-FFF2-40B4-BE49-F238E27FC236}">
                <a16:creationId xmlns:a16="http://schemas.microsoft.com/office/drawing/2014/main" id="{3D15763F-8C17-393D-2D5B-C4BE97F89CAD}"/>
              </a:ext>
            </a:extLst>
          </p:cNvPr>
          <p:cNvSpPr txBox="1"/>
          <p:nvPr/>
        </p:nvSpPr>
        <p:spPr>
          <a:xfrm>
            <a:off x="452431" y="2089846"/>
            <a:ext cx="1152002"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Vihti</a:t>
            </a:r>
          </a:p>
        </p:txBody>
      </p:sp>
      <p:sp>
        <p:nvSpPr>
          <p:cNvPr id="46" name="Tekstiruutu 45">
            <a:extLst>
              <a:ext uri="{FF2B5EF4-FFF2-40B4-BE49-F238E27FC236}">
                <a16:creationId xmlns:a16="http://schemas.microsoft.com/office/drawing/2014/main" id="{CF7A5245-8BF6-0E0F-88DF-6F7320D99A5B}"/>
              </a:ext>
            </a:extLst>
          </p:cNvPr>
          <p:cNvSpPr txBox="1"/>
          <p:nvPr/>
        </p:nvSpPr>
        <p:spPr>
          <a:xfrm>
            <a:off x="215153" y="4191567"/>
            <a:ext cx="1333464" cy="276999"/>
          </a:xfrm>
          <a:prstGeom prst="rect">
            <a:avLst/>
          </a:prstGeom>
          <a:noFill/>
        </p:spPr>
        <p:txBody>
          <a:bodyPr wrap="square" rtlCol="0">
            <a:spAutoFit/>
          </a:bodyPr>
          <a:lstStyle/>
          <a:p>
            <a:r>
              <a:rPr lang="fi-FI" sz="1200" b="1">
                <a:solidFill>
                  <a:srgbClr val="152B96"/>
                </a:solidFill>
                <a:latin typeface="Poppins" pitchFamily="2" charset="77"/>
                <a:cs typeface="Poppins" pitchFamily="2" charset="77"/>
              </a:rPr>
              <a:t>Kirkkonummi</a:t>
            </a:r>
          </a:p>
        </p:txBody>
      </p:sp>
      <p:sp>
        <p:nvSpPr>
          <p:cNvPr id="47" name="Tekstiruutu 46">
            <a:extLst>
              <a:ext uri="{FF2B5EF4-FFF2-40B4-BE49-F238E27FC236}">
                <a16:creationId xmlns:a16="http://schemas.microsoft.com/office/drawing/2014/main" id="{A0FBF38E-39A4-82F7-99BA-8EC468B3B1D1}"/>
              </a:ext>
            </a:extLst>
          </p:cNvPr>
          <p:cNvSpPr txBox="1"/>
          <p:nvPr/>
        </p:nvSpPr>
        <p:spPr>
          <a:xfrm>
            <a:off x="2175781" y="2433224"/>
            <a:ext cx="1152002" cy="276999"/>
          </a:xfrm>
          <a:prstGeom prst="rect">
            <a:avLst/>
          </a:prstGeom>
          <a:noFill/>
        </p:spPr>
        <p:txBody>
          <a:bodyPr wrap="square" rtlCol="0">
            <a:spAutoFit/>
          </a:bodyPr>
          <a:lstStyle/>
          <a:p>
            <a:r>
              <a:rPr lang="fi-FI" sz="1200" b="1">
                <a:solidFill>
                  <a:schemeClr val="bg1"/>
                </a:solidFill>
                <a:latin typeface="Poppins" pitchFamily="2" charset="77"/>
                <a:cs typeface="Poppins" pitchFamily="2" charset="77"/>
              </a:rPr>
              <a:t>Vantaa</a:t>
            </a:r>
          </a:p>
        </p:txBody>
      </p:sp>
      <p:pic>
        <p:nvPicPr>
          <p:cNvPr id="48" name="Kuva 47" descr="Lentokone tasaisella täytöllä">
            <a:extLst>
              <a:ext uri="{FF2B5EF4-FFF2-40B4-BE49-F238E27FC236}">
                <a16:creationId xmlns:a16="http://schemas.microsoft.com/office/drawing/2014/main" id="{9BCDED05-6C6D-8717-2260-3171EB85912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3967652">
            <a:off x="2932640" y="2693976"/>
            <a:ext cx="244743" cy="244743"/>
          </a:xfrm>
          <a:prstGeom prst="rect">
            <a:avLst/>
          </a:prstGeom>
        </p:spPr>
      </p:pic>
      <p:pic>
        <p:nvPicPr>
          <p:cNvPr id="49" name="Kuva 48" descr="Lentokone tasaisella täytöllä">
            <a:extLst>
              <a:ext uri="{FF2B5EF4-FFF2-40B4-BE49-F238E27FC236}">
                <a16:creationId xmlns:a16="http://schemas.microsoft.com/office/drawing/2014/main" id="{6D1A3B45-8705-194A-2C73-310EAD3AB7C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2741525">
            <a:off x="1137853" y="6231923"/>
            <a:ext cx="244743" cy="244743"/>
          </a:xfrm>
          <a:prstGeom prst="rect">
            <a:avLst/>
          </a:prstGeom>
        </p:spPr>
      </p:pic>
      <p:pic>
        <p:nvPicPr>
          <p:cNvPr id="50" name="Kuva 49" descr="Lentokone tasaisella täytöllä">
            <a:extLst>
              <a:ext uri="{FF2B5EF4-FFF2-40B4-BE49-F238E27FC236}">
                <a16:creationId xmlns:a16="http://schemas.microsoft.com/office/drawing/2014/main" id="{9FF2E08F-63CB-0775-F84B-36CBF9CAD8A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5564828">
            <a:off x="9945658" y="1182156"/>
            <a:ext cx="244743" cy="244743"/>
          </a:xfrm>
          <a:prstGeom prst="rect">
            <a:avLst/>
          </a:prstGeom>
        </p:spPr>
      </p:pic>
      <p:pic>
        <p:nvPicPr>
          <p:cNvPr id="51" name="Kuva 50" descr="Lentokone tasaisella täytöllä">
            <a:extLst>
              <a:ext uri="{FF2B5EF4-FFF2-40B4-BE49-F238E27FC236}">
                <a16:creationId xmlns:a16="http://schemas.microsoft.com/office/drawing/2014/main" id="{71DC5C61-48B1-15BA-F04C-7B49B40D323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6357818">
            <a:off x="11349916" y="322644"/>
            <a:ext cx="244743" cy="244743"/>
          </a:xfrm>
          <a:prstGeom prst="rect">
            <a:avLst/>
          </a:prstGeom>
        </p:spPr>
      </p:pic>
      <p:pic>
        <p:nvPicPr>
          <p:cNvPr id="52" name="Kuva 51" descr="Lentokone tasaisella täytöllä">
            <a:extLst>
              <a:ext uri="{FF2B5EF4-FFF2-40B4-BE49-F238E27FC236}">
                <a16:creationId xmlns:a16="http://schemas.microsoft.com/office/drawing/2014/main" id="{382F3736-4537-F227-5428-D19CDE420E9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6802921">
            <a:off x="9975073" y="4407351"/>
            <a:ext cx="244743" cy="244743"/>
          </a:xfrm>
          <a:prstGeom prst="rect">
            <a:avLst/>
          </a:prstGeom>
        </p:spPr>
      </p:pic>
      <p:pic>
        <p:nvPicPr>
          <p:cNvPr id="53" name="Kuva 52">
            <a:extLst>
              <a:ext uri="{FF2B5EF4-FFF2-40B4-BE49-F238E27FC236}">
                <a16:creationId xmlns:a16="http://schemas.microsoft.com/office/drawing/2014/main" id="{B0021B1A-0F4A-38B3-89FF-FAA6DF11963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rot="9395700">
            <a:off x="8872749" y="4184010"/>
            <a:ext cx="3357451" cy="3357451"/>
          </a:xfrm>
          <a:prstGeom prst="rect">
            <a:avLst/>
          </a:prstGeom>
        </p:spPr>
      </p:pic>
      <p:pic>
        <p:nvPicPr>
          <p:cNvPr id="54" name="Kuva 53" descr="Lentokone tasaisella täytöllä">
            <a:extLst>
              <a:ext uri="{FF2B5EF4-FFF2-40B4-BE49-F238E27FC236}">
                <a16:creationId xmlns:a16="http://schemas.microsoft.com/office/drawing/2014/main" id="{44EFA3B4-049C-10CB-4C28-8FFA30B8A5F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3449644">
            <a:off x="1759102" y="5740364"/>
            <a:ext cx="244743" cy="244743"/>
          </a:xfrm>
          <a:prstGeom prst="rect">
            <a:avLst/>
          </a:prstGeom>
        </p:spPr>
      </p:pic>
      <p:pic>
        <p:nvPicPr>
          <p:cNvPr id="55" name="Kuva 54" descr="Lentokone tasaisella täytöllä">
            <a:extLst>
              <a:ext uri="{FF2B5EF4-FFF2-40B4-BE49-F238E27FC236}">
                <a16:creationId xmlns:a16="http://schemas.microsoft.com/office/drawing/2014/main" id="{3FF2DA3E-514A-8C32-70FF-A5C1E334CF5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4071106">
            <a:off x="2361199" y="5513303"/>
            <a:ext cx="244743" cy="244743"/>
          </a:xfrm>
          <a:prstGeom prst="rect">
            <a:avLst/>
          </a:prstGeom>
        </p:spPr>
      </p:pic>
      <p:pic>
        <p:nvPicPr>
          <p:cNvPr id="56" name="Kuva 55" descr="Lentokone tasaisella täytöllä">
            <a:extLst>
              <a:ext uri="{FF2B5EF4-FFF2-40B4-BE49-F238E27FC236}">
                <a16:creationId xmlns:a16="http://schemas.microsoft.com/office/drawing/2014/main" id="{D09E7CDE-F4D8-BB2E-5662-50F425A5FEC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2155917">
            <a:off x="3068603" y="5188225"/>
            <a:ext cx="244743" cy="244743"/>
          </a:xfrm>
          <a:prstGeom prst="rect">
            <a:avLst/>
          </a:prstGeom>
        </p:spPr>
      </p:pic>
      <p:pic>
        <p:nvPicPr>
          <p:cNvPr id="57" name="Kuva 56" descr="Lentokone tasaisella täytöllä">
            <a:extLst>
              <a:ext uri="{FF2B5EF4-FFF2-40B4-BE49-F238E27FC236}">
                <a16:creationId xmlns:a16="http://schemas.microsoft.com/office/drawing/2014/main" id="{6D0F65A0-2F0C-4A7B-A074-62DA912B70E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573387">
            <a:off x="3449405" y="4760013"/>
            <a:ext cx="244743" cy="244743"/>
          </a:xfrm>
          <a:prstGeom prst="rect">
            <a:avLst/>
          </a:prstGeom>
        </p:spPr>
      </p:pic>
    </p:spTree>
    <p:extLst>
      <p:ext uri="{BB962C8B-B14F-4D97-AF65-F5344CB8AC3E}">
        <p14:creationId xmlns:p14="http://schemas.microsoft.com/office/powerpoint/2010/main" val="1526803192"/>
      </p:ext>
    </p:extLst>
  </p:cSld>
  <p:clrMapOvr>
    <a:masterClrMapping/>
  </p:clrMapOvr>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Kiitosdia 1">
    <p:spTree>
      <p:nvGrpSpPr>
        <p:cNvPr id="1" name=""/>
        <p:cNvGrpSpPr/>
        <p:nvPr/>
      </p:nvGrpSpPr>
      <p:grpSpPr>
        <a:xfrm>
          <a:off x="0" y="0"/>
          <a:ext cx="0" cy="0"/>
          <a:chOff x="0" y="0"/>
          <a:chExt cx="0" cy="0"/>
        </a:xfrm>
      </p:grpSpPr>
      <p:pic>
        <p:nvPicPr>
          <p:cNvPr id="9" name="Picture 8" descr="A person jumping in the air&#10;&#10;AI-generated content may be incorrect.">
            <a:extLst>
              <a:ext uri="{FF2B5EF4-FFF2-40B4-BE49-F238E27FC236}">
                <a16:creationId xmlns:a16="http://schemas.microsoft.com/office/drawing/2014/main" id="{8FC9237A-1F62-A6C5-CC33-CF85EE308004}"/>
              </a:ext>
            </a:extLst>
          </p:cNvPr>
          <p:cNvPicPr>
            <a:picLocks noGrp="1" noRot="1" noChangeAspect="1" noMove="1" noResize="1" noEditPoints="1" noAdjustHandles="1" noChangeArrowheads="1" noChangeShapeType="1" noCrop="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13" name="Puolivapaa piirto 6">
            <a:extLst>
              <a:ext uri="{FF2B5EF4-FFF2-40B4-BE49-F238E27FC236}">
                <a16:creationId xmlns:a16="http://schemas.microsoft.com/office/drawing/2014/main" id="{FC32228E-39DB-9EF6-6224-BC45BF2A4E8E}"/>
              </a:ext>
            </a:extLst>
          </p:cNvPr>
          <p:cNvSpPr/>
          <p:nvPr/>
        </p:nvSpPr>
        <p:spPr>
          <a:xfrm>
            <a:off x="462353" y="1371600"/>
            <a:ext cx="4657693" cy="4631187"/>
          </a:xfrm>
          <a:custGeom>
            <a:avLst/>
            <a:gdLst>
              <a:gd name="connsiteX0" fmla="*/ 3302000 w 3698240"/>
              <a:gd name="connsiteY0" fmla="*/ 3220720 h 3230880"/>
              <a:gd name="connsiteX1" fmla="*/ 3698240 w 3698240"/>
              <a:gd name="connsiteY1" fmla="*/ 0 h 3230880"/>
              <a:gd name="connsiteX2" fmla="*/ 1178560 w 3698240"/>
              <a:gd name="connsiteY2" fmla="*/ 0 h 3230880"/>
              <a:gd name="connsiteX3" fmla="*/ 0 w 3698240"/>
              <a:gd name="connsiteY3" fmla="*/ 2316480 h 3230880"/>
              <a:gd name="connsiteX4" fmla="*/ 2346960 w 3698240"/>
              <a:gd name="connsiteY4" fmla="*/ 3230880 h 3230880"/>
              <a:gd name="connsiteX5" fmla="*/ 3302000 w 3698240"/>
              <a:gd name="connsiteY5" fmla="*/ 3220720 h 3230880"/>
              <a:gd name="connsiteX0" fmla="*/ 3247572 w 3698240"/>
              <a:gd name="connsiteY0" fmla="*/ 3481977 h 3481977"/>
              <a:gd name="connsiteX1" fmla="*/ 3698240 w 3698240"/>
              <a:gd name="connsiteY1" fmla="*/ 0 h 3481977"/>
              <a:gd name="connsiteX2" fmla="*/ 1178560 w 3698240"/>
              <a:gd name="connsiteY2" fmla="*/ 0 h 3481977"/>
              <a:gd name="connsiteX3" fmla="*/ 0 w 3698240"/>
              <a:gd name="connsiteY3" fmla="*/ 2316480 h 3481977"/>
              <a:gd name="connsiteX4" fmla="*/ 2346960 w 3698240"/>
              <a:gd name="connsiteY4" fmla="*/ 3230880 h 3481977"/>
              <a:gd name="connsiteX5" fmla="*/ 3247572 w 3698240"/>
              <a:gd name="connsiteY5" fmla="*/ 3481977 h 3481977"/>
              <a:gd name="connsiteX0" fmla="*/ 3247572 w 3698240"/>
              <a:gd name="connsiteY0" fmla="*/ 3481977 h 3492137"/>
              <a:gd name="connsiteX1" fmla="*/ 3698240 w 3698240"/>
              <a:gd name="connsiteY1" fmla="*/ 0 h 3492137"/>
              <a:gd name="connsiteX2" fmla="*/ 1178560 w 3698240"/>
              <a:gd name="connsiteY2" fmla="*/ 0 h 3492137"/>
              <a:gd name="connsiteX3" fmla="*/ 0 w 3698240"/>
              <a:gd name="connsiteY3" fmla="*/ 2316480 h 3492137"/>
              <a:gd name="connsiteX4" fmla="*/ 3239589 w 3698240"/>
              <a:gd name="connsiteY4" fmla="*/ 3492137 h 3492137"/>
              <a:gd name="connsiteX5" fmla="*/ 3247572 w 3698240"/>
              <a:gd name="connsiteY5" fmla="*/ 3481977 h 3492137"/>
              <a:gd name="connsiteX0" fmla="*/ 3312886 w 3698240"/>
              <a:gd name="connsiteY0" fmla="*/ 3634377 h 3634377"/>
              <a:gd name="connsiteX1" fmla="*/ 3698240 w 3698240"/>
              <a:gd name="connsiteY1" fmla="*/ 0 h 3634377"/>
              <a:gd name="connsiteX2" fmla="*/ 1178560 w 3698240"/>
              <a:gd name="connsiteY2" fmla="*/ 0 h 3634377"/>
              <a:gd name="connsiteX3" fmla="*/ 0 w 3698240"/>
              <a:gd name="connsiteY3" fmla="*/ 2316480 h 3634377"/>
              <a:gd name="connsiteX4" fmla="*/ 3239589 w 3698240"/>
              <a:gd name="connsiteY4" fmla="*/ 3492137 h 3634377"/>
              <a:gd name="connsiteX5" fmla="*/ 3312886 w 3698240"/>
              <a:gd name="connsiteY5" fmla="*/ 3634377 h 3634377"/>
              <a:gd name="connsiteX0" fmla="*/ 3312886 w 3698240"/>
              <a:gd name="connsiteY0" fmla="*/ 3634377 h 3677194"/>
              <a:gd name="connsiteX1" fmla="*/ 3698240 w 3698240"/>
              <a:gd name="connsiteY1" fmla="*/ 0 h 3677194"/>
              <a:gd name="connsiteX2" fmla="*/ 1178560 w 3698240"/>
              <a:gd name="connsiteY2" fmla="*/ 0 h 3677194"/>
              <a:gd name="connsiteX3" fmla="*/ 0 w 3698240"/>
              <a:gd name="connsiteY3" fmla="*/ 2316480 h 3677194"/>
              <a:gd name="connsiteX4" fmla="*/ 3304903 w 3698240"/>
              <a:gd name="connsiteY4" fmla="*/ 3677194 h 3677194"/>
              <a:gd name="connsiteX5" fmla="*/ 3312886 w 3698240"/>
              <a:gd name="connsiteY5" fmla="*/ 3634377 h 367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240" h="3677194">
                <a:moveTo>
                  <a:pt x="3312886" y="3634377"/>
                </a:moveTo>
                <a:lnTo>
                  <a:pt x="3698240" y="0"/>
                </a:lnTo>
                <a:lnTo>
                  <a:pt x="1178560" y="0"/>
                </a:lnTo>
                <a:lnTo>
                  <a:pt x="0" y="2316480"/>
                </a:lnTo>
                <a:lnTo>
                  <a:pt x="3304903" y="3677194"/>
                </a:lnTo>
                <a:lnTo>
                  <a:pt x="3312886" y="3634377"/>
                </a:lnTo>
                <a:close/>
              </a:path>
            </a:pathLst>
          </a:custGeom>
          <a:solidFill>
            <a:srgbClr val="45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0" name="Graphic 9">
            <a:extLst>
              <a:ext uri="{FF2B5EF4-FFF2-40B4-BE49-F238E27FC236}">
                <a16:creationId xmlns:a16="http://schemas.microsoft.com/office/drawing/2014/main" id="{69571F3F-FB98-BB45-A1FE-85AEB4DA447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93580" y="855213"/>
            <a:ext cx="5134064" cy="5147574"/>
          </a:xfrm>
          <a:prstGeom prst="rect">
            <a:avLst/>
          </a:prstGeom>
        </p:spPr>
      </p:pic>
      <p:sp>
        <p:nvSpPr>
          <p:cNvPr id="11" name="Title 1">
            <a:extLst>
              <a:ext uri="{FF2B5EF4-FFF2-40B4-BE49-F238E27FC236}">
                <a16:creationId xmlns:a16="http://schemas.microsoft.com/office/drawing/2014/main" id="{CB8F2261-D478-47A9-9CD9-BB1D22967DD6}"/>
              </a:ext>
            </a:extLst>
          </p:cNvPr>
          <p:cNvSpPr>
            <a:spLocks noGrp="1"/>
          </p:cNvSpPr>
          <p:nvPr>
            <p:ph type="title" hasCustomPrompt="1"/>
          </p:nvPr>
        </p:nvSpPr>
        <p:spPr>
          <a:xfrm>
            <a:off x="1786029" y="1972637"/>
            <a:ext cx="3173597" cy="2579563"/>
          </a:xfrm>
        </p:spPr>
        <p:txBody>
          <a:bodyPr anchor="ctr"/>
          <a:lstStyle>
            <a:lvl1pPr algn="ctr">
              <a:defRPr sz="3600" b="1" i="0">
                <a:solidFill>
                  <a:srgbClr val="450099"/>
                </a:solidFill>
                <a:latin typeface="Poppins" pitchFamily="2" charset="77"/>
                <a:cs typeface="Poppins" pitchFamily="2" charset="77"/>
              </a:defRPr>
            </a:lvl1pPr>
          </a:lstStyle>
          <a:p>
            <a:r>
              <a:rPr lang="en-GB" err="1"/>
              <a:t>Tähän</a:t>
            </a:r>
            <a:r>
              <a:rPr lang="en-GB"/>
              <a:t> </a:t>
            </a:r>
            <a:r>
              <a:rPr lang="en-GB" err="1"/>
              <a:t>kiitokset</a:t>
            </a:r>
            <a:endParaRPr lang="fi-FI"/>
          </a:p>
        </p:txBody>
      </p:sp>
      <p:sp>
        <p:nvSpPr>
          <p:cNvPr id="12" name="Graphic 4">
            <a:extLst>
              <a:ext uri="{FF2B5EF4-FFF2-40B4-BE49-F238E27FC236}">
                <a16:creationId xmlns:a16="http://schemas.microsoft.com/office/drawing/2014/main" id="{FA1186E5-7FDF-342F-F338-249D3D7C26E1}"/>
              </a:ext>
            </a:extLst>
          </p:cNvPr>
          <p:cNvSpPr/>
          <p:nvPr/>
        </p:nvSpPr>
        <p:spPr>
          <a:xfrm>
            <a:off x="7682948" y="4191562"/>
            <a:ext cx="4520099" cy="2814792"/>
          </a:xfrm>
          <a:custGeom>
            <a:avLst/>
            <a:gdLst>
              <a:gd name="connsiteX0" fmla="*/ 7918155 w 7918155"/>
              <a:gd name="connsiteY0" fmla="*/ 252099 h 4930855"/>
              <a:gd name="connsiteX1" fmla="*/ 5480071 w 7918155"/>
              <a:gd name="connsiteY1" fmla="*/ 806761 h 4930855"/>
              <a:gd name="connsiteX2" fmla="*/ 5718621 w 7918155"/>
              <a:gd name="connsiteY2" fmla="*/ 1596646 h 4930855"/>
              <a:gd name="connsiteX3" fmla="*/ 2292625 w 7918155"/>
              <a:gd name="connsiteY3" fmla="*/ 1099230 h 4930855"/>
              <a:gd name="connsiteX4" fmla="*/ 2231796 w 7918155"/>
              <a:gd name="connsiteY4" fmla="*/ 3405765 h 4930855"/>
              <a:gd name="connsiteX5" fmla="*/ 139262 w 7918155"/>
              <a:gd name="connsiteY5" fmla="*/ 4019874 h 4930855"/>
              <a:gd name="connsiteX6" fmla="*/ 15040 w 7918155"/>
              <a:gd name="connsiteY6" fmla="*/ 4930856 h 493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8155" h="4930855">
                <a:moveTo>
                  <a:pt x="7918155" y="252099"/>
                </a:moveTo>
                <a:cubicBezTo>
                  <a:pt x="7097155" y="-200547"/>
                  <a:pt x="6027160" y="-60001"/>
                  <a:pt x="5480071" y="806761"/>
                </a:cubicBezTo>
                <a:cubicBezTo>
                  <a:pt x="4349065" y="2598817"/>
                  <a:pt x="6325806" y="2558818"/>
                  <a:pt x="5718621" y="1596646"/>
                </a:cubicBezTo>
                <a:cubicBezTo>
                  <a:pt x="4979885" y="425856"/>
                  <a:pt x="2991419" y="319437"/>
                  <a:pt x="2292625" y="1099230"/>
                </a:cubicBezTo>
                <a:cubicBezTo>
                  <a:pt x="1528239" y="1952231"/>
                  <a:pt x="2231796" y="3405765"/>
                  <a:pt x="2231796" y="3405765"/>
                </a:cubicBezTo>
                <a:cubicBezTo>
                  <a:pt x="2231796" y="3405765"/>
                  <a:pt x="800863" y="2516984"/>
                  <a:pt x="139262" y="4019874"/>
                </a:cubicBezTo>
                <a:cubicBezTo>
                  <a:pt x="12475" y="4307756"/>
                  <a:pt x="-24352" y="4621875"/>
                  <a:pt x="15040" y="4930856"/>
                </a:cubicBezTo>
              </a:path>
            </a:pathLst>
          </a:custGeom>
          <a:noFill/>
          <a:ln w="38100" cap="rnd">
            <a:solidFill>
              <a:srgbClr val="FFCC99"/>
            </a:solidFill>
            <a:prstDash val="solid"/>
            <a:round/>
          </a:ln>
        </p:spPr>
        <p:txBody>
          <a:bodyPr rtlCol="0" anchor="ctr"/>
          <a:lstStyle/>
          <a:p>
            <a:endParaRPr lang="fi-FI">
              <a:solidFill>
                <a:srgbClr val="FFCC99"/>
              </a:solidFill>
            </a:endParaRPr>
          </a:p>
        </p:txBody>
      </p:sp>
      <p:pic>
        <p:nvPicPr>
          <p:cNvPr id="3" name="Graphic 18">
            <a:extLst>
              <a:ext uri="{FF2B5EF4-FFF2-40B4-BE49-F238E27FC236}">
                <a16:creationId xmlns:a16="http://schemas.microsoft.com/office/drawing/2014/main" id="{57A231BC-6007-BD52-999A-BEFAAFD490E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750585" y="6008703"/>
            <a:ext cx="1860893" cy="409489"/>
          </a:xfrm>
          <a:prstGeom prst="rect">
            <a:avLst/>
          </a:prstGeom>
        </p:spPr>
      </p:pic>
    </p:spTree>
    <p:extLst>
      <p:ext uri="{BB962C8B-B14F-4D97-AF65-F5344CB8AC3E}">
        <p14:creationId xmlns:p14="http://schemas.microsoft.com/office/powerpoint/2010/main" val="2982101977"/>
      </p:ext>
    </p:extLst>
  </p:cSld>
  <p:clrMapOvr>
    <a:masterClrMapping/>
  </p:clrMapOvr>
  <p:hf sldNum="0"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Kiitosdia 2">
    <p:bg>
      <p:bgPr>
        <a:solidFill>
          <a:srgbClr val="B8CDFF"/>
        </a:solidFill>
        <a:effectLst/>
      </p:bgPr>
    </p:bg>
    <p:spTree>
      <p:nvGrpSpPr>
        <p:cNvPr id="1" name=""/>
        <p:cNvGrpSpPr/>
        <p:nvPr/>
      </p:nvGrpSpPr>
      <p:grpSpPr>
        <a:xfrm>
          <a:off x="0" y="0"/>
          <a:ext cx="0" cy="0"/>
          <a:chOff x="0" y="0"/>
          <a:chExt cx="0" cy="0"/>
        </a:xfrm>
      </p:grpSpPr>
      <p:pic>
        <p:nvPicPr>
          <p:cNvPr id="2" name="Graphic 3">
            <a:extLst>
              <a:ext uri="{FF2B5EF4-FFF2-40B4-BE49-F238E27FC236}">
                <a16:creationId xmlns:a16="http://schemas.microsoft.com/office/drawing/2014/main" id="{74D14706-2821-212C-794C-AA824D8487C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67128" y="173043"/>
            <a:ext cx="6349749" cy="6366458"/>
          </a:xfrm>
          <a:prstGeom prst="rect">
            <a:avLst/>
          </a:prstGeom>
        </p:spPr>
      </p:pic>
      <p:sp>
        <p:nvSpPr>
          <p:cNvPr id="3" name="Graphic 4">
            <a:extLst>
              <a:ext uri="{FF2B5EF4-FFF2-40B4-BE49-F238E27FC236}">
                <a16:creationId xmlns:a16="http://schemas.microsoft.com/office/drawing/2014/main" id="{418ECB2B-9AF9-45C5-A60D-18E352A0CE1A}"/>
              </a:ext>
            </a:extLst>
          </p:cNvPr>
          <p:cNvSpPr/>
          <p:nvPr/>
        </p:nvSpPr>
        <p:spPr>
          <a:xfrm>
            <a:off x="4284892" y="2075499"/>
            <a:ext cx="7918155" cy="4930855"/>
          </a:xfrm>
          <a:custGeom>
            <a:avLst/>
            <a:gdLst>
              <a:gd name="connsiteX0" fmla="*/ 7918155 w 7918155"/>
              <a:gd name="connsiteY0" fmla="*/ 252099 h 4930855"/>
              <a:gd name="connsiteX1" fmla="*/ 5480071 w 7918155"/>
              <a:gd name="connsiteY1" fmla="*/ 806761 h 4930855"/>
              <a:gd name="connsiteX2" fmla="*/ 5718621 w 7918155"/>
              <a:gd name="connsiteY2" fmla="*/ 1596646 h 4930855"/>
              <a:gd name="connsiteX3" fmla="*/ 2292625 w 7918155"/>
              <a:gd name="connsiteY3" fmla="*/ 1099230 h 4930855"/>
              <a:gd name="connsiteX4" fmla="*/ 2231796 w 7918155"/>
              <a:gd name="connsiteY4" fmla="*/ 3405765 h 4930855"/>
              <a:gd name="connsiteX5" fmla="*/ 139262 w 7918155"/>
              <a:gd name="connsiteY5" fmla="*/ 4019874 h 4930855"/>
              <a:gd name="connsiteX6" fmla="*/ 15040 w 7918155"/>
              <a:gd name="connsiteY6" fmla="*/ 4930856 h 493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8155" h="4930855">
                <a:moveTo>
                  <a:pt x="7918155" y="252099"/>
                </a:moveTo>
                <a:cubicBezTo>
                  <a:pt x="7097155" y="-200547"/>
                  <a:pt x="6027160" y="-60001"/>
                  <a:pt x="5480071" y="806761"/>
                </a:cubicBezTo>
                <a:cubicBezTo>
                  <a:pt x="4349065" y="2598817"/>
                  <a:pt x="6325806" y="2558818"/>
                  <a:pt x="5718621" y="1596646"/>
                </a:cubicBezTo>
                <a:cubicBezTo>
                  <a:pt x="4979885" y="425856"/>
                  <a:pt x="2991419" y="319437"/>
                  <a:pt x="2292625" y="1099230"/>
                </a:cubicBezTo>
                <a:cubicBezTo>
                  <a:pt x="1528239" y="1952231"/>
                  <a:pt x="2231796" y="3405765"/>
                  <a:pt x="2231796" y="3405765"/>
                </a:cubicBezTo>
                <a:cubicBezTo>
                  <a:pt x="2231796" y="3405765"/>
                  <a:pt x="800863" y="2516984"/>
                  <a:pt x="139262" y="4019874"/>
                </a:cubicBezTo>
                <a:cubicBezTo>
                  <a:pt x="12475" y="4307756"/>
                  <a:pt x="-24352" y="4621875"/>
                  <a:pt x="15040" y="4930856"/>
                </a:cubicBezTo>
              </a:path>
            </a:pathLst>
          </a:custGeom>
          <a:noFill/>
          <a:ln w="38100" cap="rnd">
            <a:solidFill>
              <a:srgbClr val="152A96"/>
            </a:solidFill>
            <a:prstDash val="solid"/>
            <a:round/>
          </a:ln>
        </p:spPr>
        <p:txBody>
          <a:bodyPr rtlCol="0" anchor="ctr"/>
          <a:lstStyle/>
          <a:p>
            <a:endParaRPr lang="fi-FI"/>
          </a:p>
        </p:txBody>
      </p:sp>
      <p:sp>
        <p:nvSpPr>
          <p:cNvPr id="4" name="Title 1">
            <a:extLst>
              <a:ext uri="{FF2B5EF4-FFF2-40B4-BE49-F238E27FC236}">
                <a16:creationId xmlns:a16="http://schemas.microsoft.com/office/drawing/2014/main" id="{4E8B9D0C-A34C-7C1C-DA2E-C585FB5CB70A}"/>
              </a:ext>
            </a:extLst>
          </p:cNvPr>
          <p:cNvSpPr>
            <a:spLocks noGrp="1"/>
          </p:cNvSpPr>
          <p:nvPr>
            <p:ph type="title" hasCustomPrompt="1"/>
          </p:nvPr>
        </p:nvSpPr>
        <p:spPr>
          <a:xfrm>
            <a:off x="1736333" y="1972637"/>
            <a:ext cx="3821987" cy="2579563"/>
          </a:xfrm>
        </p:spPr>
        <p:txBody>
          <a:bodyPr anchor="ctr"/>
          <a:lstStyle>
            <a:lvl1pPr algn="ctr">
              <a:defRPr sz="4400" b="1" i="0">
                <a:solidFill>
                  <a:schemeClr val="accent2"/>
                </a:solidFill>
                <a:latin typeface="+mj-lt"/>
                <a:cs typeface="Arial" panose="020B0604020202020204" pitchFamily="34" charset="0"/>
              </a:defRPr>
            </a:lvl1pPr>
          </a:lstStyle>
          <a:p>
            <a:r>
              <a:rPr lang="fi-FI"/>
              <a:t>Tähän kiitokset</a:t>
            </a:r>
          </a:p>
        </p:txBody>
      </p:sp>
      <p:grpSp>
        <p:nvGrpSpPr>
          <p:cNvPr id="12" name="Group 13">
            <a:extLst>
              <a:ext uri="{FF2B5EF4-FFF2-40B4-BE49-F238E27FC236}">
                <a16:creationId xmlns:a16="http://schemas.microsoft.com/office/drawing/2014/main" id="{6B41AA97-D215-B84E-9F60-F7F2A2799DBA}"/>
              </a:ext>
            </a:extLst>
          </p:cNvPr>
          <p:cNvGrpSpPr/>
          <p:nvPr/>
        </p:nvGrpSpPr>
        <p:grpSpPr>
          <a:xfrm>
            <a:off x="8178714" y="5649686"/>
            <a:ext cx="3436640" cy="770099"/>
            <a:chOff x="8562884" y="5691574"/>
            <a:chExt cx="3233069" cy="724482"/>
          </a:xfrm>
          <a:solidFill>
            <a:srgbClr val="152A96"/>
          </a:solidFill>
        </p:grpSpPr>
        <p:sp>
          <p:nvSpPr>
            <p:cNvPr id="13" name="Freeform 14">
              <a:extLst>
                <a:ext uri="{FF2B5EF4-FFF2-40B4-BE49-F238E27FC236}">
                  <a16:creationId xmlns:a16="http://schemas.microsoft.com/office/drawing/2014/main" id="{0D9AA6DE-31CB-D455-E309-E740DA6BF963}"/>
                </a:ext>
              </a:extLst>
            </p:cNvPr>
            <p:cNvSpPr/>
            <p:nvPr/>
          </p:nvSpPr>
          <p:spPr>
            <a:xfrm>
              <a:off x="8562884" y="5691574"/>
              <a:ext cx="669626" cy="712298"/>
            </a:xfrm>
            <a:custGeom>
              <a:avLst/>
              <a:gdLst>
                <a:gd name="connsiteX0" fmla="*/ 409800 w 669626"/>
                <a:gd name="connsiteY0" fmla="*/ 712271 h 712298"/>
                <a:gd name="connsiteX1" fmla="*/ 256773 w 669626"/>
                <a:gd name="connsiteY1" fmla="*/ 712271 h 712298"/>
                <a:gd name="connsiteX2" fmla="*/ 0 w 669626"/>
                <a:gd name="connsiteY2" fmla="*/ 0 h 712298"/>
                <a:gd name="connsiteX3" fmla="*/ 177682 w 669626"/>
                <a:gd name="connsiteY3" fmla="*/ 0 h 712298"/>
                <a:gd name="connsiteX4" fmla="*/ 333791 w 669626"/>
                <a:gd name="connsiteY4" fmla="*/ 502669 h 712298"/>
                <a:gd name="connsiteX5" fmla="*/ 488863 w 669626"/>
                <a:gd name="connsiteY5" fmla="*/ 0 h 712298"/>
                <a:gd name="connsiteX6" fmla="*/ 669627 w 669626"/>
                <a:gd name="connsiteY6" fmla="*/ 0 h 712298"/>
                <a:gd name="connsiteX7" fmla="*/ 409772 w 669626"/>
                <a:gd name="connsiteY7" fmla="*/ 712298 h 71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9626" h="712298">
                  <a:moveTo>
                    <a:pt x="409800" y="712271"/>
                  </a:moveTo>
                  <a:lnTo>
                    <a:pt x="256773" y="712271"/>
                  </a:lnTo>
                  <a:lnTo>
                    <a:pt x="0" y="0"/>
                  </a:lnTo>
                  <a:lnTo>
                    <a:pt x="177682" y="0"/>
                  </a:lnTo>
                  <a:lnTo>
                    <a:pt x="333791" y="502669"/>
                  </a:lnTo>
                  <a:lnTo>
                    <a:pt x="488863" y="0"/>
                  </a:lnTo>
                  <a:lnTo>
                    <a:pt x="669627" y="0"/>
                  </a:lnTo>
                  <a:lnTo>
                    <a:pt x="409772" y="712298"/>
                  </a:lnTo>
                  <a:close/>
                </a:path>
              </a:pathLst>
            </a:custGeom>
            <a:grpFill/>
            <a:ln w="2724" cap="flat">
              <a:noFill/>
              <a:prstDash val="solid"/>
              <a:miter/>
            </a:ln>
          </p:spPr>
          <p:txBody>
            <a:bodyPr rtlCol="0" anchor="ctr"/>
            <a:lstStyle/>
            <a:p>
              <a:endParaRPr lang="fi-FI"/>
            </a:p>
          </p:txBody>
        </p:sp>
        <p:sp>
          <p:nvSpPr>
            <p:cNvPr id="14" name="Freeform 15">
              <a:extLst>
                <a:ext uri="{FF2B5EF4-FFF2-40B4-BE49-F238E27FC236}">
                  <a16:creationId xmlns:a16="http://schemas.microsoft.com/office/drawing/2014/main" id="{3E376CA3-83F4-7E40-24A4-C50BB76EEDA4}"/>
                </a:ext>
              </a:extLst>
            </p:cNvPr>
            <p:cNvSpPr/>
            <p:nvPr/>
          </p:nvSpPr>
          <p:spPr>
            <a:xfrm>
              <a:off x="9146219" y="5901176"/>
              <a:ext cx="549490" cy="514880"/>
            </a:xfrm>
            <a:custGeom>
              <a:avLst/>
              <a:gdLst>
                <a:gd name="connsiteX0" fmla="*/ 549490 w 549490"/>
                <a:gd name="connsiteY0" fmla="*/ 12211 h 514880"/>
                <a:gd name="connsiteX1" fmla="*/ 549490 w 549490"/>
                <a:gd name="connsiteY1" fmla="*/ 502669 h 514880"/>
                <a:gd name="connsiteX2" fmla="*/ 392345 w 549490"/>
                <a:gd name="connsiteY2" fmla="*/ 502669 h 514880"/>
                <a:gd name="connsiteX3" fmla="*/ 392345 w 549490"/>
                <a:gd name="connsiteY3" fmla="*/ 433482 h 514880"/>
                <a:gd name="connsiteX4" fmla="*/ 241363 w 549490"/>
                <a:gd name="connsiteY4" fmla="*/ 514880 h 514880"/>
                <a:gd name="connsiteX5" fmla="*/ 0 w 549490"/>
                <a:gd name="connsiteY5" fmla="*/ 257440 h 514880"/>
                <a:gd name="connsiteX6" fmla="*/ 241363 w 549490"/>
                <a:gd name="connsiteY6" fmla="*/ 0 h 514880"/>
                <a:gd name="connsiteX7" fmla="*/ 392345 w 549490"/>
                <a:gd name="connsiteY7" fmla="*/ 82432 h 514880"/>
                <a:gd name="connsiteX8" fmla="*/ 392345 w 549490"/>
                <a:gd name="connsiteY8" fmla="*/ 12211 h 514880"/>
                <a:gd name="connsiteX9" fmla="*/ 549490 w 549490"/>
                <a:gd name="connsiteY9" fmla="*/ 12211 h 514880"/>
                <a:gd name="connsiteX10" fmla="*/ 392345 w 549490"/>
                <a:gd name="connsiteY10" fmla="*/ 257440 h 514880"/>
                <a:gd name="connsiteX11" fmla="*/ 274227 w 549490"/>
                <a:gd name="connsiteY11" fmla="*/ 132283 h 514880"/>
                <a:gd name="connsiteX12" fmla="*/ 156109 w 549490"/>
                <a:gd name="connsiteY12" fmla="*/ 257440 h 514880"/>
                <a:gd name="connsiteX13" fmla="*/ 274227 w 549490"/>
                <a:gd name="connsiteY13" fmla="*/ 382598 h 514880"/>
                <a:gd name="connsiteX14" fmla="*/ 392345 w 549490"/>
                <a:gd name="connsiteY14" fmla="*/ 257440 h 51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9490" h="514880">
                  <a:moveTo>
                    <a:pt x="549490" y="12211"/>
                  </a:moveTo>
                  <a:lnTo>
                    <a:pt x="549490" y="502669"/>
                  </a:lnTo>
                  <a:lnTo>
                    <a:pt x="392345" y="502669"/>
                  </a:lnTo>
                  <a:lnTo>
                    <a:pt x="392345" y="433482"/>
                  </a:lnTo>
                  <a:cubicBezTo>
                    <a:pt x="368727" y="478247"/>
                    <a:pt x="305045" y="514880"/>
                    <a:pt x="241363" y="514880"/>
                  </a:cubicBezTo>
                  <a:cubicBezTo>
                    <a:pt x="98591" y="514880"/>
                    <a:pt x="0" y="403974"/>
                    <a:pt x="0" y="257440"/>
                  </a:cubicBezTo>
                  <a:cubicBezTo>
                    <a:pt x="0" y="110907"/>
                    <a:pt x="98591" y="0"/>
                    <a:pt x="241363" y="0"/>
                  </a:cubicBezTo>
                  <a:cubicBezTo>
                    <a:pt x="305045" y="0"/>
                    <a:pt x="368727" y="37640"/>
                    <a:pt x="392345" y="82432"/>
                  </a:cubicBezTo>
                  <a:lnTo>
                    <a:pt x="392345" y="12211"/>
                  </a:lnTo>
                  <a:lnTo>
                    <a:pt x="549490" y="12211"/>
                  </a:lnTo>
                  <a:close/>
                  <a:moveTo>
                    <a:pt x="392345" y="257440"/>
                  </a:moveTo>
                  <a:cubicBezTo>
                    <a:pt x="392345" y="190293"/>
                    <a:pt x="345109" y="132283"/>
                    <a:pt x="274227" y="132283"/>
                  </a:cubicBezTo>
                  <a:cubicBezTo>
                    <a:pt x="203345" y="132283"/>
                    <a:pt x="156109" y="190293"/>
                    <a:pt x="156109" y="257440"/>
                  </a:cubicBezTo>
                  <a:cubicBezTo>
                    <a:pt x="156109" y="324588"/>
                    <a:pt x="203345" y="382598"/>
                    <a:pt x="274227" y="382598"/>
                  </a:cubicBezTo>
                  <a:cubicBezTo>
                    <a:pt x="345109" y="382598"/>
                    <a:pt x="392345" y="325621"/>
                    <a:pt x="392345" y="257440"/>
                  </a:cubicBezTo>
                  <a:close/>
                </a:path>
              </a:pathLst>
            </a:custGeom>
            <a:grpFill/>
            <a:ln w="2724" cap="flat">
              <a:noFill/>
              <a:prstDash val="solid"/>
              <a:miter/>
            </a:ln>
          </p:spPr>
          <p:txBody>
            <a:bodyPr rtlCol="0" anchor="ctr"/>
            <a:lstStyle/>
            <a:p>
              <a:endParaRPr lang="fi-FI"/>
            </a:p>
          </p:txBody>
        </p:sp>
        <p:sp>
          <p:nvSpPr>
            <p:cNvPr id="15" name="Freeform 16">
              <a:extLst>
                <a:ext uri="{FF2B5EF4-FFF2-40B4-BE49-F238E27FC236}">
                  <a16:creationId xmlns:a16="http://schemas.microsoft.com/office/drawing/2014/main" id="{3B27AEFC-B52E-0FAB-83B4-FC5E8EB8A0E9}"/>
                </a:ext>
              </a:extLst>
            </p:cNvPr>
            <p:cNvSpPr/>
            <p:nvPr/>
          </p:nvSpPr>
          <p:spPr>
            <a:xfrm>
              <a:off x="9752164" y="5901176"/>
              <a:ext cx="497099" cy="502696"/>
            </a:xfrm>
            <a:custGeom>
              <a:avLst/>
              <a:gdLst>
                <a:gd name="connsiteX0" fmla="*/ 0 w 497099"/>
                <a:gd name="connsiteY0" fmla="*/ 12211 h 502696"/>
                <a:gd name="connsiteX1" fmla="*/ 157145 w 497099"/>
                <a:gd name="connsiteY1" fmla="*/ 12211 h 502696"/>
                <a:gd name="connsiteX2" fmla="*/ 157145 w 497099"/>
                <a:gd name="connsiteY2" fmla="*/ 83438 h 502696"/>
                <a:gd name="connsiteX3" fmla="*/ 319418 w 497099"/>
                <a:gd name="connsiteY3" fmla="*/ 0 h 502696"/>
                <a:gd name="connsiteX4" fmla="*/ 458072 w 497099"/>
                <a:gd name="connsiteY4" fmla="*/ 55970 h 502696"/>
                <a:gd name="connsiteX5" fmla="*/ 497100 w 497099"/>
                <a:gd name="connsiteY5" fmla="*/ 211669 h 502696"/>
                <a:gd name="connsiteX6" fmla="*/ 497100 w 497099"/>
                <a:gd name="connsiteY6" fmla="*/ 502696 h 502696"/>
                <a:gd name="connsiteX7" fmla="*/ 339954 w 497099"/>
                <a:gd name="connsiteY7" fmla="*/ 502696 h 502696"/>
                <a:gd name="connsiteX8" fmla="*/ 339954 w 497099"/>
                <a:gd name="connsiteY8" fmla="*/ 251348 h 502696"/>
                <a:gd name="connsiteX9" fmla="*/ 252654 w 497099"/>
                <a:gd name="connsiteY9" fmla="*/ 132283 h 502696"/>
                <a:gd name="connsiteX10" fmla="*/ 157145 w 497099"/>
                <a:gd name="connsiteY10" fmla="*/ 256434 h 502696"/>
                <a:gd name="connsiteX11" fmla="*/ 157145 w 497099"/>
                <a:gd name="connsiteY11" fmla="*/ 502669 h 502696"/>
                <a:gd name="connsiteX12" fmla="*/ 0 w 497099"/>
                <a:gd name="connsiteY12" fmla="*/ 502669 h 502696"/>
                <a:gd name="connsiteX13" fmla="*/ 0 w 497099"/>
                <a:gd name="connsiteY13" fmla="*/ 12211 h 50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7099" h="502696">
                  <a:moveTo>
                    <a:pt x="0" y="12211"/>
                  </a:moveTo>
                  <a:lnTo>
                    <a:pt x="157145" y="12211"/>
                  </a:lnTo>
                  <a:lnTo>
                    <a:pt x="157145" y="83438"/>
                  </a:lnTo>
                  <a:cubicBezTo>
                    <a:pt x="184882" y="30514"/>
                    <a:pt x="242400" y="0"/>
                    <a:pt x="319418" y="0"/>
                  </a:cubicBezTo>
                  <a:cubicBezTo>
                    <a:pt x="383100" y="0"/>
                    <a:pt x="431372" y="21376"/>
                    <a:pt x="458072" y="55970"/>
                  </a:cubicBezTo>
                  <a:cubicBezTo>
                    <a:pt x="488890" y="93610"/>
                    <a:pt x="497100" y="141448"/>
                    <a:pt x="497100" y="211669"/>
                  </a:cubicBezTo>
                  <a:lnTo>
                    <a:pt x="497100" y="502696"/>
                  </a:lnTo>
                  <a:lnTo>
                    <a:pt x="339954" y="502696"/>
                  </a:lnTo>
                  <a:lnTo>
                    <a:pt x="339954" y="251348"/>
                  </a:lnTo>
                  <a:cubicBezTo>
                    <a:pt x="339954" y="181127"/>
                    <a:pt x="318382" y="132283"/>
                    <a:pt x="252654" y="132283"/>
                  </a:cubicBezTo>
                  <a:cubicBezTo>
                    <a:pt x="186927" y="132283"/>
                    <a:pt x="157145" y="181127"/>
                    <a:pt x="157145" y="256434"/>
                  </a:cubicBezTo>
                  <a:lnTo>
                    <a:pt x="157145" y="502669"/>
                  </a:lnTo>
                  <a:lnTo>
                    <a:pt x="0" y="502669"/>
                  </a:lnTo>
                  <a:lnTo>
                    <a:pt x="0" y="12211"/>
                  </a:lnTo>
                  <a:close/>
                </a:path>
              </a:pathLst>
            </a:custGeom>
            <a:grpFill/>
            <a:ln w="2724" cap="flat">
              <a:noFill/>
              <a:prstDash val="solid"/>
              <a:miter/>
            </a:ln>
          </p:spPr>
          <p:txBody>
            <a:bodyPr rtlCol="0" anchor="ctr"/>
            <a:lstStyle/>
            <a:p>
              <a:endParaRPr lang="fi-FI"/>
            </a:p>
          </p:txBody>
        </p:sp>
        <p:sp>
          <p:nvSpPr>
            <p:cNvPr id="16" name="Freeform 17">
              <a:extLst>
                <a:ext uri="{FF2B5EF4-FFF2-40B4-BE49-F238E27FC236}">
                  <a16:creationId xmlns:a16="http://schemas.microsoft.com/office/drawing/2014/main" id="{F4CF71FA-FCA0-6DD9-87CF-9203CA66C477}"/>
                </a:ext>
              </a:extLst>
            </p:cNvPr>
            <p:cNvSpPr/>
            <p:nvPr/>
          </p:nvSpPr>
          <p:spPr>
            <a:xfrm>
              <a:off x="10280055" y="5767860"/>
              <a:ext cx="358445" cy="644117"/>
            </a:xfrm>
            <a:custGeom>
              <a:avLst/>
              <a:gdLst>
                <a:gd name="connsiteX0" fmla="*/ 358445 w 358445"/>
                <a:gd name="connsiteY0" fmla="*/ 635986 h 644117"/>
                <a:gd name="connsiteX1" fmla="*/ 253691 w 358445"/>
                <a:gd name="connsiteY1" fmla="*/ 644117 h 644117"/>
                <a:gd name="connsiteX2" fmla="*/ 78054 w 358445"/>
                <a:gd name="connsiteY2" fmla="*/ 471122 h 644117"/>
                <a:gd name="connsiteX3" fmla="*/ 78054 w 358445"/>
                <a:gd name="connsiteY3" fmla="*/ 261492 h 644117"/>
                <a:gd name="connsiteX4" fmla="*/ 0 w 358445"/>
                <a:gd name="connsiteY4" fmla="*/ 261492 h 644117"/>
                <a:gd name="connsiteX5" fmla="*/ 0 w 358445"/>
                <a:gd name="connsiteY5" fmla="*/ 145500 h 644117"/>
                <a:gd name="connsiteX6" fmla="*/ 78054 w 358445"/>
                <a:gd name="connsiteY6" fmla="*/ 145500 h 644117"/>
                <a:gd name="connsiteX7" fmla="*/ 78054 w 358445"/>
                <a:gd name="connsiteY7" fmla="*/ 0 h 644117"/>
                <a:gd name="connsiteX8" fmla="*/ 234163 w 358445"/>
                <a:gd name="connsiteY8" fmla="*/ 0 h 644117"/>
                <a:gd name="connsiteX9" fmla="*/ 234163 w 358445"/>
                <a:gd name="connsiteY9" fmla="*/ 145500 h 644117"/>
                <a:gd name="connsiteX10" fmla="*/ 347127 w 358445"/>
                <a:gd name="connsiteY10" fmla="*/ 145500 h 644117"/>
                <a:gd name="connsiteX11" fmla="*/ 347127 w 358445"/>
                <a:gd name="connsiteY11" fmla="*/ 261492 h 644117"/>
                <a:gd name="connsiteX12" fmla="*/ 234163 w 358445"/>
                <a:gd name="connsiteY12" fmla="*/ 261492 h 644117"/>
                <a:gd name="connsiteX13" fmla="*/ 234163 w 358445"/>
                <a:gd name="connsiteY13" fmla="*/ 436501 h 644117"/>
                <a:gd name="connsiteX14" fmla="*/ 301963 w 358445"/>
                <a:gd name="connsiteY14" fmla="*/ 519939 h 644117"/>
                <a:gd name="connsiteX15" fmla="*/ 358445 w 358445"/>
                <a:gd name="connsiteY15" fmla="*/ 516893 h 644117"/>
                <a:gd name="connsiteX16" fmla="*/ 358445 w 358445"/>
                <a:gd name="connsiteY16" fmla="*/ 635958 h 644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445" h="644117">
                  <a:moveTo>
                    <a:pt x="358445" y="635986"/>
                  </a:moveTo>
                  <a:cubicBezTo>
                    <a:pt x="334827" y="640065"/>
                    <a:pt x="299891" y="644117"/>
                    <a:pt x="253691" y="644117"/>
                  </a:cubicBezTo>
                  <a:cubicBezTo>
                    <a:pt x="179754" y="644117"/>
                    <a:pt x="78054" y="634952"/>
                    <a:pt x="78054" y="471122"/>
                  </a:cubicBezTo>
                  <a:lnTo>
                    <a:pt x="78054" y="261492"/>
                  </a:lnTo>
                  <a:lnTo>
                    <a:pt x="0" y="261492"/>
                  </a:lnTo>
                  <a:lnTo>
                    <a:pt x="0" y="145500"/>
                  </a:lnTo>
                  <a:lnTo>
                    <a:pt x="78054" y="145500"/>
                  </a:lnTo>
                  <a:lnTo>
                    <a:pt x="78054" y="0"/>
                  </a:lnTo>
                  <a:lnTo>
                    <a:pt x="234163" y="0"/>
                  </a:lnTo>
                  <a:lnTo>
                    <a:pt x="234163" y="145500"/>
                  </a:lnTo>
                  <a:lnTo>
                    <a:pt x="347127" y="145500"/>
                  </a:lnTo>
                  <a:lnTo>
                    <a:pt x="347127" y="261492"/>
                  </a:lnTo>
                  <a:lnTo>
                    <a:pt x="234163" y="261492"/>
                  </a:lnTo>
                  <a:lnTo>
                    <a:pt x="234163" y="436501"/>
                  </a:lnTo>
                  <a:cubicBezTo>
                    <a:pt x="234163" y="508734"/>
                    <a:pt x="262936" y="519939"/>
                    <a:pt x="301963" y="519939"/>
                  </a:cubicBezTo>
                  <a:cubicBezTo>
                    <a:pt x="321491" y="519939"/>
                    <a:pt x="344072" y="518933"/>
                    <a:pt x="358445" y="516893"/>
                  </a:cubicBezTo>
                  <a:lnTo>
                    <a:pt x="358445" y="635958"/>
                  </a:lnTo>
                  <a:close/>
                </a:path>
              </a:pathLst>
            </a:custGeom>
            <a:grpFill/>
            <a:ln w="2724" cap="flat">
              <a:noFill/>
              <a:prstDash val="solid"/>
              <a:miter/>
            </a:ln>
          </p:spPr>
          <p:txBody>
            <a:bodyPr rtlCol="0" anchor="ctr"/>
            <a:lstStyle/>
            <a:p>
              <a:endParaRPr lang="fi-FI"/>
            </a:p>
          </p:txBody>
        </p:sp>
        <p:sp>
          <p:nvSpPr>
            <p:cNvPr id="17" name="Freeform 18">
              <a:extLst>
                <a:ext uri="{FF2B5EF4-FFF2-40B4-BE49-F238E27FC236}">
                  <a16:creationId xmlns:a16="http://schemas.microsoft.com/office/drawing/2014/main" id="{8657EDFD-8166-5937-548F-95012FB3E6B9}"/>
                </a:ext>
              </a:extLst>
            </p:cNvPr>
            <p:cNvSpPr/>
            <p:nvPr/>
          </p:nvSpPr>
          <p:spPr>
            <a:xfrm>
              <a:off x="10655927" y="5901176"/>
              <a:ext cx="549490" cy="514880"/>
            </a:xfrm>
            <a:custGeom>
              <a:avLst/>
              <a:gdLst>
                <a:gd name="connsiteX0" fmla="*/ 549491 w 549490"/>
                <a:gd name="connsiteY0" fmla="*/ 12211 h 514880"/>
                <a:gd name="connsiteX1" fmla="*/ 549491 w 549490"/>
                <a:gd name="connsiteY1" fmla="*/ 502669 h 514880"/>
                <a:gd name="connsiteX2" fmla="*/ 392345 w 549490"/>
                <a:gd name="connsiteY2" fmla="*/ 502669 h 514880"/>
                <a:gd name="connsiteX3" fmla="*/ 392345 w 549490"/>
                <a:gd name="connsiteY3" fmla="*/ 433482 h 514880"/>
                <a:gd name="connsiteX4" fmla="*/ 241363 w 549490"/>
                <a:gd name="connsiteY4" fmla="*/ 514880 h 514880"/>
                <a:gd name="connsiteX5" fmla="*/ 0 w 549490"/>
                <a:gd name="connsiteY5" fmla="*/ 257440 h 514880"/>
                <a:gd name="connsiteX6" fmla="*/ 241363 w 549490"/>
                <a:gd name="connsiteY6" fmla="*/ 0 h 514880"/>
                <a:gd name="connsiteX7" fmla="*/ 392345 w 549490"/>
                <a:gd name="connsiteY7" fmla="*/ 82432 h 514880"/>
                <a:gd name="connsiteX8" fmla="*/ 392345 w 549490"/>
                <a:gd name="connsiteY8" fmla="*/ 12211 h 514880"/>
                <a:gd name="connsiteX9" fmla="*/ 549491 w 549490"/>
                <a:gd name="connsiteY9" fmla="*/ 12211 h 514880"/>
                <a:gd name="connsiteX10" fmla="*/ 392345 w 549490"/>
                <a:gd name="connsiteY10" fmla="*/ 257440 h 514880"/>
                <a:gd name="connsiteX11" fmla="*/ 274227 w 549490"/>
                <a:gd name="connsiteY11" fmla="*/ 132283 h 514880"/>
                <a:gd name="connsiteX12" fmla="*/ 156109 w 549490"/>
                <a:gd name="connsiteY12" fmla="*/ 257440 h 514880"/>
                <a:gd name="connsiteX13" fmla="*/ 274227 w 549490"/>
                <a:gd name="connsiteY13" fmla="*/ 382598 h 514880"/>
                <a:gd name="connsiteX14" fmla="*/ 392345 w 549490"/>
                <a:gd name="connsiteY14" fmla="*/ 257440 h 51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9490" h="514880">
                  <a:moveTo>
                    <a:pt x="549491" y="12211"/>
                  </a:moveTo>
                  <a:lnTo>
                    <a:pt x="549491" y="502669"/>
                  </a:lnTo>
                  <a:lnTo>
                    <a:pt x="392345" y="502669"/>
                  </a:lnTo>
                  <a:lnTo>
                    <a:pt x="392345" y="433482"/>
                  </a:lnTo>
                  <a:cubicBezTo>
                    <a:pt x="368727" y="478247"/>
                    <a:pt x="305045" y="514880"/>
                    <a:pt x="241363" y="514880"/>
                  </a:cubicBezTo>
                  <a:cubicBezTo>
                    <a:pt x="98591" y="514880"/>
                    <a:pt x="0" y="403974"/>
                    <a:pt x="0" y="257440"/>
                  </a:cubicBezTo>
                  <a:cubicBezTo>
                    <a:pt x="0" y="110907"/>
                    <a:pt x="98591" y="0"/>
                    <a:pt x="241363" y="0"/>
                  </a:cubicBezTo>
                  <a:cubicBezTo>
                    <a:pt x="305045" y="0"/>
                    <a:pt x="368727" y="37640"/>
                    <a:pt x="392345" y="82432"/>
                  </a:cubicBezTo>
                  <a:lnTo>
                    <a:pt x="392345" y="12211"/>
                  </a:lnTo>
                  <a:lnTo>
                    <a:pt x="549491" y="12211"/>
                  </a:lnTo>
                  <a:close/>
                  <a:moveTo>
                    <a:pt x="392345" y="257440"/>
                  </a:moveTo>
                  <a:cubicBezTo>
                    <a:pt x="392345" y="190293"/>
                    <a:pt x="345109" y="132283"/>
                    <a:pt x="274227" y="132283"/>
                  </a:cubicBezTo>
                  <a:cubicBezTo>
                    <a:pt x="203345" y="132283"/>
                    <a:pt x="156109" y="190293"/>
                    <a:pt x="156109" y="257440"/>
                  </a:cubicBezTo>
                  <a:cubicBezTo>
                    <a:pt x="156109" y="324588"/>
                    <a:pt x="203345" y="382598"/>
                    <a:pt x="274227" y="382598"/>
                  </a:cubicBezTo>
                  <a:cubicBezTo>
                    <a:pt x="345109" y="382598"/>
                    <a:pt x="392345" y="325621"/>
                    <a:pt x="392345" y="257440"/>
                  </a:cubicBezTo>
                  <a:close/>
                </a:path>
              </a:pathLst>
            </a:custGeom>
            <a:grpFill/>
            <a:ln w="2724" cap="flat">
              <a:noFill/>
              <a:prstDash val="solid"/>
              <a:miter/>
            </a:ln>
          </p:spPr>
          <p:txBody>
            <a:bodyPr rtlCol="0" anchor="ctr"/>
            <a:lstStyle/>
            <a:p>
              <a:endParaRPr lang="fi-FI"/>
            </a:p>
          </p:txBody>
        </p:sp>
        <p:sp>
          <p:nvSpPr>
            <p:cNvPr id="18" name="Freeform 19">
              <a:extLst>
                <a:ext uri="{FF2B5EF4-FFF2-40B4-BE49-F238E27FC236}">
                  <a16:creationId xmlns:a16="http://schemas.microsoft.com/office/drawing/2014/main" id="{AAE7BC9B-831B-AE46-C5AF-D7A961B2B69D}"/>
                </a:ext>
              </a:extLst>
            </p:cNvPr>
            <p:cNvSpPr/>
            <p:nvPr/>
          </p:nvSpPr>
          <p:spPr>
            <a:xfrm>
              <a:off x="11246463" y="5901176"/>
              <a:ext cx="549490" cy="514880"/>
            </a:xfrm>
            <a:custGeom>
              <a:avLst/>
              <a:gdLst>
                <a:gd name="connsiteX0" fmla="*/ 549490 w 549490"/>
                <a:gd name="connsiteY0" fmla="*/ 12211 h 514880"/>
                <a:gd name="connsiteX1" fmla="*/ 549490 w 549490"/>
                <a:gd name="connsiteY1" fmla="*/ 502669 h 514880"/>
                <a:gd name="connsiteX2" fmla="*/ 392345 w 549490"/>
                <a:gd name="connsiteY2" fmla="*/ 502669 h 514880"/>
                <a:gd name="connsiteX3" fmla="*/ 392345 w 549490"/>
                <a:gd name="connsiteY3" fmla="*/ 433482 h 514880"/>
                <a:gd name="connsiteX4" fmla="*/ 241363 w 549490"/>
                <a:gd name="connsiteY4" fmla="*/ 514880 h 514880"/>
                <a:gd name="connsiteX5" fmla="*/ 0 w 549490"/>
                <a:gd name="connsiteY5" fmla="*/ 257440 h 514880"/>
                <a:gd name="connsiteX6" fmla="*/ 241363 w 549490"/>
                <a:gd name="connsiteY6" fmla="*/ 0 h 514880"/>
                <a:gd name="connsiteX7" fmla="*/ 392345 w 549490"/>
                <a:gd name="connsiteY7" fmla="*/ 82432 h 514880"/>
                <a:gd name="connsiteX8" fmla="*/ 392345 w 549490"/>
                <a:gd name="connsiteY8" fmla="*/ 12211 h 514880"/>
                <a:gd name="connsiteX9" fmla="*/ 549490 w 549490"/>
                <a:gd name="connsiteY9" fmla="*/ 12211 h 514880"/>
                <a:gd name="connsiteX10" fmla="*/ 392345 w 549490"/>
                <a:gd name="connsiteY10" fmla="*/ 257440 h 514880"/>
                <a:gd name="connsiteX11" fmla="*/ 274227 w 549490"/>
                <a:gd name="connsiteY11" fmla="*/ 132283 h 514880"/>
                <a:gd name="connsiteX12" fmla="*/ 156109 w 549490"/>
                <a:gd name="connsiteY12" fmla="*/ 257440 h 514880"/>
                <a:gd name="connsiteX13" fmla="*/ 274227 w 549490"/>
                <a:gd name="connsiteY13" fmla="*/ 382598 h 514880"/>
                <a:gd name="connsiteX14" fmla="*/ 392345 w 549490"/>
                <a:gd name="connsiteY14" fmla="*/ 257440 h 51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9490" h="514880">
                  <a:moveTo>
                    <a:pt x="549490" y="12211"/>
                  </a:moveTo>
                  <a:lnTo>
                    <a:pt x="549490" y="502669"/>
                  </a:lnTo>
                  <a:lnTo>
                    <a:pt x="392345" y="502669"/>
                  </a:lnTo>
                  <a:lnTo>
                    <a:pt x="392345" y="433482"/>
                  </a:lnTo>
                  <a:cubicBezTo>
                    <a:pt x="368727" y="478247"/>
                    <a:pt x="305045" y="514880"/>
                    <a:pt x="241363" y="514880"/>
                  </a:cubicBezTo>
                  <a:cubicBezTo>
                    <a:pt x="98591" y="514880"/>
                    <a:pt x="0" y="403974"/>
                    <a:pt x="0" y="257440"/>
                  </a:cubicBezTo>
                  <a:cubicBezTo>
                    <a:pt x="0" y="110907"/>
                    <a:pt x="98591" y="0"/>
                    <a:pt x="241363" y="0"/>
                  </a:cubicBezTo>
                  <a:cubicBezTo>
                    <a:pt x="305045" y="0"/>
                    <a:pt x="368727" y="37640"/>
                    <a:pt x="392345" y="82432"/>
                  </a:cubicBezTo>
                  <a:lnTo>
                    <a:pt x="392345" y="12211"/>
                  </a:lnTo>
                  <a:lnTo>
                    <a:pt x="549490" y="12211"/>
                  </a:lnTo>
                  <a:close/>
                  <a:moveTo>
                    <a:pt x="392345" y="257440"/>
                  </a:moveTo>
                  <a:cubicBezTo>
                    <a:pt x="392345" y="190293"/>
                    <a:pt x="345109" y="132283"/>
                    <a:pt x="274227" y="132283"/>
                  </a:cubicBezTo>
                  <a:cubicBezTo>
                    <a:pt x="203345" y="132283"/>
                    <a:pt x="156109" y="190293"/>
                    <a:pt x="156109" y="257440"/>
                  </a:cubicBezTo>
                  <a:cubicBezTo>
                    <a:pt x="156109" y="324588"/>
                    <a:pt x="203345" y="382598"/>
                    <a:pt x="274227" y="382598"/>
                  </a:cubicBezTo>
                  <a:cubicBezTo>
                    <a:pt x="345109" y="382598"/>
                    <a:pt x="392345" y="325621"/>
                    <a:pt x="392345" y="257440"/>
                  </a:cubicBezTo>
                  <a:close/>
                </a:path>
              </a:pathLst>
            </a:custGeom>
            <a:grpFill/>
            <a:ln w="2724" cap="flat">
              <a:noFill/>
              <a:prstDash val="solid"/>
              <a:miter/>
            </a:ln>
          </p:spPr>
          <p:txBody>
            <a:bodyPr rtlCol="0" anchor="ctr"/>
            <a:lstStyle/>
            <a:p>
              <a:endParaRPr lang="fi-FI"/>
            </a:p>
          </p:txBody>
        </p:sp>
      </p:grpSp>
    </p:spTree>
    <p:extLst>
      <p:ext uri="{BB962C8B-B14F-4D97-AF65-F5344CB8AC3E}">
        <p14:creationId xmlns:p14="http://schemas.microsoft.com/office/powerpoint/2010/main" val="271685697"/>
      </p:ext>
    </p:extLst>
  </p:cSld>
  <p:clrMapOvr>
    <a:masterClrMapping/>
  </p:clrMapOvr>
  <p:hf sldNum="0"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yhjä">
    <p:bg>
      <p:bgPr>
        <a:solidFill>
          <a:schemeClr val="bg1">
            <a:alpha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62499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Mukautettu asettelu">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2673217"/>
      </p:ext>
    </p:extLst>
  </p:cSld>
  <p:clrMapOvr>
    <a:masterClrMapping/>
  </p:clrMapOvr>
  <p:hf sldNum="0" hd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obj" preserve="1">
  <p:cSld name="Otsikko ja sisältö">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117975" cy="1325563"/>
          </a:xfrm>
          <a:prstGeom prst="rect">
            <a:avLst/>
          </a:prstGeom>
        </p:spPr>
        <p:txBody>
          <a:bodyPr/>
          <a:lstStyle>
            <a:lvl1pPr>
              <a:defRPr>
                <a:latin typeface="Arial Black"/>
                <a:cs typeface="Arial Black"/>
              </a:defRPr>
            </a:lvl1pPr>
          </a:lstStyle>
          <a:p>
            <a:r>
              <a:rPr lang="fi-FI" noProof="0"/>
              <a:t>Muokkaa ots. perustyyl. napsautt.</a:t>
            </a:r>
          </a:p>
        </p:txBody>
      </p:sp>
      <p:sp>
        <p:nvSpPr>
          <p:cNvPr id="3" name="Content Placeholder 2"/>
          <p:cNvSpPr>
            <a:spLocks noGrp="1"/>
          </p:cNvSpPr>
          <p:nvPr>
            <p:ph idx="1"/>
          </p:nvPr>
        </p:nvSpPr>
        <p:spPr>
          <a:xfrm>
            <a:off x="838200" y="1838325"/>
            <a:ext cx="10515600" cy="4351338"/>
          </a:xfrm>
          <a:prstGeom prst="rect">
            <a:avLst/>
          </a:prstGeom>
        </p:spPr>
        <p:txBody>
          <a:bodyPr/>
          <a:lstStyle>
            <a:lvl1pPr>
              <a:defRPr>
                <a:latin typeface="+mj-lt"/>
              </a:defRPr>
            </a:lvl1pPr>
            <a:lvl2pPr>
              <a:lnSpc>
                <a:spcPct val="100000"/>
              </a:lnSpc>
              <a:defRPr>
                <a:latin typeface="+mj-lt"/>
              </a:defRPr>
            </a:lvl2pPr>
            <a:lvl3pPr>
              <a:defRPr>
                <a:latin typeface="+mj-lt"/>
              </a:defRPr>
            </a:lvl3pPr>
            <a:lvl4pPr>
              <a:defRPr>
                <a:latin typeface="+mj-lt"/>
              </a:defRPr>
            </a:lvl4pPr>
            <a:lvl5pPr>
              <a:defRPr>
                <a:latin typeface="+mj-lt"/>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a:p>
            <a:pPr lvl="4"/>
            <a:r>
              <a:rPr lang="fi-FI" noProof="0"/>
              <a:t>viides taso</a:t>
            </a:r>
          </a:p>
        </p:txBody>
      </p:sp>
      <p:pic>
        <p:nvPicPr>
          <p:cNvPr id="6" name="Picture 5">
            <a:extLst>
              <a:ext uri="{FF2B5EF4-FFF2-40B4-BE49-F238E27FC236}">
                <a16:creationId xmlns:a16="http://schemas.microsoft.com/office/drawing/2014/main" id="{469EECEB-BA86-4A4B-AD96-30C725B85C99}"/>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801610" y="0"/>
            <a:ext cx="1390389" cy="1390389"/>
          </a:xfrm>
          <a:prstGeom prst="rect">
            <a:avLst/>
          </a:prstGeom>
        </p:spPr>
      </p:pic>
      <p:pic>
        <p:nvPicPr>
          <p:cNvPr id="4" name="Picture 5">
            <a:extLst>
              <a:ext uri="{FF2B5EF4-FFF2-40B4-BE49-F238E27FC236}">
                <a16:creationId xmlns:a16="http://schemas.microsoft.com/office/drawing/2014/main" id="{395D4846-C617-543F-83B0-8B61EAFCB3C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01610" y="0"/>
            <a:ext cx="1390389" cy="1390389"/>
          </a:xfrm>
          <a:prstGeom prst="rect">
            <a:avLst/>
          </a:prstGeom>
        </p:spPr>
      </p:pic>
    </p:spTree>
    <p:extLst>
      <p:ext uri="{BB962C8B-B14F-4D97-AF65-F5344CB8AC3E}">
        <p14:creationId xmlns:p14="http://schemas.microsoft.com/office/powerpoint/2010/main" val="36953314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Otsikkodia 9">
    <p:bg>
      <p:bgPr>
        <a:solidFill>
          <a:schemeClr val="accent2">
            <a:alpha val="90000"/>
          </a:schemeClr>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09483175-2EEA-6F8C-ED09-1AA3B1725BA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543414">
            <a:off x="8816677" y="5123350"/>
            <a:ext cx="3469596" cy="2236846"/>
          </a:xfrm>
          <a:prstGeom prst="rect">
            <a:avLst/>
          </a:prstGeom>
        </p:spPr>
      </p:pic>
      <p:sp>
        <p:nvSpPr>
          <p:cNvPr id="6" name="Title 1">
            <a:extLst>
              <a:ext uri="{FF2B5EF4-FFF2-40B4-BE49-F238E27FC236}">
                <a16:creationId xmlns:a16="http://schemas.microsoft.com/office/drawing/2014/main" id="{064378BC-F4F7-BD4F-41B1-E85308FF33A0}"/>
              </a:ext>
            </a:extLst>
          </p:cNvPr>
          <p:cNvSpPr>
            <a:spLocks noGrp="1"/>
          </p:cNvSpPr>
          <p:nvPr>
            <p:ph type="title"/>
          </p:nvPr>
        </p:nvSpPr>
        <p:spPr>
          <a:xfrm>
            <a:off x="914400" y="635001"/>
            <a:ext cx="6870357" cy="5606773"/>
          </a:xfrm>
        </p:spPr>
        <p:txBody>
          <a:bodyPr>
            <a:noAutofit/>
          </a:bodyPr>
          <a:lstStyle>
            <a:lvl1pPr>
              <a:defRPr sz="6000" b="1" i="0">
                <a:solidFill>
                  <a:srgbClr val="152A96"/>
                </a:solidFill>
                <a:latin typeface="Poppins" pitchFamily="2" charset="77"/>
                <a:cs typeface="Poppins" pitchFamily="2" charset="77"/>
              </a:defRPr>
            </a:lvl1pPr>
          </a:lstStyle>
          <a:p>
            <a:r>
              <a:rPr lang="fi-FI"/>
              <a:t>Muokkaa ots. perustyyl. napsautt.</a:t>
            </a:r>
            <a:endParaRPr lang="en-FI"/>
          </a:p>
        </p:txBody>
      </p:sp>
      <p:sp>
        <p:nvSpPr>
          <p:cNvPr id="7" name="Subtitle 2">
            <a:extLst>
              <a:ext uri="{FF2B5EF4-FFF2-40B4-BE49-F238E27FC236}">
                <a16:creationId xmlns:a16="http://schemas.microsoft.com/office/drawing/2014/main" id="{5E44DB90-1F03-CF40-D57A-B68B9BA0FD67}"/>
              </a:ext>
            </a:extLst>
          </p:cNvPr>
          <p:cNvSpPr>
            <a:spLocks noGrp="1"/>
          </p:cNvSpPr>
          <p:nvPr>
            <p:ph type="subTitle" idx="1"/>
          </p:nvPr>
        </p:nvSpPr>
        <p:spPr>
          <a:xfrm>
            <a:off x="914400" y="5800724"/>
            <a:ext cx="6870357" cy="441049"/>
          </a:xfrm>
        </p:spPr>
        <p:txBody>
          <a:bodyPr>
            <a:noAutofit/>
          </a:bodyPr>
          <a:lstStyle>
            <a:lvl1pPr marL="0" indent="0" algn="l">
              <a:buNone/>
              <a:defRPr sz="2400">
                <a:solidFill>
                  <a:srgbClr val="152A96"/>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2" name="Graphic 9">
            <a:extLst>
              <a:ext uri="{FF2B5EF4-FFF2-40B4-BE49-F238E27FC236}">
                <a16:creationId xmlns:a16="http://schemas.microsoft.com/office/drawing/2014/main" id="{B9F435A7-80E4-AA65-EC55-790B3F3441B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543414">
            <a:off x="8816677" y="5123350"/>
            <a:ext cx="3469596" cy="2236846"/>
          </a:xfrm>
          <a:prstGeom prst="rect">
            <a:avLst/>
          </a:prstGeom>
        </p:spPr>
      </p:pic>
      <p:pic>
        <p:nvPicPr>
          <p:cNvPr id="4" name="Graphic 18">
            <a:extLst>
              <a:ext uri="{FF2B5EF4-FFF2-40B4-BE49-F238E27FC236}">
                <a16:creationId xmlns:a16="http://schemas.microsoft.com/office/drawing/2014/main" id="{41E79250-44A5-8831-F1EE-CFB43631035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6200000">
            <a:off x="8859911" y="2396167"/>
            <a:ext cx="4414875" cy="971490"/>
          </a:xfrm>
          <a:prstGeom prst="rect">
            <a:avLst/>
          </a:prstGeom>
        </p:spPr>
      </p:pic>
    </p:spTree>
    <p:extLst>
      <p:ext uri="{BB962C8B-B14F-4D97-AF65-F5344CB8AC3E}">
        <p14:creationId xmlns:p14="http://schemas.microsoft.com/office/powerpoint/2010/main" val="638595671"/>
      </p:ext>
    </p:extLst>
  </p:cSld>
  <p:clrMapOvr>
    <a:masterClrMapping/>
  </p:clrMapOvr>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87ACCB-33D5-4661-BBEB-BDD6B4E5BD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587ACCB-33D5-4661-BBEB-BDD6B4E5B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466749" y="386841"/>
            <a:ext cx="11258525" cy="482600"/>
          </a:xfrm>
          <a:prstGeom prst="rect">
            <a:avLst/>
          </a:prstGeom>
        </p:spPr>
        <p:txBody>
          <a:bodyPr vert="horz" lIns="0" tIns="0" rIns="0" bIns="0">
            <a:noAutofit/>
          </a:bodyPr>
          <a:lstStyle>
            <a:lvl1pPr rtl="0">
              <a:defRPr>
                <a:latin typeface="+mj-lt"/>
                <a:ea typeface="+mj-ea"/>
                <a:cs typeface="+mj-cs"/>
                <a:sym typeface="Trebuchet MS" panose="020B0603020202020204" pitchFamily="34" charset="0"/>
              </a:defRPr>
            </a:lvl1pPr>
          </a:lstStyle>
          <a:p>
            <a:r>
              <a:rPr lang="fi-FI"/>
              <a:t>Click to add title</a:t>
            </a:r>
          </a:p>
        </p:txBody>
      </p:sp>
      <p:sp>
        <p:nvSpPr>
          <p:cNvPr id="17" name="Google Shape;32;p23">
            <a:extLst>
              <a:ext uri="{FF2B5EF4-FFF2-40B4-BE49-F238E27FC236}">
                <a16:creationId xmlns:a16="http://schemas.microsoft.com/office/drawing/2014/main" id="{42D9AA39-E443-4F62-A733-F200D8CEDF17}"/>
              </a:ext>
            </a:extLst>
          </p:cNvPr>
          <p:cNvSpPr/>
          <p:nvPr/>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i-FI" sz="1800">
              <a:solidFill>
                <a:schemeClr val="lt1"/>
              </a:solidFill>
              <a:latin typeface="+mn-lt"/>
              <a:ea typeface="+mn-ea"/>
              <a:cs typeface="+mn-cs"/>
              <a:sym typeface="Calibri"/>
            </a:endParaRPr>
          </a:p>
        </p:txBody>
      </p:sp>
      <p:sp>
        <p:nvSpPr>
          <p:cNvPr id="9" name="Date Placeholder 3">
            <a:extLst>
              <a:ext uri="{FF2B5EF4-FFF2-40B4-BE49-F238E27FC236}">
                <a16:creationId xmlns:a16="http://schemas.microsoft.com/office/drawing/2014/main" id="{A79796A2-7307-4B16-8823-FC72BBA487DB}"/>
              </a:ext>
            </a:extLst>
          </p:cNvPr>
          <p:cNvSpPr>
            <a:spLocks noGrp="1"/>
          </p:cNvSpPr>
          <p:nvPr>
            <p:ph type="dt" sz="half" idx="2"/>
          </p:nvPr>
        </p:nvSpPr>
        <p:spPr>
          <a:xfrm>
            <a:off x="9677400" y="6649583"/>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fi-FI" dirty="0"/>
          </a:p>
        </p:txBody>
      </p:sp>
      <p:pic>
        <p:nvPicPr>
          <p:cNvPr id="10" name="Picture 9">
            <a:extLst>
              <a:ext uri="{FF2B5EF4-FFF2-40B4-BE49-F238E27FC236}">
                <a16:creationId xmlns:a16="http://schemas.microsoft.com/office/drawing/2014/main" id="{DCA30797-8CAC-4B7B-AB23-900AB060AE9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9915892" y="6309976"/>
            <a:ext cx="1628409" cy="267966"/>
          </a:xfrm>
          <a:prstGeom prst="rect">
            <a:avLst/>
          </a:prstGeom>
        </p:spPr>
      </p:pic>
    </p:spTree>
    <p:extLst>
      <p:ext uri="{BB962C8B-B14F-4D97-AF65-F5344CB8AC3E}">
        <p14:creationId xmlns:p14="http://schemas.microsoft.com/office/powerpoint/2010/main" val="945444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1_blank_logo">
    <p:bg>
      <p:bgPr>
        <a:solidFill>
          <a:schemeClr val="bg1"/>
        </a:solidFill>
        <a:effectLst/>
      </p:bgPr>
    </p:bg>
    <p:spTree>
      <p:nvGrpSpPr>
        <p:cNvPr id="1" name=""/>
        <p:cNvGrpSpPr/>
        <p:nvPr/>
      </p:nvGrpSpPr>
      <p:grpSpPr>
        <a:xfrm>
          <a:off x="0" y="0"/>
          <a:ext cx="0" cy="0"/>
          <a:chOff x="0" y="0"/>
          <a:chExt cx="0" cy="0"/>
        </a:xfrm>
      </p:grpSpPr>
      <p:sp>
        <p:nvSpPr>
          <p:cNvPr id="6" name="Google Shape;32;p23">
            <a:extLst>
              <a:ext uri="{FF2B5EF4-FFF2-40B4-BE49-F238E27FC236}">
                <a16:creationId xmlns:a16="http://schemas.microsoft.com/office/drawing/2014/main" id="{EE6F9AC4-BA2F-E347-647D-2C8E62FC7DE0}"/>
              </a:ext>
            </a:extLst>
          </p:cNvPr>
          <p:cNvSpPr/>
          <p:nvPr/>
        </p:nvSpPr>
        <p:spPr>
          <a:xfrm>
            <a:off x="0" y="0"/>
            <a:ext cx="12192000" cy="231648"/>
          </a:xfrm>
          <a:prstGeom prst="rect">
            <a:avLst/>
          </a:prstGeom>
          <a:solidFill>
            <a:schemeClr val="tx2"/>
          </a:solidFill>
          <a:ln>
            <a:noFill/>
          </a:ln>
        </p:spPr>
        <p:txBody>
          <a:bodyPr spcFirstLastPara="1" wrap="square" lIns="91425" tIns="45700" rIns="91425" bIns="45700" anchor="ctr" anchorCtr="0">
            <a:noAutofit/>
          </a:bodyPr>
          <a:lstStyle/>
          <a:p>
            <a:pPr marR="0" lvl="0" indent="0" algn="ctr">
              <a:spcBef>
                <a:spcPts val="0"/>
              </a:spcBef>
              <a:spcAft>
                <a:spcPts val="0"/>
              </a:spcAft>
              <a:buNone/>
            </a:pPr>
            <a:endParaRPr lang="fi-FI">
              <a:solidFill>
                <a:schemeClr val="lt1"/>
              </a:solidFill>
              <a:sym typeface="Calibri"/>
            </a:endParaRPr>
          </a:p>
        </p:txBody>
      </p:sp>
      <p:graphicFrame>
        <p:nvGraphicFramePr>
          <p:cNvPr id="4" name="Object 3" hidden="1">
            <a:extLst>
              <a:ext uri="{FF2B5EF4-FFF2-40B4-BE49-F238E27FC236}">
                <a16:creationId xmlns:a16="http://schemas.microsoft.com/office/drawing/2014/main" id="{9395EBC7-C825-45B0-A712-60B603D40A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9395EBC7-C825-45B0-A712-60B603D40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blue letters on a black background&#10;&#10;Description automatically generated">
            <a:extLst>
              <a:ext uri="{FF2B5EF4-FFF2-40B4-BE49-F238E27FC236}">
                <a16:creationId xmlns:a16="http://schemas.microsoft.com/office/drawing/2014/main" id="{A06D018F-F123-CB01-91DA-D027EE03D24C}"/>
              </a:ext>
            </a:extLst>
          </p:cNvPr>
          <p:cNvPicPr>
            <a:picLocks noChangeAspect="1"/>
          </p:cNvPicPr>
          <p:nvPr/>
        </p:nvPicPr>
        <p:blipFill>
          <a:blip r:embed="rId5"/>
          <a:stretch>
            <a:fillRect/>
          </a:stretch>
        </p:blipFill>
        <p:spPr>
          <a:xfrm>
            <a:off x="10307937" y="6228261"/>
            <a:ext cx="1440000" cy="304460"/>
          </a:xfrm>
          <a:prstGeom prst="rect">
            <a:avLst/>
          </a:prstGeom>
        </p:spPr>
      </p:pic>
      <p:pic>
        <p:nvPicPr>
          <p:cNvPr id="3" name="Picture 2">
            <a:extLst>
              <a:ext uri="{FF2B5EF4-FFF2-40B4-BE49-F238E27FC236}">
                <a16:creationId xmlns:a16="http://schemas.microsoft.com/office/drawing/2014/main" id="{F2B0F2C4-F5BB-C53C-AFA1-463BDFA4137B}"/>
              </a:ext>
            </a:extLst>
          </p:cNvPr>
          <p:cNvPicPr>
            <a:picLocks noChangeAspect="1"/>
          </p:cNvPicPr>
          <p:nvPr/>
        </p:nvPicPr>
        <p:blipFill>
          <a:blip r:embed="rId6">
            <a:alphaModFix/>
          </a:blip>
          <a:srcRect b="22015"/>
          <a:stretch>
            <a:fillRect/>
          </a:stretch>
        </p:blipFill>
        <p:spPr>
          <a:xfrm>
            <a:off x="9936033" y="6082282"/>
            <a:ext cx="2040850" cy="450440"/>
          </a:xfrm>
          <a:prstGeom prst="rect">
            <a:avLst/>
          </a:prstGeom>
        </p:spPr>
      </p:pic>
    </p:spTree>
    <p:extLst>
      <p:ext uri="{BB962C8B-B14F-4D97-AF65-F5344CB8AC3E}">
        <p14:creationId xmlns:p14="http://schemas.microsoft.com/office/powerpoint/2010/main" val="1700973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Otsikkodia 2">
    <p:bg>
      <p:bgPr>
        <a:solidFill>
          <a:schemeClr val="bg1"/>
        </a:solidFill>
        <a:effectLst/>
      </p:bgPr>
    </p:bg>
    <p:spTree>
      <p:nvGrpSpPr>
        <p:cNvPr id="1" name=""/>
        <p:cNvGrpSpPr/>
        <p:nvPr/>
      </p:nvGrpSpPr>
      <p:grpSpPr>
        <a:xfrm>
          <a:off x="0" y="0"/>
          <a:ext cx="0" cy="0"/>
          <a:chOff x="0" y="0"/>
          <a:chExt cx="0" cy="0"/>
        </a:xfrm>
      </p:grpSpPr>
      <p:sp>
        <p:nvSpPr>
          <p:cNvPr id="7" name="Freeform 3">
            <a:extLst>
              <a:ext uri="{FF2B5EF4-FFF2-40B4-BE49-F238E27FC236}">
                <a16:creationId xmlns:a16="http://schemas.microsoft.com/office/drawing/2014/main" id="{87460AD4-5D65-3E4B-A9F5-9F03C8258736}"/>
              </a:ext>
            </a:extLst>
          </p:cNvPr>
          <p:cNvSpPr>
            <a:spLocks noChangeArrowheads="1"/>
          </p:cNvSpPr>
          <p:nvPr userDrawn="1"/>
        </p:nvSpPr>
        <p:spPr bwMode="auto">
          <a:xfrm>
            <a:off x="2656878" y="4434195"/>
            <a:ext cx="9540496" cy="2430563"/>
          </a:xfrm>
          <a:custGeom>
            <a:avLst/>
            <a:gdLst>
              <a:gd name="T0" fmla="*/ 0 w 15878"/>
              <a:gd name="T1" fmla="*/ 4354 h 4355"/>
              <a:gd name="T2" fmla="*/ 15877 w 15878"/>
              <a:gd name="T3" fmla="*/ 4354 h 4355"/>
              <a:gd name="T4" fmla="*/ 15877 w 15878"/>
              <a:gd name="T5" fmla="*/ 0 h 4355"/>
              <a:gd name="T6" fmla="*/ 0 w 15878"/>
              <a:gd name="T7" fmla="*/ 4354 h 4355"/>
              <a:gd name="connsiteX0" fmla="*/ 0 w 9999"/>
              <a:gd name="connsiteY0" fmla="*/ 12270 h 12270"/>
              <a:gd name="connsiteX1" fmla="*/ 9999 w 9999"/>
              <a:gd name="connsiteY1" fmla="*/ 12270 h 12270"/>
              <a:gd name="connsiteX2" fmla="*/ 9982 w 9999"/>
              <a:gd name="connsiteY2" fmla="*/ 0 h 12270"/>
              <a:gd name="connsiteX3" fmla="*/ 0 w 9999"/>
              <a:gd name="connsiteY3" fmla="*/ 12270 h 12270"/>
              <a:gd name="connsiteX0" fmla="*/ 0 w 10000"/>
              <a:gd name="connsiteY0" fmla="*/ 9974 h 9974"/>
              <a:gd name="connsiteX1" fmla="*/ 10000 w 10000"/>
              <a:gd name="connsiteY1" fmla="*/ 9974 h 9974"/>
              <a:gd name="connsiteX2" fmla="*/ 9996 w 10000"/>
              <a:gd name="connsiteY2" fmla="*/ 0 h 9974"/>
              <a:gd name="connsiteX3" fmla="*/ 0 w 10000"/>
              <a:gd name="connsiteY3" fmla="*/ 9974 h 9974"/>
              <a:gd name="connsiteX0" fmla="*/ 0 w 10000"/>
              <a:gd name="connsiteY0" fmla="*/ 10000 h 10000"/>
              <a:gd name="connsiteX1" fmla="*/ 10000 w 10000"/>
              <a:gd name="connsiteY1" fmla="*/ 10000 h 10000"/>
              <a:gd name="connsiteX2" fmla="*/ 9996 w 10000"/>
              <a:gd name="connsiteY2" fmla="*/ 0 h 10000"/>
              <a:gd name="connsiteX3" fmla="*/ 0 w 10000"/>
              <a:gd name="connsiteY3" fmla="*/ 10000 h 10000"/>
              <a:gd name="connsiteX0" fmla="*/ 0 w 10000"/>
              <a:gd name="connsiteY0" fmla="*/ 10000 h 10000"/>
              <a:gd name="connsiteX1" fmla="*/ 10000 w 10000"/>
              <a:gd name="connsiteY1" fmla="*/ 10000 h 10000"/>
              <a:gd name="connsiteX2" fmla="*/ 9996 w 10000"/>
              <a:gd name="connsiteY2" fmla="*/ 0 h 10000"/>
              <a:gd name="connsiteX3" fmla="*/ 0 w 10000"/>
              <a:gd name="connsiteY3" fmla="*/ 10000 h 10000"/>
              <a:gd name="connsiteX0" fmla="*/ 0 w 10000"/>
              <a:gd name="connsiteY0" fmla="*/ 10000 h 10000"/>
              <a:gd name="connsiteX1" fmla="*/ 10000 w 10000"/>
              <a:gd name="connsiteY1" fmla="*/ 10000 h 10000"/>
              <a:gd name="connsiteX2" fmla="*/ 9996 w 10000"/>
              <a:gd name="connsiteY2" fmla="*/ 0 h 10000"/>
              <a:gd name="connsiteX3" fmla="*/ 0 w 10000"/>
              <a:gd name="connsiteY3" fmla="*/ 10000 h 10000"/>
              <a:gd name="connsiteX0" fmla="*/ 0 w 10000"/>
              <a:gd name="connsiteY0" fmla="*/ 10000 h 10000"/>
              <a:gd name="connsiteX1" fmla="*/ 10000 w 10000"/>
              <a:gd name="connsiteY1" fmla="*/ 10000 h 10000"/>
              <a:gd name="connsiteX2" fmla="*/ 9996 w 10000"/>
              <a:gd name="connsiteY2" fmla="*/ 0 h 10000"/>
              <a:gd name="connsiteX3" fmla="*/ 0 w 10000"/>
              <a:gd name="connsiteY3" fmla="*/ 10000 h 10000"/>
              <a:gd name="connsiteX0" fmla="*/ 0 w 10000"/>
              <a:gd name="connsiteY0" fmla="*/ 10000 h 10000"/>
              <a:gd name="connsiteX1" fmla="*/ 10000 w 10000"/>
              <a:gd name="connsiteY1" fmla="*/ 10000 h 10000"/>
              <a:gd name="connsiteX2" fmla="*/ 9996 w 10000"/>
              <a:gd name="connsiteY2" fmla="*/ 0 h 10000"/>
              <a:gd name="connsiteX3" fmla="*/ 0 w 10000"/>
              <a:gd name="connsiteY3" fmla="*/ 10000 h 10000"/>
              <a:gd name="connsiteX0" fmla="*/ 0 w 10000"/>
              <a:gd name="connsiteY0" fmla="*/ 10000 h 10000"/>
              <a:gd name="connsiteX1" fmla="*/ 10000 w 10000"/>
              <a:gd name="connsiteY1" fmla="*/ 10000 h 10000"/>
              <a:gd name="connsiteX2" fmla="*/ 9996 w 10000"/>
              <a:gd name="connsiteY2" fmla="*/ 0 h 10000"/>
              <a:gd name="connsiteX3" fmla="*/ 0 w 10000"/>
              <a:gd name="connsiteY3" fmla="*/ 10000 h 10000"/>
              <a:gd name="connsiteX0" fmla="*/ 0 w 10000"/>
              <a:gd name="connsiteY0" fmla="*/ 10000 h 10000"/>
              <a:gd name="connsiteX1" fmla="*/ 10000 w 10000"/>
              <a:gd name="connsiteY1" fmla="*/ 10000 h 10000"/>
              <a:gd name="connsiteX2" fmla="*/ 9996 w 10000"/>
              <a:gd name="connsiteY2" fmla="*/ 0 h 10000"/>
              <a:gd name="connsiteX3" fmla="*/ 0 w 10000"/>
              <a:gd name="connsiteY3" fmla="*/ 10000 h 10000"/>
            </a:gdLst>
            <a:ahLst/>
            <a:cxnLst>
              <a:cxn ang="0">
                <a:pos x="connsiteX0" y="connsiteY0"/>
              </a:cxn>
              <a:cxn ang="0">
                <a:pos x="connsiteX1" y="connsiteY1"/>
              </a:cxn>
              <a:cxn ang="0">
                <a:pos x="connsiteX2" y="connsiteY2"/>
              </a:cxn>
              <a:cxn ang="0">
                <a:pos x="connsiteX3" y="connsiteY3"/>
              </a:cxn>
            </a:cxnLst>
            <a:rect l="l" t="t" r="r" b="b"/>
            <a:pathLst>
              <a:path w="10000" h="10000">
                <a:moveTo>
                  <a:pt x="0" y="10000"/>
                </a:moveTo>
                <a:lnTo>
                  <a:pt x="10000" y="10000"/>
                </a:lnTo>
                <a:cubicBezTo>
                  <a:pt x="9994" y="6658"/>
                  <a:pt x="9998" y="5000"/>
                  <a:pt x="9996" y="0"/>
                </a:cubicBezTo>
                <a:cubicBezTo>
                  <a:pt x="7133" y="1926"/>
                  <a:pt x="8012" y="983"/>
                  <a:pt x="0" y="10000"/>
                </a:cubicBezTo>
              </a:path>
            </a:pathLst>
          </a:custGeom>
          <a:solidFill>
            <a:srgbClr val="3C8EDE"/>
          </a:solidFill>
          <a:ln>
            <a:noFill/>
          </a:ln>
          <a:effectLst/>
        </p:spPr>
        <p:txBody>
          <a:bodyPr wrap="none" anchor="ctr"/>
          <a:lstStyle/>
          <a:p>
            <a:endParaRPr lang="en-US" sz="2400" dirty="0"/>
          </a:p>
        </p:txBody>
      </p:sp>
      <p:sp>
        <p:nvSpPr>
          <p:cNvPr id="9" name="Freeform 2">
            <a:extLst>
              <a:ext uri="{FF2B5EF4-FFF2-40B4-BE49-F238E27FC236}">
                <a16:creationId xmlns:a16="http://schemas.microsoft.com/office/drawing/2014/main" id="{2F54EBFF-BFDB-3042-92E3-91F84A10E6D0}"/>
              </a:ext>
            </a:extLst>
          </p:cNvPr>
          <p:cNvSpPr>
            <a:spLocks noChangeArrowheads="1"/>
          </p:cNvSpPr>
          <p:nvPr userDrawn="1"/>
        </p:nvSpPr>
        <p:spPr bwMode="auto">
          <a:xfrm>
            <a:off x="0" y="0"/>
            <a:ext cx="12197998" cy="6869621"/>
          </a:xfrm>
          <a:custGeom>
            <a:avLst/>
            <a:gdLst>
              <a:gd name="T0" fmla="*/ 0 w 20326"/>
              <a:gd name="T1" fmla="*/ 2207 h 15239"/>
              <a:gd name="T2" fmla="*/ 4416 w 20326"/>
              <a:gd name="T3" fmla="*/ 15238 h 15239"/>
              <a:gd name="T4" fmla="*/ 20325 w 20326"/>
              <a:gd name="T5" fmla="*/ 10878 h 15239"/>
              <a:gd name="T6" fmla="*/ 20325 w 20326"/>
              <a:gd name="T7" fmla="*/ 0 h 15239"/>
              <a:gd name="T8" fmla="*/ 0 w 20326"/>
              <a:gd name="T9" fmla="*/ 0 h 15239"/>
              <a:gd name="T10" fmla="*/ 0 w 20326"/>
              <a:gd name="T11" fmla="*/ 2207 h 15239"/>
              <a:gd name="connsiteX0" fmla="*/ 0 w 20336"/>
              <a:gd name="connsiteY0" fmla="*/ 2207 h 15238"/>
              <a:gd name="connsiteX1" fmla="*/ 4416 w 20336"/>
              <a:gd name="connsiteY1" fmla="*/ 15238 h 15238"/>
              <a:gd name="connsiteX2" fmla="*/ 20336 w 20336"/>
              <a:gd name="connsiteY2" fmla="*/ 10607 h 15238"/>
              <a:gd name="connsiteX3" fmla="*/ 20325 w 20336"/>
              <a:gd name="connsiteY3" fmla="*/ 0 h 15238"/>
              <a:gd name="connsiteX4" fmla="*/ 0 w 20336"/>
              <a:gd name="connsiteY4" fmla="*/ 0 h 15238"/>
              <a:gd name="connsiteX5" fmla="*/ 0 w 20336"/>
              <a:gd name="connsiteY5" fmla="*/ 2207 h 15238"/>
              <a:gd name="connsiteX0" fmla="*/ 0 w 20326"/>
              <a:gd name="connsiteY0" fmla="*/ 2207 h 15238"/>
              <a:gd name="connsiteX1" fmla="*/ 4416 w 20326"/>
              <a:gd name="connsiteY1" fmla="*/ 15238 h 15238"/>
              <a:gd name="connsiteX2" fmla="*/ 20325 w 20326"/>
              <a:gd name="connsiteY2" fmla="*/ 10276 h 15238"/>
              <a:gd name="connsiteX3" fmla="*/ 20325 w 20326"/>
              <a:gd name="connsiteY3" fmla="*/ 0 h 15238"/>
              <a:gd name="connsiteX4" fmla="*/ 0 w 20326"/>
              <a:gd name="connsiteY4" fmla="*/ 0 h 15238"/>
              <a:gd name="connsiteX5" fmla="*/ 0 w 20326"/>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36"/>
              <a:gd name="connsiteY0" fmla="*/ 2207 h 15238"/>
              <a:gd name="connsiteX1" fmla="*/ 4416 w 20336"/>
              <a:gd name="connsiteY1" fmla="*/ 15238 h 15238"/>
              <a:gd name="connsiteX2" fmla="*/ 20335 w 20336"/>
              <a:gd name="connsiteY2" fmla="*/ 9827 h 15238"/>
              <a:gd name="connsiteX3" fmla="*/ 20325 w 20336"/>
              <a:gd name="connsiteY3" fmla="*/ 0 h 15238"/>
              <a:gd name="connsiteX4" fmla="*/ 0 w 20336"/>
              <a:gd name="connsiteY4" fmla="*/ 0 h 15238"/>
              <a:gd name="connsiteX5" fmla="*/ 0 w 20336"/>
              <a:gd name="connsiteY5" fmla="*/ 2207 h 1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6" h="15238">
                <a:moveTo>
                  <a:pt x="0" y="2207"/>
                </a:moveTo>
                <a:lnTo>
                  <a:pt x="4416" y="15238"/>
                </a:lnTo>
                <a:cubicBezTo>
                  <a:pt x="20296" y="9847"/>
                  <a:pt x="4455" y="15248"/>
                  <a:pt x="20335" y="9827"/>
                </a:cubicBezTo>
                <a:cubicBezTo>
                  <a:pt x="20340" y="4899"/>
                  <a:pt x="20329" y="3536"/>
                  <a:pt x="20325" y="0"/>
                </a:cubicBezTo>
                <a:lnTo>
                  <a:pt x="0" y="0"/>
                </a:lnTo>
                <a:lnTo>
                  <a:pt x="0" y="2207"/>
                </a:lnTo>
              </a:path>
            </a:pathLst>
          </a:custGeom>
          <a:solidFill>
            <a:srgbClr val="0042A5"/>
          </a:solidFill>
          <a:ln>
            <a:noFill/>
          </a:ln>
          <a:effectLst/>
        </p:spPr>
        <p:txBody>
          <a:bodyPr wrap="none" anchor="ctr"/>
          <a:lstStyle/>
          <a:p>
            <a:r>
              <a:rPr lang="en-US" sz="2400" dirty="0"/>
              <a:t>  </a:t>
            </a:r>
          </a:p>
        </p:txBody>
      </p:sp>
      <p:sp>
        <p:nvSpPr>
          <p:cNvPr id="19" name="Freeform 1">
            <a:extLst>
              <a:ext uri="{FF2B5EF4-FFF2-40B4-BE49-F238E27FC236}">
                <a16:creationId xmlns:a16="http://schemas.microsoft.com/office/drawing/2014/main" id="{ACFDF5EB-7B72-B24C-AC5A-0ADA3E32B464}"/>
              </a:ext>
            </a:extLst>
          </p:cNvPr>
          <p:cNvSpPr>
            <a:spLocks noChangeArrowheads="1"/>
          </p:cNvSpPr>
          <p:nvPr userDrawn="1"/>
        </p:nvSpPr>
        <p:spPr bwMode="auto">
          <a:xfrm>
            <a:off x="0" y="989101"/>
            <a:ext cx="2662477" cy="5880692"/>
          </a:xfrm>
          <a:custGeom>
            <a:avLst/>
            <a:gdLst>
              <a:gd name="T0" fmla="*/ 4416 w 4419"/>
              <a:gd name="T1" fmla="*/ 13031 h 13032"/>
              <a:gd name="T2" fmla="*/ 4418 w 4419"/>
              <a:gd name="T3" fmla="*/ 13031 h 13032"/>
              <a:gd name="T4" fmla="*/ 4418 w 4419"/>
              <a:gd name="T5" fmla="*/ 13030 h 13032"/>
              <a:gd name="T6" fmla="*/ 4416 w 4419"/>
              <a:gd name="T7" fmla="*/ 13031 h 13032"/>
              <a:gd name="T8" fmla="*/ 0 w 4419"/>
              <a:gd name="T9" fmla="*/ 13031 h 13032"/>
              <a:gd name="T10" fmla="*/ 4416 w 4419"/>
              <a:gd name="T11" fmla="*/ 13031 h 13032"/>
              <a:gd name="T12" fmla="*/ 0 w 4419"/>
              <a:gd name="T13" fmla="*/ 0 h 13032"/>
              <a:gd name="T14" fmla="*/ 0 w 4419"/>
              <a:gd name="T15" fmla="*/ 13031 h 13032"/>
              <a:gd name="connsiteX0" fmla="*/ 9993 w 10045"/>
              <a:gd name="connsiteY0" fmla="*/ 9999 h 9999"/>
              <a:gd name="connsiteX1" fmla="*/ 9998 w 10045"/>
              <a:gd name="connsiteY1" fmla="*/ 9999 h 9999"/>
              <a:gd name="connsiteX2" fmla="*/ 9998 w 10045"/>
              <a:gd name="connsiteY2" fmla="*/ 9998 h 9999"/>
              <a:gd name="connsiteX3" fmla="*/ 9993 w 10045"/>
              <a:gd name="connsiteY3" fmla="*/ 9999 h 9999"/>
              <a:gd name="connsiteX4" fmla="*/ 0 w 10045"/>
              <a:gd name="connsiteY4" fmla="*/ 9999 h 9999"/>
              <a:gd name="connsiteX5" fmla="*/ 10045 w 10045"/>
              <a:gd name="connsiteY5" fmla="*/ 9999 h 9999"/>
              <a:gd name="connsiteX6" fmla="*/ 0 w 10045"/>
              <a:gd name="connsiteY6" fmla="*/ 0 h 9999"/>
              <a:gd name="connsiteX7" fmla="*/ 0 w 10045"/>
              <a:gd name="connsiteY7" fmla="*/ 9999 h 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5" h="9999">
                <a:moveTo>
                  <a:pt x="9993" y="9999"/>
                </a:moveTo>
                <a:lnTo>
                  <a:pt x="9998" y="9999"/>
                </a:lnTo>
                <a:lnTo>
                  <a:pt x="9998" y="9998"/>
                </a:lnTo>
                <a:cubicBezTo>
                  <a:pt x="9996" y="9998"/>
                  <a:pt x="9995" y="9999"/>
                  <a:pt x="9993" y="9999"/>
                </a:cubicBezTo>
                <a:close/>
                <a:moveTo>
                  <a:pt x="0" y="9999"/>
                </a:moveTo>
                <a:lnTo>
                  <a:pt x="10045" y="9999"/>
                </a:lnTo>
                <a:lnTo>
                  <a:pt x="0" y="0"/>
                </a:lnTo>
                <a:lnTo>
                  <a:pt x="0" y="9999"/>
                </a:lnTo>
                <a:close/>
              </a:path>
            </a:pathLst>
          </a:custGeom>
          <a:solidFill>
            <a:srgbClr val="84CCF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dirty="0"/>
          </a:p>
        </p:txBody>
      </p:sp>
      <p:sp>
        <p:nvSpPr>
          <p:cNvPr id="17" name="Subtitle 2">
            <a:extLst>
              <a:ext uri="{FF2B5EF4-FFF2-40B4-BE49-F238E27FC236}">
                <a16:creationId xmlns:a16="http://schemas.microsoft.com/office/drawing/2014/main" id="{299E98FE-0D44-4441-BD1D-08D09F535A63}"/>
              </a:ext>
            </a:extLst>
          </p:cNvPr>
          <p:cNvSpPr>
            <a:spLocks noGrp="1"/>
          </p:cNvSpPr>
          <p:nvPr>
            <p:ph type="subTitle" idx="1" hasCustomPrompt="1"/>
          </p:nvPr>
        </p:nvSpPr>
        <p:spPr>
          <a:xfrm>
            <a:off x="1570180" y="3714920"/>
            <a:ext cx="9297326" cy="503950"/>
          </a:xfrm>
        </p:spPr>
        <p:txBody>
          <a:bodyPr anchor="t">
            <a:normAutofit/>
          </a:bodyPr>
          <a:lstStyle>
            <a:lvl1pPr marL="0" indent="0" algn="l">
              <a:buNone/>
              <a:defRPr sz="2130">
                <a:solidFill>
                  <a:srgbClr val="FFFF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dirty="0"/>
              <a:t>Etunimi Sukunimi | Titteli ja päiväys tarvittaessa</a:t>
            </a:r>
          </a:p>
        </p:txBody>
      </p:sp>
      <p:sp>
        <p:nvSpPr>
          <p:cNvPr id="20" name="Title 19">
            <a:extLst>
              <a:ext uri="{FF2B5EF4-FFF2-40B4-BE49-F238E27FC236}">
                <a16:creationId xmlns:a16="http://schemas.microsoft.com/office/drawing/2014/main" id="{0958D1A7-938C-C046-BE50-D3399428672A}"/>
              </a:ext>
            </a:extLst>
          </p:cNvPr>
          <p:cNvSpPr>
            <a:spLocks noGrp="1"/>
          </p:cNvSpPr>
          <p:nvPr>
            <p:ph type="title" hasCustomPrompt="1"/>
          </p:nvPr>
        </p:nvSpPr>
        <p:spPr>
          <a:xfrm>
            <a:off x="1570180" y="1159565"/>
            <a:ext cx="9297326" cy="2070375"/>
          </a:xfrm>
          <a:prstGeom prst="rect">
            <a:avLst/>
          </a:prstGeom>
        </p:spPr>
        <p:txBody>
          <a:bodyPr/>
          <a:lstStyle>
            <a:lvl1pPr>
              <a:defRPr sz="6300" b="1">
                <a:solidFill>
                  <a:schemeClr val="bg1"/>
                </a:solidFill>
              </a:defRPr>
            </a:lvl1pPr>
          </a:lstStyle>
          <a:p>
            <a:r>
              <a:rPr lang="fi-FI" noProof="0" dirty="0"/>
              <a:t>OTSIKKODIA, OMA OTSIKKO TÄHÄN</a:t>
            </a:r>
          </a:p>
        </p:txBody>
      </p:sp>
      <p:pic>
        <p:nvPicPr>
          <p:cNvPr id="8" name="Picture 7">
            <a:extLst>
              <a:ext uri="{FF2B5EF4-FFF2-40B4-BE49-F238E27FC236}">
                <a16:creationId xmlns:a16="http://schemas.microsoft.com/office/drawing/2014/main" id="{796FC078-D5BE-D54B-8A0B-1A38A330A2E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223142" y="4883144"/>
            <a:ext cx="1974856" cy="1974856"/>
          </a:xfrm>
          <a:prstGeom prst="rect">
            <a:avLst/>
          </a:prstGeom>
        </p:spPr>
      </p:pic>
    </p:spTree>
    <p:extLst>
      <p:ext uri="{BB962C8B-B14F-4D97-AF65-F5344CB8AC3E}">
        <p14:creationId xmlns:p14="http://schemas.microsoft.com/office/powerpoint/2010/main" val="3690207261"/>
      </p:ext>
    </p:extLst>
  </p:cSld>
  <p:clrMapOvr>
    <a:masterClrMapping/>
  </p:clrMapOvr>
  <p:extLst>
    <p:ext uri="{DCECCB84-F9BA-43D5-87BE-67443E8EF086}">
      <p15:sldGuideLst xmlns:p15="http://schemas.microsoft.com/office/powerpoint/2012/main">
        <p15:guide id="1" orient="horz" pos="2546">
          <p15:clr>
            <a:srgbClr val="FBAE40"/>
          </p15:clr>
        </p15:guide>
        <p15:guide id="2" pos="105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cSld name="2_Otsikko ja sisältö">
    <p:spTree>
      <p:nvGrpSpPr>
        <p:cNvPr id="1" name=""/>
        <p:cNvGrpSpPr/>
        <p:nvPr/>
      </p:nvGrpSpPr>
      <p:grpSpPr>
        <a:xfrm>
          <a:off x="0" y="0"/>
          <a:ext cx="0" cy="0"/>
          <a:chOff x="0" y="0"/>
          <a:chExt cx="0" cy="0"/>
        </a:xfrm>
      </p:grpSpPr>
      <p:sp>
        <p:nvSpPr>
          <p:cNvPr id="2" name="Title 1"/>
          <p:cNvSpPr>
            <a:spLocks noGrp="1"/>
          </p:cNvSpPr>
          <p:nvPr>
            <p:ph type="title"/>
          </p:nvPr>
        </p:nvSpPr>
        <p:spPr>
          <a:xfrm>
            <a:off x="838200" y="529953"/>
            <a:ext cx="10117975" cy="995915"/>
          </a:xfrm>
          <a:prstGeom prst="rect">
            <a:avLst/>
          </a:prstGeom>
        </p:spPr>
        <p:txBody>
          <a:bodyPr/>
          <a:lstStyle>
            <a:lvl1pPr>
              <a:defRPr>
                <a:latin typeface="Arial Black"/>
                <a:cs typeface="Arial Black"/>
              </a:defRPr>
            </a:lvl1pPr>
          </a:lstStyle>
          <a:p>
            <a:r>
              <a:rPr lang="fi-FI" noProof="0"/>
              <a:t>Muokkaa ots. perustyyl. napsautt.</a:t>
            </a:r>
            <a:endParaRPr lang="fi-FI" noProof="0" dirty="0"/>
          </a:p>
        </p:txBody>
      </p:sp>
      <p:sp>
        <p:nvSpPr>
          <p:cNvPr id="3" name="Content Placeholder 2"/>
          <p:cNvSpPr>
            <a:spLocks noGrp="1"/>
          </p:cNvSpPr>
          <p:nvPr>
            <p:ph idx="1" hasCustomPrompt="1"/>
          </p:nvPr>
        </p:nvSpPr>
        <p:spPr>
          <a:xfrm>
            <a:off x="838200" y="2020186"/>
            <a:ext cx="10515600" cy="4169476"/>
          </a:xfrm>
          <a:prstGeom prst="rect">
            <a:avLst/>
          </a:prstGeom>
        </p:spPr>
        <p:txBody>
          <a:bodyPr>
            <a:noAutofit/>
          </a:bodyPr>
          <a:lstStyle>
            <a:lvl1pPr>
              <a:defRPr>
                <a:latin typeface="+mn-lt"/>
              </a:defRPr>
            </a:lvl1pPr>
            <a:lvl2pPr>
              <a:lnSpc>
                <a:spcPct val="100000"/>
              </a:lnSpc>
              <a:defRPr>
                <a:latin typeface="+mn-lt"/>
              </a:defRPr>
            </a:lvl2pPr>
            <a:lvl3pPr>
              <a:defRPr>
                <a:latin typeface="+mn-lt"/>
              </a:defRPr>
            </a:lvl3pPr>
            <a:lvl4pPr>
              <a:defRPr>
                <a:latin typeface="+mn-lt"/>
              </a:defRPr>
            </a:lvl4pPr>
            <a:lvl5pPr>
              <a:defRPr>
                <a:latin typeface="+mn-lt"/>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fi-FI" noProof="0" dirty="0"/>
          </a:p>
        </p:txBody>
      </p:sp>
      <p:sp>
        <p:nvSpPr>
          <p:cNvPr id="13" name="Kuvan paikkamerkki 14">
            <a:extLst>
              <a:ext uri="{FF2B5EF4-FFF2-40B4-BE49-F238E27FC236}">
                <a16:creationId xmlns:a16="http://schemas.microsoft.com/office/drawing/2014/main" id="{77D7D847-7E54-044B-B2DD-6791FEEB6FCD}"/>
              </a:ext>
            </a:extLst>
          </p:cNvPr>
          <p:cNvSpPr>
            <a:spLocks noGrp="1"/>
          </p:cNvSpPr>
          <p:nvPr>
            <p:ph type="pic" sz="quarter" idx="10" hasCustomPrompt="1"/>
          </p:nvPr>
        </p:nvSpPr>
        <p:spPr>
          <a:xfrm>
            <a:off x="7991061" y="5717895"/>
            <a:ext cx="3510155" cy="751752"/>
          </a:xfrm>
        </p:spPr>
        <p:txBody>
          <a:bodyPr>
            <a:noAutofit/>
          </a:bodyPr>
          <a:lstStyle>
            <a:lvl1pPr>
              <a:defRPr/>
            </a:lvl1pPr>
          </a:lstStyle>
          <a:p>
            <a:r>
              <a:rPr lang="fi-FI" dirty="0"/>
              <a:t>Lisää kumppanilogo tai tunnus</a:t>
            </a:r>
          </a:p>
        </p:txBody>
      </p:sp>
      <p:sp>
        <p:nvSpPr>
          <p:cNvPr id="4" name="Slide Number Placeholder 10">
            <a:extLst>
              <a:ext uri="{FF2B5EF4-FFF2-40B4-BE49-F238E27FC236}">
                <a16:creationId xmlns:a16="http://schemas.microsoft.com/office/drawing/2014/main" id="{CD6BEE58-A948-5757-80C7-9BABAD53493F}"/>
              </a:ext>
            </a:extLst>
          </p:cNvPr>
          <p:cNvSpPr>
            <a:spLocks noGrp="1"/>
          </p:cNvSpPr>
          <p:nvPr>
            <p:ph type="sldNum" sz="quarter" idx="4"/>
          </p:nvPr>
        </p:nvSpPr>
        <p:spPr>
          <a:xfrm>
            <a:off x="285061" y="6307589"/>
            <a:ext cx="477059" cy="365125"/>
          </a:xfrm>
          <a:prstGeom prst="rect">
            <a:avLst/>
          </a:prstGeom>
        </p:spPr>
        <p:txBody>
          <a:bodyPr vert="horz" lIns="91440" tIns="45720" rIns="91440" bIns="45720" rtlCol="0" anchor="ctr"/>
          <a:lstStyle>
            <a:lvl1pPr algn="l">
              <a:defRPr sz="900">
                <a:solidFill>
                  <a:schemeClr val="tx1"/>
                </a:solidFill>
              </a:defRPr>
            </a:lvl1pPr>
          </a:lstStyle>
          <a:p>
            <a:fld id="{6C1FA700-BC88-442A-9B5E-5EE73E41DD05}" type="slidenum">
              <a:rPr lang="fi-FI" smtClean="0"/>
              <a:t>‹#›</a:t>
            </a:fld>
            <a:endParaRPr lang="fi-FI"/>
          </a:p>
        </p:txBody>
      </p:sp>
    </p:spTree>
    <p:extLst>
      <p:ext uri="{BB962C8B-B14F-4D97-AF65-F5344CB8AC3E}">
        <p14:creationId xmlns:p14="http://schemas.microsoft.com/office/powerpoint/2010/main" val="30908523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Otsikkodia 1">
    <p:bg>
      <p:bgPr>
        <a:solidFill>
          <a:schemeClr val="bg1"/>
        </a:solidFill>
        <a:effectLst/>
      </p:bgPr>
    </p:bg>
    <p:spTree>
      <p:nvGrpSpPr>
        <p:cNvPr id="1" name=""/>
        <p:cNvGrpSpPr/>
        <p:nvPr/>
      </p:nvGrpSpPr>
      <p:grpSpPr>
        <a:xfrm>
          <a:off x="0" y="0"/>
          <a:ext cx="0" cy="0"/>
          <a:chOff x="0" y="0"/>
          <a:chExt cx="0" cy="0"/>
        </a:xfrm>
      </p:grpSpPr>
      <p:sp>
        <p:nvSpPr>
          <p:cNvPr id="9" name="Freeform 2">
            <a:extLst>
              <a:ext uri="{FF2B5EF4-FFF2-40B4-BE49-F238E27FC236}">
                <a16:creationId xmlns:a16="http://schemas.microsoft.com/office/drawing/2014/main" id="{2F54EBFF-BFDB-3042-92E3-91F84A10E6D0}"/>
              </a:ext>
            </a:extLst>
          </p:cNvPr>
          <p:cNvSpPr>
            <a:spLocks noChangeArrowheads="1"/>
          </p:cNvSpPr>
          <p:nvPr userDrawn="1"/>
        </p:nvSpPr>
        <p:spPr bwMode="auto">
          <a:xfrm>
            <a:off x="0" y="172"/>
            <a:ext cx="12197998" cy="6869621"/>
          </a:xfrm>
          <a:custGeom>
            <a:avLst/>
            <a:gdLst>
              <a:gd name="T0" fmla="*/ 0 w 20326"/>
              <a:gd name="T1" fmla="*/ 2207 h 15239"/>
              <a:gd name="T2" fmla="*/ 4416 w 20326"/>
              <a:gd name="T3" fmla="*/ 15238 h 15239"/>
              <a:gd name="T4" fmla="*/ 20325 w 20326"/>
              <a:gd name="T5" fmla="*/ 10878 h 15239"/>
              <a:gd name="T6" fmla="*/ 20325 w 20326"/>
              <a:gd name="T7" fmla="*/ 0 h 15239"/>
              <a:gd name="T8" fmla="*/ 0 w 20326"/>
              <a:gd name="T9" fmla="*/ 0 h 15239"/>
              <a:gd name="T10" fmla="*/ 0 w 20326"/>
              <a:gd name="T11" fmla="*/ 2207 h 15239"/>
              <a:gd name="connsiteX0" fmla="*/ 0 w 20336"/>
              <a:gd name="connsiteY0" fmla="*/ 2207 h 15238"/>
              <a:gd name="connsiteX1" fmla="*/ 4416 w 20336"/>
              <a:gd name="connsiteY1" fmla="*/ 15238 h 15238"/>
              <a:gd name="connsiteX2" fmla="*/ 20336 w 20336"/>
              <a:gd name="connsiteY2" fmla="*/ 10607 h 15238"/>
              <a:gd name="connsiteX3" fmla="*/ 20325 w 20336"/>
              <a:gd name="connsiteY3" fmla="*/ 0 h 15238"/>
              <a:gd name="connsiteX4" fmla="*/ 0 w 20336"/>
              <a:gd name="connsiteY4" fmla="*/ 0 h 15238"/>
              <a:gd name="connsiteX5" fmla="*/ 0 w 20336"/>
              <a:gd name="connsiteY5" fmla="*/ 2207 h 15238"/>
              <a:gd name="connsiteX0" fmla="*/ 0 w 20326"/>
              <a:gd name="connsiteY0" fmla="*/ 2207 h 15238"/>
              <a:gd name="connsiteX1" fmla="*/ 4416 w 20326"/>
              <a:gd name="connsiteY1" fmla="*/ 15238 h 15238"/>
              <a:gd name="connsiteX2" fmla="*/ 20325 w 20326"/>
              <a:gd name="connsiteY2" fmla="*/ 10276 h 15238"/>
              <a:gd name="connsiteX3" fmla="*/ 20325 w 20326"/>
              <a:gd name="connsiteY3" fmla="*/ 0 h 15238"/>
              <a:gd name="connsiteX4" fmla="*/ 0 w 20326"/>
              <a:gd name="connsiteY4" fmla="*/ 0 h 15238"/>
              <a:gd name="connsiteX5" fmla="*/ 0 w 20326"/>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25"/>
              <a:gd name="connsiteY0" fmla="*/ 2207 h 15238"/>
              <a:gd name="connsiteX1" fmla="*/ 4416 w 20325"/>
              <a:gd name="connsiteY1" fmla="*/ 15238 h 15238"/>
              <a:gd name="connsiteX2" fmla="*/ 20314 w 20325"/>
              <a:gd name="connsiteY2" fmla="*/ 9855 h 15238"/>
              <a:gd name="connsiteX3" fmla="*/ 20325 w 20325"/>
              <a:gd name="connsiteY3" fmla="*/ 0 h 15238"/>
              <a:gd name="connsiteX4" fmla="*/ 0 w 20325"/>
              <a:gd name="connsiteY4" fmla="*/ 0 h 15238"/>
              <a:gd name="connsiteX5" fmla="*/ 0 w 20325"/>
              <a:gd name="connsiteY5" fmla="*/ 2207 h 15238"/>
              <a:gd name="connsiteX0" fmla="*/ 0 w 20336"/>
              <a:gd name="connsiteY0" fmla="*/ 2207 h 15238"/>
              <a:gd name="connsiteX1" fmla="*/ 4416 w 20336"/>
              <a:gd name="connsiteY1" fmla="*/ 15238 h 15238"/>
              <a:gd name="connsiteX2" fmla="*/ 20335 w 20336"/>
              <a:gd name="connsiteY2" fmla="*/ 9827 h 15238"/>
              <a:gd name="connsiteX3" fmla="*/ 20325 w 20336"/>
              <a:gd name="connsiteY3" fmla="*/ 0 h 15238"/>
              <a:gd name="connsiteX4" fmla="*/ 0 w 20336"/>
              <a:gd name="connsiteY4" fmla="*/ 0 h 15238"/>
              <a:gd name="connsiteX5" fmla="*/ 0 w 20336"/>
              <a:gd name="connsiteY5" fmla="*/ 2207 h 1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6" h="15238">
                <a:moveTo>
                  <a:pt x="0" y="2207"/>
                </a:moveTo>
                <a:lnTo>
                  <a:pt x="4416" y="15238"/>
                </a:lnTo>
                <a:cubicBezTo>
                  <a:pt x="20296" y="9847"/>
                  <a:pt x="4455" y="15248"/>
                  <a:pt x="20335" y="9827"/>
                </a:cubicBezTo>
                <a:cubicBezTo>
                  <a:pt x="20340" y="4899"/>
                  <a:pt x="20329" y="3536"/>
                  <a:pt x="20325" y="0"/>
                </a:cubicBezTo>
                <a:lnTo>
                  <a:pt x="0" y="0"/>
                </a:lnTo>
                <a:lnTo>
                  <a:pt x="0" y="2207"/>
                </a:lnTo>
              </a:path>
            </a:pathLst>
          </a:custGeom>
          <a:solidFill>
            <a:srgbClr val="0042A5"/>
          </a:solidFill>
          <a:ln>
            <a:noFill/>
          </a:ln>
          <a:effectLst/>
        </p:spPr>
        <p:txBody>
          <a:bodyPr wrap="none" anchor="ctr"/>
          <a:lstStyle/>
          <a:p>
            <a:r>
              <a:rPr lang="en-US" sz="2400" dirty="0"/>
              <a:t>  </a:t>
            </a:r>
          </a:p>
        </p:txBody>
      </p:sp>
      <p:pic>
        <p:nvPicPr>
          <p:cNvPr id="18" name="Picture 17">
            <a:extLst>
              <a:ext uri="{FF2B5EF4-FFF2-40B4-BE49-F238E27FC236}">
                <a16:creationId xmlns:a16="http://schemas.microsoft.com/office/drawing/2014/main" id="{B66364AA-3D0C-194B-8971-A7B6D22E904F}"/>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223142" y="4883144"/>
            <a:ext cx="1974856" cy="1974856"/>
          </a:xfrm>
          <a:prstGeom prst="rect">
            <a:avLst/>
          </a:prstGeom>
        </p:spPr>
      </p:pic>
      <p:sp>
        <p:nvSpPr>
          <p:cNvPr id="19" name="Freeform 1">
            <a:extLst>
              <a:ext uri="{FF2B5EF4-FFF2-40B4-BE49-F238E27FC236}">
                <a16:creationId xmlns:a16="http://schemas.microsoft.com/office/drawing/2014/main" id="{ACFDF5EB-7B72-B24C-AC5A-0ADA3E32B464}"/>
              </a:ext>
            </a:extLst>
          </p:cNvPr>
          <p:cNvSpPr>
            <a:spLocks noChangeArrowheads="1"/>
          </p:cNvSpPr>
          <p:nvPr userDrawn="1"/>
        </p:nvSpPr>
        <p:spPr bwMode="auto">
          <a:xfrm>
            <a:off x="0" y="989101"/>
            <a:ext cx="2662477" cy="5880692"/>
          </a:xfrm>
          <a:custGeom>
            <a:avLst/>
            <a:gdLst>
              <a:gd name="T0" fmla="*/ 4416 w 4419"/>
              <a:gd name="T1" fmla="*/ 13031 h 13032"/>
              <a:gd name="T2" fmla="*/ 4418 w 4419"/>
              <a:gd name="T3" fmla="*/ 13031 h 13032"/>
              <a:gd name="T4" fmla="*/ 4418 w 4419"/>
              <a:gd name="T5" fmla="*/ 13030 h 13032"/>
              <a:gd name="T6" fmla="*/ 4416 w 4419"/>
              <a:gd name="T7" fmla="*/ 13031 h 13032"/>
              <a:gd name="T8" fmla="*/ 0 w 4419"/>
              <a:gd name="T9" fmla="*/ 13031 h 13032"/>
              <a:gd name="T10" fmla="*/ 4416 w 4419"/>
              <a:gd name="T11" fmla="*/ 13031 h 13032"/>
              <a:gd name="T12" fmla="*/ 0 w 4419"/>
              <a:gd name="T13" fmla="*/ 0 h 13032"/>
              <a:gd name="T14" fmla="*/ 0 w 4419"/>
              <a:gd name="T15" fmla="*/ 13031 h 13032"/>
              <a:gd name="connsiteX0" fmla="*/ 9993 w 10045"/>
              <a:gd name="connsiteY0" fmla="*/ 9999 h 9999"/>
              <a:gd name="connsiteX1" fmla="*/ 9998 w 10045"/>
              <a:gd name="connsiteY1" fmla="*/ 9999 h 9999"/>
              <a:gd name="connsiteX2" fmla="*/ 9998 w 10045"/>
              <a:gd name="connsiteY2" fmla="*/ 9998 h 9999"/>
              <a:gd name="connsiteX3" fmla="*/ 9993 w 10045"/>
              <a:gd name="connsiteY3" fmla="*/ 9999 h 9999"/>
              <a:gd name="connsiteX4" fmla="*/ 0 w 10045"/>
              <a:gd name="connsiteY4" fmla="*/ 9999 h 9999"/>
              <a:gd name="connsiteX5" fmla="*/ 10045 w 10045"/>
              <a:gd name="connsiteY5" fmla="*/ 9999 h 9999"/>
              <a:gd name="connsiteX6" fmla="*/ 0 w 10045"/>
              <a:gd name="connsiteY6" fmla="*/ 0 h 9999"/>
              <a:gd name="connsiteX7" fmla="*/ 0 w 10045"/>
              <a:gd name="connsiteY7" fmla="*/ 9999 h 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5" h="9999">
                <a:moveTo>
                  <a:pt x="9993" y="9999"/>
                </a:moveTo>
                <a:lnTo>
                  <a:pt x="9998" y="9999"/>
                </a:lnTo>
                <a:lnTo>
                  <a:pt x="9998" y="9998"/>
                </a:lnTo>
                <a:cubicBezTo>
                  <a:pt x="9996" y="9998"/>
                  <a:pt x="9995" y="9999"/>
                  <a:pt x="9993" y="9999"/>
                </a:cubicBezTo>
                <a:close/>
                <a:moveTo>
                  <a:pt x="0" y="9999"/>
                </a:moveTo>
                <a:lnTo>
                  <a:pt x="10045" y="9999"/>
                </a:lnTo>
                <a:lnTo>
                  <a:pt x="0" y="0"/>
                </a:lnTo>
                <a:lnTo>
                  <a:pt x="0" y="9999"/>
                </a:lnTo>
                <a:close/>
              </a:path>
            </a:pathLst>
          </a:custGeom>
          <a:solidFill>
            <a:srgbClr val="84CCF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dirty="0"/>
          </a:p>
        </p:txBody>
      </p:sp>
      <p:sp>
        <p:nvSpPr>
          <p:cNvPr id="17" name="Subtitle 2">
            <a:extLst>
              <a:ext uri="{FF2B5EF4-FFF2-40B4-BE49-F238E27FC236}">
                <a16:creationId xmlns:a16="http://schemas.microsoft.com/office/drawing/2014/main" id="{299E98FE-0D44-4441-BD1D-08D09F535A63}"/>
              </a:ext>
            </a:extLst>
          </p:cNvPr>
          <p:cNvSpPr>
            <a:spLocks noGrp="1"/>
          </p:cNvSpPr>
          <p:nvPr>
            <p:ph type="subTitle" idx="1" hasCustomPrompt="1"/>
          </p:nvPr>
        </p:nvSpPr>
        <p:spPr>
          <a:xfrm>
            <a:off x="1570180" y="3714920"/>
            <a:ext cx="9297326" cy="503950"/>
          </a:xfrm>
        </p:spPr>
        <p:txBody>
          <a:bodyPr anchor="t">
            <a:normAutofit/>
          </a:bodyPr>
          <a:lstStyle>
            <a:lvl1pPr marL="0" indent="0" algn="l">
              <a:buNone/>
              <a:defRPr sz="2130">
                <a:solidFill>
                  <a:srgbClr val="FFFF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Etunimi Sukunimi | Titteli ja päiväys tarvittaessa</a:t>
            </a:r>
            <a:endParaRPr lang="en-US" dirty="0"/>
          </a:p>
        </p:txBody>
      </p:sp>
      <p:sp>
        <p:nvSpPr>
          <p:cNvPr id="20" name="Title 19">
            <a:extLst>
              <a:ext uri="{FF2B5EF4-FFF2-40B4-BE49-F238E27FC236}">
                <a16:creationId xmlns:a16="http://schemas.microsoft.com/office/drawing/2014/main" id="{0958D1A7-938C-C046-BE50-D3399428672A}"/>
              </a:ext>
            </a:extLst>
          </p:cNvPr>
          <p:cNvSpPr>
            <a:spLocks noGrp="1"/>
          </p:cNvSpPr>
          <p:nvPr>
            <p:ph type="title" hasCustomPrompt="1"/>
          </p:nvPr>
        </p:nvSpPr>
        <p:spPr>
          <a:xfrm>
            <a:off x="1570180" y="1159565"/>
            <a:ext cx="9297326" cy="2070375"/>
          </a:xfrm>
          <a:prstGeom prst="rect">
            <a:avLst/>
          </a:prstGeom>
        </p:spPr>
        <p:txBody>
          <a:bodyPr/>
          <a:lstStyle>
            <a:lvl1pPr>
              <a:defRPr sz="6300" b="1">
                <a:solidFill>
                  <a:schemeClr val="bg1"/>
                </a:solidFill>
              </a:defRPr>
            </a:lvl1pPr>
          </a:lstStyle>
          <a:p>
            <a:r>
              <a:rPr lang="fi-FI" noProof="0" dirty="0"/>
              <a:t>OTSIKKODIA, OMA OTSIKKO TÄHÄN</a:t>
            </a:r>
          </a:p>
        </p:txBody>
      </p:sp>
    </p:spTree>
    <p:extLst>
      <p:ext uri="{BB962C8B-B14F-4D97-AF65-F5344CB8AC3E}">
        <p14:creationId xmlns:p14="http://schemas.microsoft.com/office/powerpoint/2010/main" val="3176156781"/>
      </p:ext>
    </p:extLst>
  </p:cSld>
  <p:clrMapOvr>
    <a:masterClrMapping/>
  </p:clrMapOvr>
  <p:extLst>
    <p:ext uri="{DCECCB84-F9BA-43D5-87BE-67443E8EF086}">
      <p15:sldGuideLst xmlns:p15="http://schemas.microsoft.com/office/powerpoint/2012/main">
        <p15:guide id="1" orient="horz" pos="2546" userDrawn="1">
          <p15:clr>
            <a:srgbClr val="FBAE40"/>
          </p15:clr>
        </p15:guide>
        <p15:guide id="2" pos="1050"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Otsikkodia kuvalla">
    <p:spTree>
      <p:nvGrpSpPr>
        <p:cNvPr id="1" name=""/>
        <p:cNvGrpSpPr/>
        <p:nvPr/>
      </p:nvGrpSpPr>
      <p:grpSpPr>
        <a:xfrm>
          <a:off x="0" y="0"/>
          <a:ext cx="0" cy="0"/>
          <a:chOff x="0" y="0"/>
          <a:chExt cx="0" cy="0"/>
        </a:xfrm>
      </p:grpSpPr>
      <p:pic>
        <p:nvPicPr>
          <p:cNvPr id="24" name="Picture 23" descr="Tausta_valokuva_1.jpg">
            <a:extLst>
              <a:ext uri="{FF2B5EF4-FFF2-40B4-BE49-F238E27FC236}">
                <a16:creationId xmlns:a16="http://schemas.microsoft.com/office/drawing/2014/main" id="{A61B3781-206D-4548-9C85-6F0858515E7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4984"/>
          <a:stretch/>
        </p:blipFill>
        <p:spPr>
          <a:xfrm>
            <a:off x="0" y="0"/>
            <a:ext cx="12189359" cy="6858000"/>
          </a:xfrm>
          <a:prstGeom prst="rect">
            <a:avLst/>
          </a:prstGeom>
        </p:spPr>
      </p:pic>
      <p:sp>
        <p:nvSpPr>
          <p:cNvPr id="25" name="Freeform 3"/>
          <p:cNvSpPr>
            <a:spLocks noChangeArrowheads="1"/>
          </p:cNvSpPr>
          <p:nvPr/>
        </p:nvSpPr>
        <p:spPr bwMode="auto">
          <a:xfrm>
            <a:off x="2663782" y="4897870"/>
            <a:ext cx="9525577" cy="1960137"/>
          </a:xfrm>
          <a:custGeom>
            <a:avLst/>
            <a:gdLst>
              <a:gd name="T0" fmla="*/ 0 w 15878"/>
              <a:gd name="T1" fmla="*/ 4354 h 4355"/>
              <a:gd name="T2" fmla="*/ 15877 w 15878"/>
              <a:gd name="T3" fmla="*/ 4354 h 4355"/>
              <a:gd name="T4" fmla="*/ 15877 w 15878"/>
              <a:gd name="T5" fmla="*/ 0 h 4355"/>
              <a:gd name="T6" fmla="*/ 0 w 15878"/>
              <a:gd name="T7" fmla="*/ 4354 h 4355"/>
            </a:gdLst>
            <a:ahLst/>
            <a:cxnLst>
              <a:cxn ang="0">
                <a:pos x="T0" y="T1"/>
              </a:cxn>
              <a:cxn ang="0">
                <a:pos x="T2" y="T3"/>
              </a:cxn>
              <a:cxn ang="0">
                <a:pos x="T4" y="T5"/>
              </a:cxn>
              <a:cxn ang="0">
                <a:pos x="T6" y="T7"/>
              </a:cxn>
            </a:cxnLst>
            <a:rect l="0" t="0" r="r" b="b"/>
            <a:pathLst>
              <a:path w="15878" h="4355">
                <a:moveTo>
                  <a:pt x="0" y="4354"/>
                </a:moveTo>
                <a:lnTo>
                  <a:pt x="15877" y="4354"/>
                </a:lnTo>
                <a:lnTo>
                  <a:pt x="15877" y="0"/>
                </a:lnTo>
                <a:lnTo>
                  <a:pt x="0" y="4354"/>
                </a:lnTo>
              </a:path>
            </a:pathLst>
          </a:custGeom>
          <a:solidFill>
            <a:schemeClr val="bg1"/>
          </a:solidFill>
          <a:ln>
            <a:noFill/>
          </a:ln>
          <a:effectLst/>
        </p:spPr>
        <p:txBody>
          <a:bodyPr wrap="none" anchor="ctr"/>
          <a:lstStyle/>
          <a:p>
            <a:endParaRPr lang="en-US" sz="1800"/>
          </a:p>
        </p:txBody>
      </p:sp>
      <p:grpSp>
        <p:nvGrpSpPr>
          <p:cNvPr id="2" name="Group 1"/>
          <p:cNvGrpSpPr/>
          <p:nvPr/>
        </p:nvGrpSpPr>
        <p:grpSpPr>
          <a:xfrm>
            <a:off x="9194925" y="5747487"/>
            <a:ext cx="2690231" cy="789610"/>
            <a:chOff x="6896190" y="5747487"/>
            <a:chExt cx="2017673" cy="789610"/>
          </a:xfrm>
        </p:grpSpPr>
        <p:sp>
          <p:nvSpPr>
            <p:cNvPr id="15" name="Freeform 4"/>
            <p:cNvSpPr>
              <a:spLocks noChangeArrowheads="1"/>
            </p:cNvSpPr>
            <p:nvPr/>
          </p:nvSpPr>
          <p:spPr bwMode="auto">
            <a:xfrm>
              <a:off x="6896190" y="5747487"/>
              <a:ext cx="787627" cy="787625"/>
            </a:xfrm>
            <a:custGeom>
              <a:avLst/>
              <a:gdLst>
                <a:gd name="T0" fmla="*/ 930 w 1751"/>
                <a:gd name="T1" fmla="*/ 0 h 1751"/>
                <a:gd name="T2" fmla="*/ 0 w 1751"/>
                <a:gd name="T3" fmla="*/ 875 h 1751"/>
                <a:gd name="T4" fmla="*/ 985 w 1751"/>
                <a:gd name="T5" fmla="*/ 1750 h 1751"/>
                <a:gd name="T6" fmla="*/ 1750 w 1751"/>
                <a:gd name="T7" fmla="*/ 984 h 1751"/>
                <a:gd name="T8" fmla="*/ 930 w 1751"/>
                <a:gd name="T9" fmla="*/ 0 h 1751"/>
              </a:gdLst>
              <a:ahLst/>
              <a:cxnLst>
                <a:cxn ang="0">
                  <a:pos x="T0" y="T1"/>
                </a:cxn>
                <a:cxn ang="0">
                  <a:pos x="T2" y="T3"/>
                </a:cxn>
                <a:cxn ang="0">
                  <a:pos x="T4" y="T5"/>
                </a:cxn>
                <a:cxn ang="0">
                  <a:pos x="T6" y="T7"/>
                </a:cxn>
                <a:cxn ang="0">
                  <a:pos x="T8" y="T9"/>
                </a:cxn>
              </a:cxnLst>
              <a:rect l="0" t="0" r="r" b="b"/>
              <a:pathLst>
                <a:path w="1751" h="1751">
                  <a:moveTo>
                    <a:pt x="930" y="0"/>
                  </a:moveTo>
                  <a:lnTo>
                    <a:pt x="0" y="875"/>
                  </a:lnTo>
                  <a:lnTo>
                    <a:pt x="985" y="1750"/>
                  </a:lnTo>
                  <a:lnTo>
                    <a:pt x="1750" y="984"/>
                  </a:lnTo>
                  <a:lnTo>
                    <a:pt x="930" y="0"/>
                  </a:lnTo>
                </a:path>
              </a:pathLst>
            </a:custGeom>
            <a:solidFill>
              <a:srgbClr val="0040A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16" name="Freeform 5"/>
            <p:cNvSpPr>
              <a:spLocks noChangeArrowheads="1"/>
            </p:cNvSpPr>
            <p:nvPr/>
          </p:nvSpPr>
          <p:spPr bwMode="auto">
            <a:xfrm>
              <a:off x="6896190" y="5870492"/>
              <a:ext cx="787627" cy="664621"/>
            </a:xfrm>
            <a:custGeom>
              <a:avLst/>
              <a:gdLst>
                <a:gd name="T0" fmla="*/ 0 w 1751"/>
                <a:gd name="T1" fmla="*/ 602 h 1478"/>
                <a:gd name="T2" fmla="*/ 875 w 1751"/>
                <a:gd name="T3" fmla="*/ 0 h 1478"/>
                <a:gd name="T4" fmla="*/ 1750 w 1751"/>
                <a:gd name="T5" fmla="*/ 711 h 1478"/>
                <a:gd name="T6" fmla="*/ 985 w 1751"/>
                <a:gd name="T7" fmla="*/ 1477 h 1478"/>
                <a:gd name="T8" fmla="*/ 0 w 1751"/>
                <a:gd name="T9" fmla="*/ 602 h 1478"/>
              </a:gdLst>
              <a:ahLst/>
              <a:cxnLst>
                <a:cxn ang="0">
                  <a:pos x="T0" y="T1"/>
                </a:cxn>
                <a:cxn ang="0">
                  <a:pos x="T2" y="T3"/>
                </a:cxn>
                <a:cxn ang="0">
                  <a:pos x="T4" y="T5"/>
                </a:cxn>
                <a:cxn ang="0">
                  <a:pos x="T6" y="T7"/>
                </a:cxn>
                <a:cxn ang="0">
                  <a:pos x="T8" y="T9"/>
                </a:cxn>
              </a:cxnLst>
              <a:rect l="0" t="0" r="r" b="b"/>
              <a:pathLst>
                <a:path w="1751" h="1478">
                  <a:moveTo>
                    <a:pt x="0" y="602"/>
                  </a:moveTo>
                  <a:lnTo>
                    <a:pt x="875" y="0"/>
                  </a:lnTo>
                  <a:lnTo>
                    <a:pt x="1750" y="711"/>
                  </a:lnTo>
                  <a:lnTo>
                    <a:pt x="985" y="1477"/>
                  </a:lnTo>
                  <a:lnTo>
                    <a:pt x="0" y="602"/>
                  </a:lnTo>
                </a:path>
              </a:pathLst>
            </a:custGeom>
            <a:solidFill>
              <a:srgbClr val="008ED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17" name="Freeform 6"/>
            <p:cNvSpPr>
              <a:spLocks noChangeArrowheads="1"/>
            </p:cNvSpPr>
            <p:nvPr/>
          </p:nvSpPr>
          <p:spPr bwMode="auto">
            <a:xfrm>
              <a:off x="6896190" y="5969689"/>
              <a:ext cx="787627" cy="567408"/>
            </a:xfrm>
            <a:custGeom>
              <a:avLst/>
              <a:gdLst>
                <a:gd name="T0" fmla="*/ 1750 w 1751"/>
                <a:gd name="T1" fmla="*/ 492 h 1259"/>
                <a:gd name="T2" fmla="*/ 821 w 1751"/>
                <a:gd name="T3" fmla="*/ 0 h 1259"/>
                <a:gd name="T4" fmla="*/ 0 w 1751"/>
                <a:gd name="T5" fmla="*/ 383 h 1259"/>
                <a:gd name="T6" fmla="*/ 985 w 1751"/>
                <a:gd name="T7" fmla="*/ 1258 h 1259"/>
                <a:gd name="T8" fmla="*/ 1750 w 1751"/>
                <a:gd name="T9" fmla="*/ 492 h 1259"/>
              </a:gdLst>
              <a:ahLst/>
              <a:cxnLst>
                <a:cxn ang="0">
                  <a:pos x="T0" y="T1"/>
                </a:cxn>
                <a:cxn ang="0">
                  <a:pos x="T2" y="T3"/>
                </a:cxn>
                <a:cxn ang="0">
                  <a:pos x="T4" y="T5"/>
                </a:cxn>
                <a:cxn ang="0">
                  <a:pos x="T6" y="T7"/>
                </a:cxn>
                <a:cxn ang="0">
                  <a:pos x="T8" y="T9"/>
                </a:cxn>
              </a:cxnLst>
              <a:rect l="0" t="0" r="r" b="b"/>
              <a:pathLst>
                <a:path w="1751" h="1259">
                  <a:moveTo>
                    <a:pt x="1750" y="492"/>
                  </a:moveTo>
                  <a:lnTo>
                    <a:pt x="821" y="0"/>
                  </a:lnTo>
                  <a:lnTo>
                    <a:pt x="0" y="383"/>
                  </a:lnTo>
                  <a:lnTo>
                    <a:pt x="985" y="1258"/>
                  </a:lnTo>
                  <a:lnTo>
                    <a:pt x="1750" y="492"/>
                  </a:lnTo>
                </a:path>
              </a:pathLst>
            </a:custGeom>
            <a:solidFill>
              <a:srgbClr val="52C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18" name="Freeform 7"/>
            <p:cNvSpPr>
              <a:spLocks noChangeArrowheads="1"/>
            </p:cNvSpPr>
            <p:nvPr/>
          </p:nvSpPr>
          <p:spPr bwMode="auto">
            <a:xfrm>
              <a:off x="7818725" y="6019287"/>
              <a:ext cx="226170" cy="242041"/>
            </a:xfrm>
            <a:custGeom>
              <a:avLst/>
              <a:gdLst>
                <a:gd name="T0" fmla="*/ 307 w 503"/>
                <a:gd name="T1" fmla="*/ 538 h 539"/>
                <a:gd name="T2" fmla="*/ 193 w 503"/>
                <a:gd name="T3" fmla="*/ 538 h 539"/>
                <a:gd name="T4" fmla="*/ 0 w 503"/>
                <a:gd name="T5" fmla="*/ 0 h 539"/>
                <a:gd name="T6" fmla="*/ 133 w 503"/>
                <a:gd name="T7" fmla="*/ 0 h 539"/>
                <a:gd name="T8" fmla="*/ 250 w 503"/>
                <a:gd name="T9" fmla="*/ 380 h 539"/>
                <a:gd name="T10" fmla="*/ 367 w 503"/>
                <a:gd name="T11" fmla="*/ 0 h 539"/>
                <a:gd name="T12" fmla="*/ 502 w 503"/>
                <a:gd name="T13" fmla="*/ 0 h 539"/>
                <a:gd name="T14" fmla="*/ 307 w 503"/>
                <a:gd name="T15" fmla="*/ 538 h 5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539">
                  <a:moveTo>
                    <a:pt x="307" y="538"/>
                  </a:moveTo>
                  <a:lnTo>
                    <a:pt x="193" y="538"/>
                  </a:lnTo>
                  <a:lnTo>
                    <a:pt x="0" y="0"/>
                  </a:lnTo>
                  <a:lnTo>
                    <a:pt x="133" y="0"/>
                  </a:lnTo>
                  <a:lnTo>
                    <a:pt x="250" y="380"/>
                  </a:lnTo>
                  <a:lnTo>
                    <a:pt x="367" y="0"/>
                  </a:lnTo>
                  <a:lnTo>
                    <a:pt x="502" y="0"/>
                  </a:lnTo>
                  <a:lnTo>
                    <a:pt x="307" y="538"/>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19" name="Freeform 8"/>
            <p:cNvSpPr>
              <a:spLocks noChangeArrowheads="1"/>
            </p:cNvSpPr>
            <p:nvPr/>
          </p:nvSpPr>
          <p:spPr bwMode="auto">
            <a:xfrm>
              <a:off x="8019103" y="6090709"/>
              <a:ext cx="186491" cy="174587"/>
            </a:xfrm>
            <a:custGeom>
              <a:avLst/>
              <a:gdLst>
                <a:gd name="T0" fmla="*/ 413 w 414"/>
                <a:gd name="T1" fmla="*/ 10 h 390"/>
                <a:gd name="T2" fmla="*/ 413 w 414"/>
                <a:gd name="T3" fmla="*/ 380 h 390"/>
                <a:gd name="T4" fmla="*/ 295 w 414"/>
                <a:gd name="T5" fmla="*/ 380 h 390"/>
                <a:gd name="T6" fmla="*/ 295 w 414"/>
                <a:gd name="T7" fmla="*/ 328 h 390"/>
                <a:gd name="T8" fmla="*/ 181 w 414"/>
                <a:gd name="T9" fmla="*/ 389 h 390"/>
                <a:gd name="T10" fmla="*/ 0 w 414"/>
                <a:gd name="T11" fmla="*/ 195 h 390"/>
                <a:gd name="T12" fmla="*/ 181 w 414"/>
                <a:gd name="T13" fmla="*/ 0 h 390"/>
                <a:gd name="T14" fmla="*/ 295 w 414"/>
                <a:gd name="T15" fmla="*/ 63 h 390"/>
                <a:gd name="T16" fmla="*/ 295 w 414"/>
                <a:gd name="T17" fmla="*/ 10 h 390"/>
                <a:gd name="T18" fmla="*/ 413 w 414"/>
                <a:gd name="T19" fmla="*/ 10 h 390"/>
                <a:gd name="T20" fmla="*/ 206 w 414"/>
                <a:gd name="T21" fmla="*/ 100 h 390"/>
                <a:gd name="T22" fmla="*/ 117 w 414"/>
                <a:gd name="T23" fmla="*/ 195 h 390"/>
                <a:gd name="T24" fmla="*/ 206 w 414"/>
                <a:gd name="T25" fmla="*/ 289 h 390"/>
                <a:gd name="T26" fmla="*/ 295 w 414"/>
                <a:gd name="T27" fmla="*/ 195 h 390"/>
                <a:gd name="T28" fmla="*/ 206 w 414"/>
                <a:gd name="T29" fmla="*/ 10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4" h="390">
                  <a:moveTo>
                    <a:pt x="413" y="10"/>
                  </a:moveTo>
                  <a:lnTo>
                    <a:pt x="413" y="380"/>
                  </a:lnTo>
                  <a:lnTo>
                    <a:pt x="295" y="380"/>
                  </a:lnTo>
                  <a:lnTo>
                    <a:pt x="295" y="328"/>
                  </a:lnTo>
                  <a:cubicBezTo>
                    <a:pt x="277" y="361"/>
                    <a:pt x="229" y="389"/>
                    <a:pt x="181" y="389"/>
                  </a:cubicBezTo>
                  <a:cubicBezTo>
                    <a:pt x="74" y="389"/>
                    <a:pt x="0" y="306"/>
                    <a:pt x="0" y="195"/>
                  </a:cubicBezTo>
                  <a:cubicBezTo>
                    <a:pt x="0" y="85"/>
                    <a:pt x="74" y="0"/>
                    <a:pt x="181" y="0"/>
                  </a:cubicBezTo>
                  <a:cubicBezTo>
                    <a:pt x="229" y="0"/>
                    <a:pt x="277" y="29"/>
                    <a:pt x="295" y="63"/>
                  </a:cubicBezTo>
                  <a:lnTo>
                    <a:pt x="295" y="10"/>
                  </a:lnTo>
                  <a:lnTo>
                    <a:pt x="413" y="10"/>
                  </a:lnTo>
                  <a:close/>
                  <a:moveTo>
                    <a:pt x="206" y="100"/>
                  </a:moveTo>
                  <a:cubicBezTo>
                    <a:pt x="153" y="100"/>
                    <a:pt x="117" y="144"/>
                    <a:pt x="117" y="195"/>
                  </a:cubicBezTo>
                  <a:cubicBezTo>
                    <a:pt x="117" y="246"/>
                    <a:pt x="153" y="289"/>
                    <a:pt x="206" y="289"/>
                  </a:cubicBezTo>
                  <a:cubicBezTo>
                    <a:pt x="259" y="289"/>
                    <a:pt x="295" y="246"/>
                    <a:pt x="295" y="195"/>
                  </a:cubicBezTo>
                  <a:cubicBezTo>
                    <a:pt x="295" y="144"/>
                    <a:pt x="259" y="100"/>
                    <a:pt x="206" y="100"/>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0" name="Freeform 9"/>
            <p:cNvSpPr>
              <a:spLocks noChangeArrowheads="1"/>
            </p:cNvSpPr>
            <p:nvPr/>
          </p:nvSpPr>
          <p:spPr bwMode="auto">
            <a:xfrm>
              <a:off x="8223450" y="6090709"/>
              <a:ext cx="168635" cy="170619"/>
            </a:xfrm>
            <a:custGeom>
              <a:avLst/>
              <a:gdLst>
                <a:gd name="T0" fmla="*/ 0 w 374"/>
                <a:gd name="T1" fmla="*/ 10 h 381"/>
                <a:gd name="T2" fmla="*/ 118 w 374"/>
                <a:gd name="T3" fmla="*/ 10 h 381"/>
                <a:gd name="T4" fmla="*/ 118 w 374"/>
                <a:gd name="T5" fmla="*/ 63 h 381"/>
                <a:gd name="T6" fmla="*/ 240 w 374"/>
                <a:gd name="T7" fmla="*/ 0 h 381"/>
                <a:gd name="T8" fmla="*/ 344 w 374"/>
                <a:gd name="T9" fmla="*/ 43 h 381"/>
                <a:gd name="T10" fmla="*/ 373 w 374"/>
                <a:gd name="T11" fmla="*/ 160 h 381"/>
                <a:gd name="T12" fmla="*/ 373 w 374"/>
                <a:gd name="T13" fmla="*/ 380 h 381"/>
                <a:gd name="T14" fmla="*/ 255 w 374"/>
                <a:gd name="T15" fmla="*/ 380 h 381"/>
                <a:gd name="T16" fmla="*/ 255 w 374"/>
                <a:gd name="T17" fmla="*/ 190 h 381"/>
                <a:gd name="T18" fmla="*/ 189 w 374"/>
                <a:gd name="T19" fmla="*/ 100 h 381"/>
                <a:gd name="T20" fmla="*/ 118 w 374"/>
                <a:gd name="T21" fmla="*/ 194 h 381"/>
                <a:gd name="T22" fmla="*/ 118 w 374"/>
                <a:gd name="T23" fmla="*/ 380 h 381"/>
                <a:gd name="T24" fmla="*/ 0 w 374"/>
                <a:gd name="T25" fmla="*/ 380 h 381"/>
                <a:gd name="T26" fmla="*/ 0 w 374"/>
                <a:gd name="T27" fmla="*/ 1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381">
                  <a:moveTo>
                    <a:pt x="0" y="10"/>
                  </a:moveTo>
                  <a:lnTo>
                    <a:pt x="118" y="10"/>
                  </a:lnTo>
                  <a:lnTo>
                    <a:pt x="118" y="63"/>
                  </a:lnTo>
                  <a:cubicBezTo>
                    <a:pt x="139" y="23"/>
                    <a:pt x="182" y="0"/>
                    <a:pt x="240" y="0"/>
                  </a:cubicBezTo>
                  <a:cubicBezTo>
                    <a:pt x="287" y="0"/>
                    <a:pt x="324" y="17"/>
                    <a:pt x="344" y="43"/>
                  </a:cubicBezTo>
                  <a:cubicBezTo>
                    <a:pt x="367" y="71"/>
                    <a:pt x="373" y="107"/>
                    <a:pt x="373" y="160"/>
                  </a:cubicBezTo>
                  <a:lnTo>
                    <a:pt x="373" y="380"/>
                  </a:lnTo>
                  <a:lnTo>
                    <a:pt x="255" y="380"/>
                  </a:lnTo>
                  <a:lnTo>
                    <a:pt x="255" y="190"/>
                  </a:lnTo>
                  <a:cubicBezTo>
                    <a:pt x="255" y="137"/>
                    <a:pt x="239" y="100"/>
                    <a:pt x="189" y="100"/>
                  </a:cubicBezTo>
                  <a:cubicBezTo>
                    <a:pt x="142" y="100"/>
                    <a:pt x="118" y="137"/>
                    <a:pt x="118" y="194"/>
                  </a:cubicBezTo>
                  <a:lnTo>
                    <a:pt x="118" y="380"/>
                  </a:lnTo>
                  <a:lnTo>
                    <a:pt x="0" y="380"/>
                  </a:lnTo>
                  <a:lnTo>
                    <a:pt x="0" y="1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1" name="Freeform 10"/>
            <p:cNvSpPr>
              <a:spLocks noChangeArrowheads="1"/>
            </p:cNvSpPr>
            <p:nvPr/>
          </p:nvSpPr>
          <p:spPr bwMode="auto">
            <a:xfrm>
              <a:off x="8402005" y="6045079"/>
              <a:ext cx="121020" cy="218234"/>
            </a:xfrm>
            <a:custGeom>
              <a:avLst/>
              <a:gdLst>
                <a:gd name="T0" fmla="*/ 269 w 270"/>
                <a:gd name="T1" fmla="*/ 480 h 487"/>
                <a:gd name="T2" fmla="*/ 190 w 270"/>
                <a:gd name="T3" fmla="*/ 486 h 487"/>
                <a:gd name="T4" fmla="*/ 59 w 270"/>
                <a:gd name="T5" fmla="*/ 355 h 487"/>
                <a:gd name="T6" fmla="*/ 59 w 270"/>
                <a:gd name="T7" fmla="*/ 197 h 487"/>
                <a:gd name="T8" fmla="*/ 0 w 270"/>
                <a:gd name="T9" fmla="*/ 197 h 487"/>
                <a:gd name="T10" fmla="*/ 0 w 270"/>
                <a:gd name="T11" fmla="*/ 110 h 487"/>
                <a:gd name="T12" fmla="*/ 59 w 270"/>
                <a:gd name="T13" fmla="*/ 110 h 487"/>
                <a:gd name="T14" fmla="*/ 59 w 270"/>
                <a:gd name="T15" fmla="*/ 0 h 487"/>
                <a:gd name="T16" fmla="*/ 176 w 270"/>
                <a:gd name="T17" fmla="*/ 0 h 487"/>
                <a:gd name="T18" fmla="*/ 176 w 270"/>
                <a:gd name="T19" fmla="*/ 110 h 487"/>
                <a:gd name="T20" fmla="*/ 260 w 270"/>
                <a:gd name="T21" fmla="*/ 110 h 487"/>
                <a:gd name="T22" fmla="*/ 260 w 270"/>
                <a:gd name="T23" fmla="*/ 197 h 487"/>
                <a:gd name="T24" fmla="*/ 176 w 270"/>
                <a:gd name="T25" fmla="*/ 197 h 487"/>
                <a:gd name="T26" fmla="*/ 176 w 270"/>
                <a:gd name="T27" fmla="*/ 329 h 487"/>
                <a:gd name="T28" fmla="*/ 227 w 270"/>
                <a:gd name="T29" fmla="*/ 392 h 487"/>
                <a:gd name="T30" fmla="*/ 269 w 270"/>
                <a:gd name="T31" fmla="*/ 390 h 487"/>
                <a:gd name="T32" fmla="*/ 269 w 270"/>
                <a:gd name="T33" fmla="*/ 48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487">
                  <a:moveTo>
                    <a:pt x="269" y="480"/>
                  </a:moveTo>
                  <a:cubicBezTo>
                    <a:pt x="251" y="483"/>
                    <a:pt x="225" y="486"/>
                    <a:pt x="190" y="486"/>
                  </a:cubicBezTo>
                  <a:cubicBezTo>
                    <a:pt x="135" y="486"/>
                    <a:pt x="59" y="479"/>
                    <a:pt x="59" y="355"/>
                  </a:cubicBezTo>
                  <a:lnTo>
                    <a:pt x="59" y="197"/>
                  </a:lnTo>
                  <a:lnTo>
                    <a:pt x="0" y="197"/>
                  </a:lnTo>
                  <a:lnTo>
                    <a:pt x="0" y="110"/>
                  </a:lnTo>
                  <a:lnTo>
                    <a:pt x="59" y="110"/>
                  </a:lnTo>
                  <a:lnTo>
                    <a:pt x="59" y="0"/>
                  </a:lnTo>
                  <a:lnTo>
                    <a:pt x="176" y="0"/>
                  </a:lnTo>
                  <a:lnTo>
                    <a:pt x="176" y="110"/>
                  </a:lnTo>
                  <a:lnTo>
                    <a:pt x="260" y="110"/>
                  </a:lnTo>
                  <a:lnTo>
                    <a:pt x="260" y="197"/>
                  </a:lnTo>
                  <a:lnTo>
                    <a:pt x="176" y="197"/>
                  </a:lnTo>
                  <a:lnTo>
                    <a:pt x="176" y="329"/>
                  </a:lnTo>
                  <a:cubicBezTo>
                    <a:pt x="176" y="384"/>
                    <a:pt x="197" y="392"/>
                    <a:pt x="227" y="392"/>
                  </a:cubicBezTo>
                  <a:cubicBezTo>
                    <a:pt x="241" y="392"/>
                    <a:pt x="258" y="392"/>
                    <a:pt x="269" y="390"/>
                  </a:cubicBezTo>
                  <a:lnTo>
                    <a:pt x="269" y="48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2" name="Freeform 11"/>
            <p:cNvSpPr>
              <a:spLocks noChangeArrowheads="1"/>
            </p:cNvSpPr>
            <p:nvPr/>
          </p:nvSpPr>
          <p:spPr bwMode="auto">
            <a:xfrm>
              <a:off x="8528977" y="6090709"/>
              <a:ext cx="186491" cy="174587"/>
            </a:xfrm>
            <a:custGeom>
              <a:avLst/>
              <a:gdLst>
                <a:gd name="T0" fmla="*/ 412 w 413"/>
                <a:gd name="T1" fmla="*/ 10 h 390"/>
                <a:gd name="T2" fmla="*/ 412 w 413"/>
                <a:gd name="T3" fmla="*/ 380 h 390"/>
                <a:gd name="T4" fmla="*/ 294 w 413"/>
                <a:gd name="T5" fmla="*/ 380 h 390"/>
                <a:gd name="T6" fmla="*/ 294 w 413"/>
                <a:gd name="T7" fmla="*/ 328 h 390"/>
                <a:gd name="T8" fmla="*/ 181 w 413"/>
                <a:gd name="T9" fmla="*/ 389 h 390"/>
                <a:gd name="T10" fmla="*/ 0 w 413"/>
                <a:gd name="T11" fmla="*/ 195 h 390"/>
                <a:gd name="T12" fmla="*/ 181 w 413"/>
                <a:gd name="T13" fmla="*/ 0 h 390"/>
                <a:gd name="T14" fmla="*/ 294 w 413"/>
                <a:gd name="T15" fmla="*/ 63 h 390"/>
                <a:gd name="T16" fmla="*/ 294 w 413"/>
                <a:gd name="T17" fmla="*/ 10 h 390"/>
                <a:gd name="T18" fmla="*/ 412 w 413"/>
                <a:gd name="T19" fmla="*/ 10 h 390"/>
                <a:gd name="T20" fmla="*/ 206 w 413"/>
                <a:gd name="T21" fmla="*/ 100 h 390"/>
                <a:gd name="T22" fmla="*/ 117 w 413"/>
                <a:gd name="T23" fmla="*/ 195 h 390"/>
                <a:gd name="T24" fmla="*/ 206 w 413"/>
                <a:gd name="T25" fmla="*/ 289 h 390"/>
                <a:gd name="T26" fmla="*/ 294 w 413"/>
                <a:gd name="T27" fmla="*/ 195 h 390"/>
                <a:gd name="T28" fmla="*/ 206 w 413"/>
                <a:gd name="T29" fmla="*/ 10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3" h="390">
                  <a:moveTo>
                    <a:pt x="412" y="10"/>
                  </a:moveTo>
                  <a:lnTo>
                    <a:pt x="412" y="380"/>
                  </a:lnTo>
                  <a:lnTo>
                    <a:pt x="294" y="380"/>
                  </a:lnTo>
                  <a:lnTo>
                    <a:pt x="294" y="328"/>
                  </a:lnTo>
                  <a:cubicBezTo>
                    <a:pt x="277" y="361"/>
                    <a:pt x="229" y="389"/>
                    <a:pt x="181" y="389"/>
                  </a:cubicBezTo>
                  <a:cubicBezTo>
                    <a:pt x="74" y="389"/>
                    <a:pt x="0" y="306"/>
                    <a:pt x="0" y="195"/>
                  </a:cubicBezTo>
                  <a:cubicBezTo>
                    <a:pt x="0" y="85"/>
                    <a:pt x="74" y="0"/>
                    <a:pt x="181" y="0"/>
                  </a:cubicBezTo>
                  <a:cubicBezTo>
                    <a:pt x="229" y="0"/>
                    <a:pt x="277" y="29"/>
                    <a:pt x="294" y="63"/>
                  </a:cubicBezTo>
                  <a:lnTo>
                    <a:pt x="294" y="10"/>
                  </a:lnTo>
                  <a:lnTo>
                    <a:pt x="412" y="10"/>
                  </a:lnTo>
                  <a:close/>
                  <a:moveTo>
                    <a:pt x="206" y="100"/>
                  </a:moveTo>
                  <a:cubicBezTo>
                    <a:pt x="153" y="100"/>
                    <a:pt x="117" y="144"/>
                    <a:pt x="117" y="195"/>
                  </a:cubicBezTo>
                  <a:cubicBezTo>
                    <a:pt x="117" y="246"/>
                    <a:pt x="153" y="289"/>
                    <a:pt x="206" y="289"/>
                  </a:cubicBezTo>
                  <a:cubicBezTo>
                    <a:pt x="259" y="289"/>
                    <a:pt x="294" y="246"/>
                    <a:pt x="294" y="195"/>
                  </a:cubicBezTo>
                  <a:cubicBezTo>
                    <a:pt x="294" y="144"/>
                    <a:pt x="259" y="100"/>
                    <a:pt x="206" y="100"/>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sp>
          <p:nvSpPr>
            <p:cNvPr id="23" name="Freeform 12"/>
            <p:cNvSpPr>
              <a:spLocks noChangeArrowheads="1"/>
            </p:cNvSpPr>
            <p:nvPr/>
          </p:nvSpPr>
          <p:spPr bwMode="auto">
            <a:xfrm>
              <a:off x="8727372" y="6090709"/>
              <a:ext cx="186491" cy="174587"/>
            </a:xfrm>
            <a:custGeom>
              <a:avLst/>
              <a:gdLst>
                <a:gd name="T0" fmla="*/ 412 w 413"/>
                <a:gd name="T1" fmla="*/ 10 h 390"/>
                <a:gd name="T2" fmla="*/ 412 w 413"/>
                <a:gd name="T3" fmla="*/ 380 h 390"/>
                <a:gd name="T4" fmla="*/ 294 w 413"/>
                <a:gd name="T5" fmla="*/ 380 h 390"/>
                <a:gd name="T6" fmla="*/ 294 w 413"/>
                <a:gd name="T7" fmla="*/ 328 h 390"/>
                <a:gd name="T8" fmla="*/ 181 w 413"/>
                <a:gd name="T9" fmla="*/ 389 h 390"/>
                <a:gd name="T10" fmla="*/ 0 w 413"/>
                <a:gd name="T11" fmla="*/ 195 h 390"/>
                <a:gd name="T12" fmla="*/ 181 w 413"/>
                <a:gd name="T13" fmla="*/ 0 h 390"/>
                <a:gd name="T14" fmla="*/ 294 w 413"/>
                <a:gd name="T15" fmla="*/ 63 h 390"/>
                <a:gd name="T16" fmla="*/ 294 w 413"/>
                <a:gd name="T17" fmla="*/ 10 h 390"/>
                <a:gd name="T18" fmla="*/ 412 w 413"/>
                <a:gd name="T19" fmla="*/ 10 h 390"/>
                <a:gd name="T20" fmla="*/ 206 w 413"/>
                <a:gd name="T21" fmla="*/ 100 h 390"/>
                <a:gd name="T22" fmla="*/ 117 w 413"/>
                <a:gd name="T23" fmla="*/ 195 h 390"/>
                <a:gd name="T24" fmla="*/ 206 w 413"/>
                <a:gd name="T25" fmla="*/ 289 h 390"/>
                <a:gd name="T26" fmla="*/ 294 w 413"/>
                <a:gd name="T27" fmla="*/ 195 h 390"/>
                <a:gd name="T28" fmla="*/ 206 w 413"/>
                <a:gd name="T29" fmla="*/ 10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3" h="390">
                  <a:moveTo>
                    <a:pt x="412" y="10"/>
                  </a:moveTo>
                  <a:lnTo>
                    <a:pt x="412" y="380"/>
                  </a:lnTo>
                  <a:lnTo>
                    <a:pt x="294" y="380"/>
                  </a:lnTo>
                  <a:lnTo>
                    <a:pt x="294" y="328"/>
                  </a:lnTo>
                  <a:cubicBezTo>
                    <a:pt x="277" y="361"/>
                    <a:pt x="229" y="389"/>
                    <a:pt x="181" y="389"/>
                  </a:cubicBezTo>
                  <a:cubicBezTo>
                    <a:pt x="74" y="389"/>
                    <a:pt x="0" y="306"/>
                    <a:pt x="0" y="195"/>
                  </a:cubicBezTo>
                  <a:cubicBezTo>
                    <a:pt x="0" y="85"/>
                    <a:pt x="74" y="0"/>
                    <a:pt x="181" y="0"/>
                  </a:cubicBezTo>
                  <a:cubicBezTo>
                    <a:pt x="229" y="0"/>
                    <a:pt x="277" y="29"/>
                    <a:pt x="294" y="63"/>
                  </a:cubicBezTo>
                  <a:lnTo>
                    <a:pt x="294" y="10"/>
                  </a:lnTo>
                  <a:lnTo>
                    <a:pt x="412" y="10"/>
                  </a:lnTo>
                  <a:close/>
                  <a:moveTo>
                    <a:pt x="206" y="100"/>
                  </a:moveTo>
                  <a:cubicBezTo>
                    <a:pt x="153" y="100"/>
                    <a:pt x="117" y="144"/>
                    <a:pt x="117" y="195"/>
                  </a:cubicBezTo>
                  <a:cubicBezTo>
                    <a:pt x="117" y="246"/>
                    <a:pt x="153" y="289"/>
                    <a:pt x="206" y="289"/>
                  </a:cubicBezTo>
                  <a:cubicBezTo>
                    <a:pt x="259" y="289"/>
                    <a:pt x="294" y="246"/>
                    <a:pt x="294" y="195"/>
                  </a:cubicBezTo>
                  <a:cubicBezTo>
                    <a:pt x="294" y="144"/>
                    <a:pt x="259" y="100"/>
                    <a:pt x="206" y="100"/>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p>
          </p:txBody>
        </p:sp>
      </p:grpSp>
      <p:sp>
        <p:nvSpPr>
          <p:cNvPr id="26" name="Freeform 3">
            <a:extLst>
              <a:ext uri="{FF2B5EF4-FFF2-40B4-BE49-F238E27FC236}">
                <a16:creationId xmlns:a16="http://schemas.microsoft.com/office/drawing/2014/main" id="{76534596-954C-084A-A70C-F04C0A08C63F}"/>
              </a:ext>
            </a:extLst>
          </p:cNvPr>
          <p:cNvSpPr>
            <a:spLocks noChangeArrowheads="1"/>
          </p:cNvSpPr>
          <p:nvPr userDrawn="1"/>
        </p:nvSpPr>
        <p:spPr bwMode="auto">
          <a:xfrm>
            <a:off x="2663782" y="4897870"/>
            <a:ext cx="9525577" cy="1960137"/>
          </a:xfrm>
          <a:custGeom>
            <a:avLst/>
            <a:gdLst>
              <a:gd name="T0" fmla="*/ 0 w 15878"/>
              <a:gd name="T1" fmla="*/ 4354 h 4355"/>
              <a:gd name="T2" fmla="*/ 15877 w 15878"/>
              <a:gd name="T3" fmla="*/ 4354 h 4355"/>
              <a:gd name="T4" fmla="*/ 15877 w 15878"/>
              <a:gd name="T5" fmla="*/ 0 h 4355"/>
              <a:gd name="T6" fmla="*/ 0 w 15878"/>
              <a:gd name="T7" fmla="*/ 4354 h 4355"/>
            </a:gdLst>
            <a:ahLst/>
            <a:cxnLst>
              <a:cxn ang="0">
                <a:pos x="T0" y="T1"/>
              </a:cxn>
              <a:cxn ang="0">
                <a:pos x="T2" y="T3"/>
              </a:cxn>
              <a:cxn ang="0">
                <a:pos x="T4" y="T5"/>
              </a:cxn>
              <a:cxn ang="0">
                <a:pos x="T6" y="T7"/>
              </a:cxn>
            </a:cxnLst>
            <a:rect l="0" t="0" r="r" b="b"/>
            <a:pathLst>
              <a:path w="15878" h="4355">
                <a:moveTo>
                  <a:pt x="0" y="4354"/>
                </a:moveTo>
                <a:lnTo>
                  <a:pt x="15877" y="4354"/>
                </a:lnTo>
                <a:lnTo>
                  <a:pt x="15877" y="0"/>
                </a:lnTo>
                <a:lnTo>
                  <a:pt x="0" y="4354"/>
                </a:lnTo>
              </a:path>
            </a:pathLst>
          </a:custGeom>
          <a:solidFill>
            <a:schemeClr val="bg1"/>
          </a:solidFill>
          <a:ln>
            <a:noFill/>
          </a:ln>
          <a:effectLst/>
        </p:spPr>
        <p:txBody>
          <a:bodyPr wrap="none" anchor="ctr"/>
          <a:lstStyle/>
          <a:p>
            <a:endParaRPr lang="en-US" sz="1800"/>
          </a:p>
        </p:txBody>
      </p:sp>
      <p:pic>
        <p:nvPicPr>
          <p:cNvPr id="31" name="Picture 30">
            <a:extLst>
              <a:ext uri="{FF2B5EF4-FFF2-40B4-BE49-F238E27FC236}">
                <a16:creationId xmlns:a16="http://schemas.microsoft.com/office/drawing/2014/main" id="{4DEAF2C4-0B25-B14D-A31E-99756FC24D2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23142" y="4883144"/>
            <a:ext cx="1974856" cy="1974856"/>
          </a:xfrm>
          <a:prstGeom prst="rect">
            <a:avLst/>
          </a:prstGeom>
        </p:spPr>
      </p:pic>
      <p:sp>
        <p:nvSpPr>
          <p:cNvPr id="27" name="Subtitle 2">
            <a:extLst>
              <a:ext uri="{FF2B5EF4-FFF2-40B4-BE49-F238E27FC236}">
                <a16:creationId xmlns:a16="http://schemas.microsoft.com/office/drawing/2014/main" id="{4ACFF26D-5F3D-0D42-9A5A-6CEB21A54850}"/>
              </a:ext>
            </a:extLst>
          </p:cNvPr>
          <p:cNvSpPr>
            <a:spLocks noGrp="1"/>
          </p:cNvSpPr>
          <p:nvPr>
            <p:ph type="subTitle" idx="1" hasCustomPrompt="1"/>
          </p:nvPr>
        </p:nvSpPr>
        <p:spPr>
          <a:xfrm>
            <a:off x="1570180" y="3714920"/>
            <a:ext cx="9297326" cy="503950"/>
          </a:xfrm>
        </p:spPr>
        <p:txBody>
          <a:bodyPr anchor="t">
            <a:normAutofit/>
          </a:bodyPr>
          <a:lstStyle>
            <a:lvl1pPr marL="0" indent="0" algn="l">
              <a:buNone/>
              <a:defRPr sz="2130">
                <a:solidFill>
                  <a:srgbClr val="FFFF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dirty="0"/>
              <a:t>Etunimi Sukunimi | Titteli ja päiväys tarvittaessa</a:t>
            </a:r>
          </a:p>
        </p:txBody>
      </p:sp>
      <p:sp>
        <p:nvSpPr>
          <p:cNvPr id="28" name="Title 19">
            <a:extLst>
              <a:ext uri="{FF2B5EF4-FFF2-40B4-BE49-F238E27FC236}">
                <a16:creationId xmlns:a16="http://schemas.microsoft.com/office/drawing/2014/main" id="{DF8004B4-8E24-DB4A-8549-FE72DC7C423E}"/>
              </a:ext>
            </a:extLst>
          </p:cNvPr>
          <p:cNvSpPr>
            <a:spLocks noGrp="1"/>
          </p:cNvSpPr>
          <p:nvPr>
            <p:ph type="title" hasCustomPrompt="1"/>
          </p:nvPr>
        </p:nvSpPr>
        <p:spPr>
          <a:xfrm>
            <a:off x="1570180" y="1159565"/>
            <a:ext cx="9297326" cy="2070375"/>
          </a:xfrm>
          <a:prstGeom prst="rect">
            <a:avLst/>
          </a:prstGeom>
        </p:spPr>
        <p:txBody>
          <a:bodyPr/>
          <a:lstStyle>
            <a:lvl1pPr>
              <a:defRPr sz="6300" b="1">
                <a:solidFill>
                  <a:schemeClr val="bg1"/>
                </a:solidFill>
              </a:defRPr>
            </a:lvl1pPr>
          </a:lstStyle>
          <a:p>
            <a:r>
              <a:rPr lang="fi-FI" noProof="0" dirty="0"/>
              <a:t>OTSIKKODIA, OMA OTSIKKO TÄHÄN</a:t>
            </a:r>
          </a:p>
        </p:txBody>
      </p:sp>
    </p:spTree>
    <p:extLst>
      <p:ext uri="{BB962C8B-B14F-4D97-AF65-F5344CB8AC3E}">
        <p14:creationId xmlns:p14="http://schemas.microsoft.com/office/powerpoint/2010/main" val="16329995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Numerointi">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106891" cy="1325563"/>
          </a:xfrm>
          <a:prstGeom prst="rect">
            <a:avLst/>
          </a:prstGeom>
        </p:spPr>
        <p:txBody>
          <a:bodyPr/>
          <a:lstStyle>
            <a:lvl1pPr>
              <a:defRPr>
                <a:latin typeface="Arial Black"/>
                <a:cs typeface="Arial Black"/>
              </a:defRPr>
            </a:lvl1pPr>
          </a:lstStyle>
          <a:p>
            <a:r>
              <a:rPr lang="fi-FI" noProof="0"/>
              <a:t>Muokkaa ots. perustyyl. napsautt.</a:t>
            </a:r>
            <a:endParaRPr lang="fi-FI" noProof="0" dirty="0"/>
          </a:p>
        </p:txBody>
      </p:sp>
      <p:sp>
        <p:nvSpPr>
          <p:cNvPr id="3" name="Content Placeholder 2"/>
          <p:cNvSpPr>
            <a:spLocks noGrp="1"/>
          </p:cNvSpPr>
          <p:nvPr>
            <p:ph idx="1" hasCustomPrompt="1"/>
          </p:nvPr>
        </p:nvSpPr>
        <p:spPr>
          <a:xfrm>
            <a:off x="838200" y="329740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19" name="Text Placeholder 18"/>
          <p:cNvSpPr>
            <a:spLocks noGrp="1"/>
          </p:cNvSpPr>
          <p:nvPr>
            <p:ph type="body" sz="quarter" idx="16"/>
          </p:nvPr>
        </p:nvSpPr>
        <p:spPr>
          <a:xfrm>
            <a:off x="846669" y="398622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0" name="Content Placeholder 2"/>
          <p:cNvSpPr>
            <a:spLocks noGrp="1"/>
          </p:cNvSpPr>
          <p:nvPr>
            <p:ph idx="17" hasCustomPrompt="1"/>
          </p:nvPr>
        </p:nvSpPr>
        <p:spPr>
          <a:xfrm>
            <a:off x="4482368" y="330119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21" name="Text Placeholder 18"/>
          <p:cNvSpPr>
            <a:spLocks noGrp="1"/>
          </p:cNvSpPr>
          <p:nvPr>
            <p:ph type="body" sz="quarter" idx="18"/>
          </p:nvPr>
        </p:nvSpPr>
        <p:spPr>
          <a:xfrm>
            <a:off x="4482369" y="399001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2" name="Content Placeholder 2"/>
          <p:cNvSpPr>
            <a:spLocks noGrp="1"/>
          </p:cNvSpPr>
          <p:nvPr>
            <p:ph idx="19" hasCustomPrompt="1"/>
          </p:nvPr>
        </p:nvSpPr>
        <p:spPr>
          <a:xfrm>
            <a:off x="8162568" y="329147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23" name="Text Placeholder 18"/>
          <p:cNvSpPr>
            <a:spLocks noGrp="1"/>
          </p:cNvSpPr>
          <p:nvPr>
            <p:ph type="body" sz="quarter" idx="20"/>
          </p:nvPr>
        </p:nvSpPr>
        <p:spPr>
          <a:xfrm>
            <a:off x="8162569" y="398029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pic>
        <p:nvPicPr>
          <p:cNvPr id="15" name="Picture 14">
            <a:extLst>
              <a:ext uri="{FF2B5EF4-FFF2-40B4-BE49-F238E27FC236}">
                <a16:creationId xmlns:a16="http://schemas.microsoft.com/office/drawing/2014/main" id="{DE33DC60-9056-884D-9F1D-8726180783D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01611" y="0"/>
            <a:ext cx="1390389" cy="1390389"/>
          </a:xfrm>
          <a:prstGeom prst="rect">
            <a:avLst/>
          </a:prstGeom>
        </p:spPr>
      </p:pic>
      <p:sp>
        <p:nvSpPr>
          <p:cNvPr id="6" name="Rectangle 5">
            <a:extLst>
              <a:ext uri="{FF2B5EF4-FFF2-40B4-BE49-F238E27FC236}">
                <a16:creationId xmlns:a16="http://schemas.microsoft.com/office/drawing/2014/main" id="{60E58EF1-FD15-A342-94AD-D6B78BAD3EDC}"/>
              </a:ext>
            </a:extLst>
          </p:cNvPr>
          <p:cNvSpPr/>
          <p:nvPr userDrawn="1"/>
        </p:nvSpPr>
        <p:spPr>
          <a:xfrm>
            <a:off x="838200" y="2048404"/>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4" name="TextBox 3">
            <a:extLst>
              <a:ext uri="{FF2B5EF4-FFF2-40B4-BE49-F238E27FC236}">
                <a16:creationId xmlns:a16="http://schemas.microsoft.com/office/drawing/2014/main" id="{CAE26160-97E4-E145-AB14-21DDF07D2DA2}"/>
              </a:ext>
            </a:extLst>
          </p:cNvPr>
          <p:cNvSpPr txBox="1"/>
          <p:nvPr userDrawn="1"/>
        </p:nvSpPr>
        <p:spPr>
          <a:xfrm>
            <a:off x="835167" y="2113056"/>
            <a:ext cx="1134000" cy="1015663"/>
          </a:xfrm>
          <a:prstGeom prst="rect">
            <a:avLst/>
          </a:prstGeom>
          <a:noFill/>
        </p:spPr>
        <p:txBody>
          <a:bodyPr wrap="square" rtlCol="0" anchor="ctr" anchorCtr="1">
            <a:spAutoFit/>
          </a:bodyPr>
          <a:lstStyle/>
          <a:p>
            <a:pPr algn="ctr"/>
            <a:r>
              <a:rPr lang="fi-FI" sz="6000" b="1" i="0" dirty="0">
                <a:solidFill>
                  <a:schemeClr val="bg1"/>
                </a:solidFill>
                <a:latin typeface="Arial Black" panose="020B0604020202020204" pitchFamily="34" charset="0"/>
                <a:cs typeface="Arial Black" panose="020B0604020202020204" pitchFamily="34" charset="0"/>
              </a:rPr>
              <a:t>1</a:t>
            </a:r>
          </a:p>
        </p:txBody>
      </p:sp>
      <p:sp>
        <p:nvSpPr>
          <p:cNvPr id="26" name="Rectangle 25">
            <a:extLst>
              <a:ext uri="{FF2B5EF4-FFF2-40B4-BE49-F238E27FC236}">
                <a16:creationId xmlns:a16="http://schemas.microsoft.com/office/drawing/2014/main" id="{AAEB9AE4-3CD1-1B41-AD59-5F6BC614C35E}"/>
              </a:ext>
            </a:extLst>
          </p:cNvPr>
          <p:cNvSpPr/>
          <p:nvPr userDrawn="1"/>
        </p:nvSpPr>
        <p:spPr>
          <a:xfrm>
            <a:off x="4482367" y="2039402"/>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7" name="TextBox 26">
            <a:extLst>
              <a:ext uri="{FF2B5EF4-FFF2-40B4-BE49-F238E27FC236}">
                <a16:creationId xmlns:a16="http://schemas.microsoft.com/office/drawing/2014/main" id="{A90905F9-E20C-5946-B754-344118B279F9}"/>
              </a:ext>
            </a:extLst>
          </p:cNvPr>
          <p:cNvSpPr txBox="1"/>
          <p:nvPr userDrawn="1"/>
        </p:nvSpPr>
        <p:spPr>
          <a:xfrm>
            <a:off x="4479334" y="2104054"/>
            <a:ext cx="1134000" cy="1015663"/>
          </a:xfrm>
          <a:prstGeom prst="rect">
            <a:avLst/>
          </a:prstGeom>
          <a:noFill/>
        </p:spPr>
        <p:txBody>
          <a:bodyPr wrap="square" rtlCol="0" anchor="ctr" anchorCtr="1">
            <a:spAutoFit/>
          </a:bodyPr>
          <a:lstStyle/>
          <a:p>
            <a:pPr algn="ctr"/>
            <a:r>
              <a:rPr lang="fi-FI" sz="6000" b="1" i="0" dirty="0">
                <a:solidFill>
                  <a:schemeClr val="bg1"/>
                </a:solidFill>
                <a:latin typeface="Arial Black" panose="020B0604020202020204" pitchFamily="34" charset="0"/>
                <a:cs typeface="Arial Black" panose="020B0604020202020204" pitchFamily="34" charset="0"/>
              </a:rPr>
              <a:t>2</a:t>
            </a:r>
          </a:p>
        </p:txBody>
      </p:sp>
      <p:sp>
        <p:nvSpPr>
          <p:cNvPr id="28" name="Rectangle 27">
            <a:extLst>
              <a:ext uri="{FF2B5EF4-FFF2-40B4-BE49-F238E27FC236}">
                <a16:creationId xmlns:a16="http://schemas.microsoft.com/office/drawing/2014/main" id="{39540608-72D2-A741-8B13-CAD9FF5C8B51}"/>
              </a:ext>
            </a:extLst>
          </p:cNvPr>
          <p:cNvSpPr/>
          <p:nvPr userDrawn="1"/>
        </p:nvSpPr>
        <p:spPr>
          <a:xfrm>
            <a:off x="8162567" y="2042696"/>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9" name="TextBox 28">
            <a:extLst>
              <a:ext uri="{FF2B5EF4-FFF2-40B4-BE49-F238E27FC236}">
                <a16:creationId xmlns:a16="http://schemas.microsoft.com/office/drawing/2014/main" id="{1CFC8AB0-E890-9446-BA39-A021D5FB9E8C}"/>
              </a:ext>
            </a:extLst>
          </p:cNvPr>
          <p:cNvSpPr txBox="1"/>
          <p:nvPr userDrawn="1"/>
        </p:nvSpPr>
        <p:spPr>
          <a:xfrm>
            <a:off x="8159534" y="2107348"/>
            <a:ext cx="1134000" cy="1015663"/>
          </a:xfrm>
          <a:prstGeom prst="rect">
            <a:avLst/>
          </a:prstGeom>
          <a:noFill/>
        </p:spPr>
        <p:txBody>
          <a:bodyPr wrap="square" rtlCol="0" anchor="ctr" anchorCtr="1">
            <a:spAutoFit/>
          </a:bodyPr>
          <a:lstStyle/>
          <a:p>
            <a:pPr algn="ctr"/>
            <a:r>
              <a:rPr lang="fi-FI" sz="6000" b="1" i="0" dirty="0">
                <a:solidFill>
                  <a:schemeClr val="bg1"/>
                </a:solidFill>
                <a:latin typeface="Arial Black" panose="020B0604020202020204" pitchFamily="34" charset="0"/>
                <a:cs typeface="Arial Black" panose="020B0604020202020204" pitchFamily="34" charset="0"/>
              </a:rPr>
              <a:t>3</a:t>
            </a:r>
          </a:p>
        </p:txBody>
      </p:sp>
    </p:spTree>
    <p:extLst>
      <p:ext uri="{BB962C8B-B14F-4D97-AF65-F5344CB8AC3E}">
        <p14:creationId xmlns:p14="http://schemas.microsoft.com/office/powerpoint/2010/main" val="9034723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2001"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Numerointi">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106891" cy="1325563"/>
          </a:xfrm>
          <a:prstGeom prst="rect">
            <a:avLst/>
          </a:prstGeom>
        </p:spPr>
        <p:txBody>
          <a:bodyPr/>
          <a:lstStyle>
            <a:lvl1pPr>
              <a:defRPr>
                <a:latin typeface="Arial Black"/>
                <a:cs typeface="Arial Black"/>
              </a:defRPr>
            </a:lvl1pPr>
          </a:lstStyle>
          <a:p>
            <a:r>
              <a:rPr lang="fi-FI" noProof="0"/>
              <a:t>Muokkaa ots. perustyyl. napsautt.</a:t>
            </a:r>
            <a:endParaRPr lang="fi-FI" noProof="0" dirty="0"/>
          </a:p>
        </p:txBody>
      </p:sp>
      <p:sp>
        <p:nvSpPr>
          <p:cNvPr id="3" name="Content Placeholder 2"/>
          <p:cNvSpPr>
            <a:spLocks noGrp="1"/>
          </p:cNvSpPr>
          <p:nvPr>
            <p:ph idx="1" hasCustomPrompt="1"/>
          </p:nvPr>
        </p:nvSpPr>
        <p:spPr>
          <a:xfrm>
            <a:off x="838200" y="329740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19" name="Text Placeholder 18"/>
          <p:cNvSpPr>
            <a:spLocks noGrp="1"/>
          </p:cNvSpPr>
          <p:nvPr>
            <p:ph type="body" sz="quarter" idx="16"/>
          </p:nvPr>
        </p:nvSpPr>
        <p:spPr>
          <a:xfrm>
            <a:off x="846669" y="398622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0" name="Content Placeholder 2"/>
          <p:cNvSpPr>
            <a:spLocks noGrp="1"/>
          </p:cNvSpPr>
          <p:nvPr>
            <p:ph idx="17" hasCustomPrompt="1"/>
          </p:nvPr>
        </p:nvSpPr>
        <p:spPr>
          <a:xfrm>
            <a:off x="4482368" y="330119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21" name="Text Placeholder 18"/>
          <p:cNvSpPr>
            <a:spLocks noGrp="1"/>
          </p:cNvSpPr>
          <p:nvPr>
            <p:ph type="body" sz="quarter" idx="18"/>
          </p:nvPr>
        </p:nvSpPr>
        <p:spPr>
          <a:xfrm>
            <a:off x="4482369" y="399001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2" name="Content Placeholder 2"/>
          <p:cNvSpPr>
            <a:spLocks noGrp="1"/>
          </p:cNvSpPr>
          <p:nvPr>
            <p:ph idx="19" hasCustomPrompt="1"/>
          </p:nvPr>
        </p:nvSpPr>
        <p:spPr>
          <a:xfrm>
            <a:off x="8162568" y="329147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23" name="Text Placeholder 18"/>
          <p:cNvSpPr>
            <a:spLocks noGrp="1"/>
          </p:cNvSpPr>
          <p:nvPr>
            <p:ph type="body" sz="quarter" idx="20"/>
          </p:nvPr>
        </p:nvSpPr>
        <p:spPr>
          <a:xfrm>
            <a:off x="8162569" y="398029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pic>
        <p:nvPicPr>
          <p:cNvPr id="15" name="Picture 14">
            <a:extLst>
              <a:ext uri="{FF2B5EF4-FFF2-40B4-BE49-F238E27FC236}">
                <a16:creationId xmlns:a16="http://schemas.microsoft.com/office/drawing/2014/main" id="{DE33DC60-9056-884D-9F1D-8726180783D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01611" y="0"/>
            <a:ext cx="1390389" cy="1390389"/>
          </a:xfrm>
          <a:prstGeom prst="rect">
            <a:avLst/>
          </a:prstGeom>
        </p:spPr>
      </p:pic>
      <p:sp>
        <p:nvSpPr>
          <p:cNvPr id="6" name="Rectangle 5">
            <a:extLst>
              <a:ext uri="{FF2B5EF4-FFF2-40B4-BE49-F238E27FC236}">
                <a16:creationId xmlns:a16="http://schemas.microsoft.com/office/drawing/2014/main" id="{60E58EF1-FD15-A342-94AD-D6B78BAD3EDC}"/>
              </a:ext>
            </a:extLst>
          </p:cNvPr>
          <p:cNvSpPr/>
          <p:nvPr userDrawn="1"/>
        </p:nvSpPr>
        <p:spPr>
          <a:xfrm>
            <a:off x="838200" y="2048404"/>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sp>
        <p:nvSpPr>
          <p:cNvPr id="26" name="Rectangle 25">
            <a:extLst>
              <a:ext uri="{FF2B5EF4-FFF2-40B4-BE49-F238E27FC236}">
                <a16:creationId xmlns:a16="http://schemas.microsoft.com/office/drawing/2014/main" id="{AAEB9AE4-3CD1-1B41-AD59-5F6BC614C35E}"/>
              </a:ext>
            </a:extLst>
          </p:cNvPr>
          <p:cNvSpPr/>
          <p:nvPr userDrawn="1"/>
        </p:nvSpPr>
        <p:spPr>
          <a:xfrm>
            <a:off x="4482367" y="2039402"/>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8" name="Rectangle 27">
            <a:extLst>
              <a:ext uri="{FF2B5EF4-FFF2-40B4-BE49-F238E27FC236}">
                <a16:creationId xmlns:a16="http://schemas.microsoft.com/office/drawing/2014/main" id="{39540608-72D2-A741-8B13-CAD9FF5C8B51}"/>
              </a:ext>
            </a:extLst>
          </p:cNvPr>
          <p:cNvSpPr/>
          <p:nvPr userDrawn="1"/>
        </p:nvSpPr>
        <p:spPr>
          <a:xfrm>
            <a:off x="8162567" y="2042696"/>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9040012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00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3_Numerointi">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106891" cy="1325563"/>
          </a:xfrm>
          <a:prstGeom prst="rect">
            <a:avLst/>
          </a:prstGeom>
        </p:spPr>
        <p:txBody>
          <a:bodyPr/>
          <a:lstStyle>
            <a:lvl1pPr>
              <a:defRPr>
                <a:latin typeface="Arial Black"/>
                <a:cs typeface="Arial Black"/>
              </a:defRPr>
            </a:lvl1pPr>
          </a:lstStyle>
          <a:p>
            <a:r>
              <a:rPr lang="fi-FI" noProof="0"/>
              <a:t>Muokkaa ots. perustyyl. napsautt.</a:t>
            </a:r>
            <a:endParaRPr lang="fi-FI" noProof="0" dirty="0"/>
          </a:p>
        </p:txBody>
      </p:sp>
      <p:sp>
        <p:nvSpPr>
          <p:cNvPr id="3" name="Content Placeholder 2"/>
          <p:cNvSpPr>
            <a:spLocks noGrp="1"/>
          </p:cNvSpPr>
          <p:nvPr>
            <p:ph idx="1" hasCustomPrompt="1"/>
          </p:nvPr>
        </p:nvSpPr>
        <p:spPr>
          <a:xfrm>
            <a:off x="838200" y="329740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19" name="Text Placeholder 18"/>
          <p:cNvSpPr>
            <a:spLocks noGrp="1"/>
          </p:cNvSpPr>
          <p:nvPr>
            <p:ph type="body" sz="quarter" idx="16"/>
          </p:nvPr>
        </p:nvSpPr>
        <p:spPr>
          <a:xfrm>
            <a:off x="846669" y="398622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0" name="Content Placeholder 2"/>
          <p:cNvSpPr>
            <a:spLocks noGrp="1"/>
          </p:cNvSpPr>
          <p:nvPr>
            <p:ph idx="17" hasCustomPrompt="1"/>
          </p:nvPr>
        </p:nvSpPr>
        <p:spPr>
          <a:xfrm>
            <a:off x="4482368" y="330119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21" name="Text Placeholder 18"/>
          <p:cNvSpPr>
            <a:spLocks noGrp="1"/>
          </p:cNvSpPr>
          <p:nvPr>
            <p:ph type="body" sz="quarter" idx="18"/>
          </p:nvPr>
        </p:nvSpPr>
        <p:spPr>
          <a:xfrm>
            <a:off x="4482369" y="399001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2" name="Content Placeholder 2"/>
          <p:cNvSpPr>
            <a:spLocks noGrp="1"/>
          </p:cNvSpPr>
          <p:nvPr>
            <p:ph idx="19" hasCustomPrompt="1"/>
          </p:nvPr>
        </p:nvSpPr>
        <p:spPr>
          <a:xfrm>
            <a:off x="8162568" y="329147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23" name="Text Placeholder 18"/>
          <p:cNvSpPr>
            <a:spLocks noGrp="1"/>
          </p:cNvSpPr>
          <p:nvPr>
            <p:ph type="body" sz="quarter" idx="20"/>
          </p:nvPr>
        </p:nvSpPr>
        <p:spPr>
          <a:xfrm>
            <a:off x="8162569" y="398029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pic>
        <p:nvPicPr>
          <p:cNvPr id="15" name="Picture 14">
            <a:extLst>
              <a:ext uri="{FF2B5EF4-FFF2-40B4-BE49-F238E27FC236}">
                <a16:creationId xmlns:a16="http://schemas.microsoft.com/office/drawing/2014/main" id="{DE33DC60-9056-884D-9F1D-8726180783D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01611" y="0"/>
            <a:ext cx="1390389" cy="1390389"/>
          </a:xfrm>
          <a:prstGeom prst="rect">
            <a:avLst/>
          </a:prstGeom>
        </p:spPr>
      </p:pic>
      <p:sp>
        <p:nvSpPr>
          <p:cNvPr id="6" name="Rectangle 5">
            <a:extLst>
              <a:ext uri="{FF2B5EF4-FFF2-40B4-BE49-F238E27FC236}">
                <a16:creationId xmlns:a16="http://schemas.microsoft.com/office/drawing/2014/main" id="{60E58EF1-FD15-A342-94AD-D6B78BAD3EDC}"/>
              </a:ext>
            </a:extLst>
          </p:cNvPr>
          <p:cNvSpPr/>
          <p:nvPr userDrawn="1"/>
        </p:nvSpPr>
        <p:spPr>
          <a:xfrm>
            <a:off x="838200" y="2048404"/>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sp>
        <p:nvSpPr>
          <p:cNvPr id="26" name="Rectangle 25">
            <a:extLst>
              <a:ext uri="{FF2B5EF4-FFF2-40B4-BE49-F238E27FC236}">
                <a16:creationId xmlns:a16="http://schemas.microsoft.com/office/drawing/2014/main" id="{AAEB9AE4-3CD1-1B41-AD59-5F6BC614C35E}"/>
              </a:ext>
            </a:extLst>
          </p:cNvPr>
          <p:cNvSpPr/>
          <p:nvPr userDrawn="1"/>
        </p:nvSpPr>
        <p:spPr>
          <a:xfrm>
            <a:off x="4482367" y="2039402"/>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8" name="Rectangle 27">
            <a:extLst>
              <a:ext uri="{FF2B5EF4-FFF2-40B4-BE49-F238E27FC236}">
                <a16:creationId xmlns:a16="http://schemas.microsoft.com/office/drawing/2014/main" id="{39540608-72D2-A741-8B13-CAD9FF5C8B51}"/>
              </a:ext>
            </a:extLst>
          </p:cNvPr>
          <p:cNvSpPr/>
          <p:nvPr userDrawn="1"/>
        </p:nvSpPr>
        <p:spPr>
          <a:xfrm>
            <a:off x="8162567" y="2042696"/>
            <a:ext cx="1134000" cy="1134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7" name="Text Placeholder 7">
            <a:extLst>
              <a:ext uri="{FF2B5EF4-FFF2-40B4-BE49-F238E27FC236}">
                <a16:creationId xmlns:a16="http://schemas.microsoft.com/office/drawing/2014/main" id="{E60639F6-51E5-F144-A290-6041F0300E61}"/>
              </a:ext>
            </a:extLst>
          </p:cNvPr>
          <p:cNvSpPr>
            <a:spLocks noGrp="1"/>
          </p:cNvSpPr>
          <p:nvPr>
            <p:ph type="body" sz="quarter" idx="25" hasCustomPrompt="1"/>
          </p:nvPr>
        </p:nvSpPr>
        <p:spPr>
          <a:xfrm>
            <a:off x="974194" y="2250433"/>
            <a:ext cx="862012" cy="729943"/>
          </a:xfrm>
        </p:spPr>
        <p:txBody>
          <a:bodyPr anchor="ctr" anchorCtr="1">
            <a:noAutofit/>
          </a:bodyPr>
          <a:lstStyle>
            <a:lvl1pPr>
              <a:defRPr sz="6000" b="1" i="0">
                <a:solidFill>
                  <a:schemeClr val="bg1"/>
                </a:solidFill>
                <a:latin typeface="Arial Black" panose="020B0604020202020204" pitchFamily="34" charset="0"/>
                <a:cs typeface="Arial Black" panose="020B0604020202020204" pitchFamily="34" charset="0"/>
              </a:defRPr>
            </a:lvl1pPr>
          </a:lstStyle>
          <a:p>
            <a:pPr lvl="0"/>
            <a:r>
              <a:rPr lang="fi-FI" dirty="0"/>
              <a:t>X</a:t>
            </a:r>
          </a:p>
        </p:txBody>
      </p:sp>
      <p:sp>
        <p:nvSpPr>
          <p:cNvPr id="29" name="Text Placeholder 7">
            <a:extLst>
              <a:ext uri="{FF2B5EF4-FFF2-40B4-BE49-F238E27FC236}">
                <a16:creationId xmlns:a16="http://schemas.microsoft.com/office/drawing/2014/main" id="{1BD855EE-92FB-8A4E-9E20-51E9B136A50B}"/>
              </a:ext>
            </a:extLst>
          </p:cNvPr>
          <p:cNvSpPr>
            <a:spLocks noGrp="1"/>
          </p:cNvSpPr>
          <p:nvPr>
            <p:ph type="body" sz="quarter" idx="26" hasCustomPrompt="1"/>
          </p:nvPr>
        </p:nvSpPr>
        <p:spPr>
          <a:xfrm>
            <a:off x="4618361" y="2241431"/>
            <a:ext cx="862012" cy="729943"/>
          </a:xfrm>
        </p:spPr>
        <p:txBody>
          <a:bodyPr anchor="ctr" anchorCtr="1">
            <a:noAutofit/>
          </a:bodyPr>
          <a:lstStyle>
            <a:lvl1pPr>
              <a:defRPr sz="6000" b="1" i="0">
                <a:solidFill>
                  <a:schemeClr val="bg1"/>
                </a:solidFill>
                <a:latin typeface="Arial Black" panose="020B0604020202020204" pitchFamily="34" charset="0"/>
                <a:cs typeface="Arial Black" panose="020B0604020202020204" pitchFamily="34" charset="0"/>
              </a:defRPr>
            </a:lvl1pPr>
          </a:lstStyle>
          <a:p>
            <a:pPr lvl="0"/>
            <a:r>
              <a:rPr lang="fi-FI" dirty="0"/>
              <a:t>X</a:t>
            </a:r>
          </a:p>
        </p:txBody>
      </p:sp>
      <p:sp>
        <p:nvSpPr>
          <p:cNvPr id="30" name="Text Placeholder 7">
            <a:extLst>
              <a:ext uri="{FF2B5EF4-FFF2-40B4-BE49-F238E27FC236}">
                <a16:creationId xmlns:a16="http://schemas.microsoft.com/office/drawing/2014/main" id="{BC5E4DE9-4216-294B-99E4-84D18C3CED9F}"/>
              </a:ext>
            </a:extLst>
          </p:cNvPr>
          <p:cNvSpPr>
            <a:spLocks noGrp="1"/>
          </p:cNvSpPr>
          <p:nvPr>
            <p:ph type="body" sz="quarter" idx="27" hasCustomPrompt="1"/>
          </p:nvPr>
        </p:nvSpPr>
        <p:spPr>
          <a:xfrm>
            <a:off x="8298561" y="2244725"/>
            <a:ext cx="862012" cy="729943"/>
          </a:xfrm>
        </p:spPr>
        <p:txBody>
          <a:bodyPr anchor="ctr" anchorCtr="1">
            <a:noAutofit/>
          </a:bodyPr>
          <a:lstStyle>
            <a:lvl1pPr>
              <a:defRPr sz="6000" b="1" i="0">
                <a:solidFill>
                  <a:schemeClr val="bg1"/>
                </a:solidFill>
                <a:latin typeface="Arial Black" panose="020B0604020202020204" pitchFamily="34" charset="0"/>
                <a:cs typeface="Arial Black" panose="020B0604020202020204" pitchFamily="34" charset="0"/>
              </a:defRPr>
            </a:lvl1pPr>
          </a:lstStyle>
          <a:p>
            <a:pPr lvl="0"/>
            <a:r>
              <a:rPr lang="fi-FI" dirty="0"/>
              <a:t>X</a:t>
            </a:r>
          </a:p>
        </p:txBody>
      </p:sp>
    </p:spTree>
    <p:extLst>
      <p:ext uri="{BB962C8B-B14F-4D97-AF65-F5344CB8AC3E}">
        <p14:creationId xmlns:p14="http://schemas.microsoft.com/office/powerpoint/2010/main" val="1436910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00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Numerointi">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106891" cy="1325563"/>
          </a:xfrm>
          <a:prstGeom prst="rect">
            <a:avLst/>
          </a:prstGeom>
        </p:spPr>
        <p:txBody>
          <a:bodyPr/>
          <a:lstStyle>
            <a:lvl1pPr>
              <a:defRPr>
                <a:latin typeface="Arial Black"/>
                <a:cs typeface="Arial Black"/>
              </a:defRPr>
            </a:lvl1pPr>
          </a:lstStyle>
          <a:p>
            <a:r>
              <a:rPr lang="fi-FI" noProof="0"/>
              <a:t>Muokkaa ots. perustyyl. napsautt.</a:t>
            </a:r>
            <a:endParaRPr lang="fi-FI" noProof="0" dirty="0"/>
          </a:p>
        </p:txBody>
      </p:sp>
      <p:sp>
        <p:nvSpPr>
          <p:cNvPr id="3" name="Content Placeholder 2"/>
          <p:cNvSpPr>
            <a:spLocks noGrp="1"/>
          </p:cNvSpPr>
          <p:nvPr>
            <p:ph idx="1" hasCustomPrompt="1"/>
          </p:nvPr>
        </p:nvSpPr>
        <p:spPr>
          <a:xfrm>
            <a:off x="838200" y="329740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19" name="Text Placeholder 18"/>
          <p:cNvSpPr>
            <a:spLocks noGrp="1"/>
          </p:cNvSpPr>
          <p:nvPr>
            <p:ph type="body" sz="quarter" idx="16"/>
          </p:nvPr>
        </p:nvSpPr>
        <p:spPr>
          <a:xfrm>
            <a:off x="846669" y="398622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0" name="Content Placeholder 2"/>
          <p:cNvSpPr>
            <a:spLocks noGrp="1"/>
          </p:cNvSpPr>
          <p:nvPr>
            <p:ph idx="17" hasCustomPrompt="1"/>
          </p:nvPr>
        </p:nvSpPr>
        <p:spPr>
          <a:xfrm>
            <a:off x="4482368" y="330119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21" name="Text Placeholder 18"/>
          <p:cNvSpPr>
            <a:spLocks noGrp="1"/>
          </p:cNvSpPr>
          <p:nvPr>
            <p:ph type="body" sz="quarter" idx="18"/>
          </p:nvPr>
        </p:nvSpPr>
        <p:spPr>
          <a:xfrm>
            <a:off x="4482369" y="399001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sp>
        <p:nvSpPr>
          <p:cNvPr id="22" name="Content Placeholder 2"/>
          <p:cNvSpPr>
            <a:spLocks noGrp="1"/>
          </p:cNvSpPr>
          <p:nvPr>
            <p:ph idx="19" hasCustomPrompt="1"/>
          </p:nvPr>
        </p:nvSpPr>
        <p:spPr>
          <a:xfrm>
            <a:off x="8162568" y="3291473"/>
            <a:ext cx="3107197" cy="674530"/>
          </a:xfrm>
          <a:prstGeom prst="rect">
            <a:avLst/>
          </a:prstGeom>
        </p:spPr>
        <p:txBody>
          <a:bodyPr>
            <a:normAutofit/>
          </a:bodyPr>
          <a:lstStyle>
            <a:lvl1pPr marL="0" indent="0">
              <a:buFontTx/>
              <a:buNone/>
              <a:defRPr sz="1600">
                <a:latin typeface="Arial Black"/>
                <a:cs typeface="Arial Black"/>
              </a:defRPr>
            </a:lvl1pPr>
            <a:lvl2pPr marL="0" indent="0">
              <a:lnSpc>
                <a:spcPct val="100000"/>
              </a:lnSpc>
              <a:buFontTx/>
              <a:buNone/>
              <a:defRPr sz="1400">
                <a:latin typeface="+mj-lt"/>
              </a:defRPr>
            </a:lvl2pPr>
            <a:lvl3pPr>
              <a:defRPr sz="1400">
                <a:latin typeface="+mj-lt"/>
              </a:defRPr>
            </a:lvl3pPr>
            <a:lvl4pPr>
              <a:defRPr sz="1400">
                <a:latin typeface="+mj-lt"/>
              </a:defRPr>
            </a:lvl4pPr>
            <a:lvl5pPr>
              <a:defRPr sz="1400">
                <a:latin typeface="+mj-lt"/>
              </a:defRPr>
            </a:lvl5pPr>
          </a:lstStyle>
          <a:p>
            <a:pPr lvl="0"/>
            <a:r>
              <a:rPr lang="fi-FI" dirty="0"/>
              <a:t>Muokkaa napsauttamalla</a:t>
            </a:r>
          </a:p>
        </p:txBody>
      </p:sp>
      <p:sp>
        <p:nvSpPr>
          <p:cNvPr id="23" name="Text Placeholder 18"/>
          <p:cNvSpPr>
            <a:spLocks noGrp="1"/>
          </p:cNvSpPr>
          <p:nvPr>
            <p:ph type="body" sz="quarter" idx="20"/>
          </p:nvPr>
        </p:nvSpPr>
        <p:spPr>
          <a:xfrm>
            <a:off x="8162569" y="3980290"/>
            <a:ext cx="3098731" cy="2052745"/>
          </a:xfrm>
          <a:prstGeom prst="rect">
            <a:avLst/>
          </a:prstGeom>
        </p:spPr>
        <p:txBody>
          <a:bodyPr>
            <a:noAutofit/>
          </a:bodyPr>
          <a:lstStyle>
            <a:lvl1pPr>
              <a:defRPr sz="1600"/>
            </a:lvl1pPr>
            <a:lvl2pPr>
              <a:defRPr sz="1400"/>
            </a:lvl2pPr>
            <a:lvl3pPr>
              <a:defRPr sz="1400"/>
            </a:lvl3pPr>
            <a:lvl4pPr>
              <a:defRPr sz="1400"/>
            </a:lvl4pPr>
            <a:lvl5pPr>
              <a:defRPr sz="1400"/>
            </a:lvl5pPr>
          </a:lstStyle>
          <a:p>
            <a:pPr lvl="0"/>
            <a:r>
              <a:rPr lang="fi-FI" noProof="0"/>
              <a:t>Muokkaa tekstin perustyylejä napsauttamalla</a:t>
            </a:r>
          </a:p>
        </p:txBody>
      </p:sp>
      <p:pic>
        <p:nvPicPr>
          <p:cNvPr id="15" name="Picture 14">
            <a:extLst>
              <a:ext uri="{FF2B5EF4-FFF2-40B4-BE49-F238E27FC236}">
                <a16:creationId xmlns:a16="http://schemas.microsoft.com/office/drawing/2014/main" id="{DE33DC60-9056-884D-9F1D-8726180783D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01611" y="0"/>
            <a:ext cx="1390389" cy="1390389"/>
          </a:xfrm>
          <a:prstGeom prst="rect">
            <a:avLst/>
          </a:prstGeom>
        </p:spPr>
      </p:pic>
    </p:spTree>
    <p:extLst>
      <p:ext uri="{BB962C8B-B14F-4D97-AF65-F5344CB8AC3E}">
        <p14:creationId xmlns:p14="http://schemas.microsoft.com/office/powerpoint/2010/main" val="16445104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001">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image" Target="../media/image56.emf"/><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oleObject" Target="../embeddings/oleObject3.bin"/><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tags" Target="../tags/tag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theme" Target="../theme/theme2.xml"/><Relationship Id="rId8" Type="http://schemas.openxmlformats.org/officeDocument/2006/relationships/slideLayout" Target="../slideLayouts/slideLayout1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slideLayout" Target="../slideLayouts/slideLayout183.xml"/><Relationship Id="rId47" Type="http://schemas.openxmlformats.org/officeDocument/2006/relationships/image" Target="../media/image56.emf"/><Relationship Id="rId7" Type="http://schemas.openxmlformats.org/officeDocument/2006/relationships/slideLayout" Target="../slideLayouts/slideLayout14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45" Type="http://schemas.openxmlformats.org/officeDocument/2006/relationships/tags" Target="../tags/tag4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4" Type="http://schemas.openxmlformats.org/officeDocument/2006/relationships/theme" Target="../theme/theme3.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slideLayout" Target="../slideLayouts/slideLayout184.xml"/><Relationship Id="rId8" Type="http://schemas.openxmlformats.org/officeDocument/2006/relationships/slideLayout" Target="../slideLayouts/slideLayout149.xml"/><Relationship Id="rId3" Type="http://schemas.openxmlformats.org/officeDocument/2006/relationships/slideLayout" Target="../slideLayouts/slideLayout144.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46" Type="http://schemas.openxmlformats.org/officeDocument/2006/relationships/oleObject" Target="../embeddings/oleObject3.bin"/><Relationship Id="rId20" Type="http://schemas.openxmlformats.org/officeDocument/2006/relationships/slideLayout" Target="../slideLayouts/slideLayout161.xml"/><Relationship Id="rId41"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699846-DD43-1E7F-29C5-3C1749986F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endParaRPr lang="fi-FI" noProof="0"/>
          </a:p>
        </p:txBody>
      </p:sp>
      <p:sp>
        <p:nvSpPr>
          <p:cNvPr id="3" name="Text Placeholder 2">
            <a:extLst>
              <a:ext uri="{FF2B5EF4-FFF2-40B4-BE49-F238E27FC236}">
                <a16:creationId xmlns:a16="http://schemas.microsoft.com/office/drawing/2014/main" id="{DFF5A765-8BD0-80AD-7602-C7E0B4CD3C4B}"/>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fi-FI" noProof="0"/>
              <a:t>Kirjoita teksti 18pt</a:t>
            </a:r>
          </a:p>
          <a:p>
            <a:pPr lvl="1"/>
            <a:r>
              <a:rPr lang="fi-FI" noProof="0"/>
              <a:t>Toinen tekstitaso 16 pt</a:t>
            </a:r>
          </a:p>
          <a:p>
            <a:pPr lvl="2"/>
            <a:r>
              <a:rPr lang="fi-FI" noProof="0"/>
              <a:t>Kolmas tekstitaso 14 pt</a:t>
            </a:r>
          </a:p>
          <a:p>
            <a:pPr lvl="3"/>
            <a:r>
              <a:rPr lang="fi-FI" noProof="0"/>
              <a:t>Neljäs tekstitaso 12 pt</a:t>
            </a:r>
          </a:p>
        </p:txBody>
      </p:sp>
      <p:sp>
        <p:nvSpPr>
          <p:cNvPr id="4" name="Date Placeholder 3">
            <a:extLst>
              <a:ext uri="{FF2B5EF4-FFF2-40B4-BE49-F238E27FC236}">
                <a16:creationId xmlns:a16="http://schemas.microsoft.com/office/drawing/2014/main" id="{F366FE6D-8FC9-1506-E451-CC66E25D11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latin typeface="Poppins" pitchFamily="2" charset="77"/>
                <a:cs typeface="Poppins" pitchFamily="2" charset="77"/>
              </a:defRPr>
            </a:lvl1pPr>
          </a:lstStyle>
          <a:p>
            <a:endParaRPr lang="fi-FI" dirty="0"/>
          </a:p>
        </p:txBody>
      </p:sp>
      <p:sp>
        <p:nvSpPr>
          <p:cNvPr id="5" name="Footer Placeholder 4">
            <a:extLst>
              <a:ext uri="{FF2B5EF4-FFF2-40B4-BE49-F238E27FC236}">
                <a16:creationId xmlns:a16="http://schemas.microsoft.com/office/drawing/2014/main" id="{ED69EB9F-1671-C580-F98D-95448C5C83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latin typeface="Poppins" pitchFamily="2" charset="77"/>
                <a:cs typeface="Poppins" pitchFamily="2" charset="77"/>
              </a:defRPr>
            </a:lvl1pPr>
          </a:lstStyle>
          <a:p>
            <a:r>
              <a:rPr lang="fi-FI"/>
              <a:t>7</a:t>
            </a:r>
          </a:p>
        </p:txBody>
      </p:sp>
    </p:spTree>
    <p:extLst>
      <p:ext uri="{BB962C8B-B14F-4D97-AF65-F5344CB8AC3E}">
        <p14:creationId xmlns:p14="http://schemas.microsoft.com/office/powerpoint/2010/main" val="9162298"/>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3" r:id="rId32"/>
    <p:sldLayoutId id="2147483814" r:id="rId33"/>
    <p:sldLayoutId id="2147483815" r:id="rId34"/>
    <p:sldLayoutId id="2147483816" r:id="rId35"/>
    <p:sldLayoutId id="2147483817" r:id="rId36"/>
    <p:sldLayoutId id="2147483818" r:id="rId37"/>
    <p:sldLayoutId id="2147483819" r:id="rId38"/>
    <p:sldLayoutId id="2147483820" r:id="rId39"/>
    <p:sldLayoutId id="2147483821" r:id="rId40"/>
    <p:sldLayoutId id="2147483822" r:id="rId41"/>
    <p:sldLayoutId id="2147483823" r:id="rId42"/>
    <p:sldLayoutId id="2147483824" r:id="rId43"/>
    <p:sldLayoutId id="2147483825" r:id="rId44"/>
    <p:sldLayoutId id="2147483826" r:id="rId45"/>
    <p:sldLayoutId id="2147483827" r:id="rId46"/>
    <p:sldLayoutId id="2147483828" r:id="rId47"/>
    <p:sldLayoutId id="2147483829" r:id="rId48"/>
    <p:sldLayoutId id="2147483830" r:id="rId49"/>
    <p:sldLayoutId id="2147483831" r:id="rId50"/>
    <p:sldLayoutId id="2147483832" r:id="rId51"/>
    <p:sldLayoutId id="2147483833" r:id="rId52"/>
    <p:sldLayoutId id="2147483834" r:id="rId53"/>
    <p:sldLayoutId id="2147483835" r:id="rId54"/>
    <p:sldLayoutId id="2147483836" r:id="rId55"/>
    <p:sldLayoutId id="2147483837" r:id="rId56"/>
    <p:sldLayoutId id="2147483838" r:id="rId57"/>
    <p:sldLayoutId id="2147483839" r:id="rId58"/>
    <p:sldLayoutId id="2147483840" r:id="rId59"/>
    <p:sldLayoutId id="2147483841" r:id="rId60"/>
    <p:sldLayoutId id="2147483842" r:id="rId61"/>
    <p:sldLayoutId id="2147483843" r:id="rId62"/>
    <p:sldLayoutId id="2147483844" r:id="rId63"/>
    <p:sldLayoutId id="2147483845" r:id="rId64"/>
    <p:sldLayoutId id="2147483846" r:id="rId65"/>
    <p:sldLayoutId id="2147483847" r:id="rId66"/>
    <p:sldLayoutId id="2147483848" r:id="rId67"/>
    <p:sldLayoutId id="2147483849" r:id="rId68"/>
    <p:sldLayoutId id="2147483850" r:id="rId69"/>
    <p:sldLayoutId id="2147483851" r:id="rId70"/>
    <p:sldLayoutId id="2147483852" r:id="rId71"/>
    <p:sldLayoutId id="2147483853" r:id="rId72"/>
    <p:sldLayoutId id="2147483854" r:id="rId73"/>
    <p:sldLayoutId id="2147483855" r:id="rId74"/>
    <p:sldLayoutId id="2147483856" r:id="rId75"/>
    <p:sldLayoutId id="2147483857" r:id="rId76"/>
    <p:sldLayoutId id="2147483858" r:id="rId77"/>
    <p:sldLayoutId id="2147483859" r:id="rId78"/>
    <p:sldLayoutId id="2147483860" r:id="rId79"/>
    <p:sldLayoutId id="2147483861" r:id="rId80"/>
    <p:sldLayoutId id="2147483862" r:id="rId81"/>
    <p:sldLayoutId id="2147483863" r:id="rId82"/>
    <p:sldLayoutId id="2147483864" r:id="rId83"/>
    <p:sldLayoutId id="2147483865" r:id="rId84"/>
    <p:sldLayoutId id="2147483866" r:id="rId85"/>
    <p:sldLayoutId id="2147483867" r:id="rId86"/>
    <p:sldLayoutId id="2147483868" r:id="rId87"/>
    <p:sldLayoutId id="2147483869" r:id="rId88"/>
    <p:sldLayoutId id="2147483870" r:id="rId89"/>
    <p:sldLayoutId id="2147483871" r:id="rId90"/>
    <p:sldLayoutId id="2147483872" r:id="rId91"/>
    <p:sldLayoutId id="2147483873" r:id="rId92"/>
    <p:sldLayoutId id="2147483874" r:id="rId93"/>
    <p:sldLayoutId id="2147483751" r:id="rId94"/>
    <p:sldLayoutId id="2147483715" r:id="rId95"/>
    <p:sldLayoutId id="2147483717" r:id="rId96"/>
    <p:sldLayoutId id="2147483776" r:id="rId97"/>
    <p:sldLayoutId id="2147483778" r:id="rId98"/>
    <p:sldLayoutId id="2147483777" r:id="rId99"/>
    <p:sldLayoutId id="2147483718" r:id="rId100"/>
    <p:sldLayoutId id="2147483774" r:id="rId101"/>
    <p:sldLayoutId id="2147483775" r:id="rId102"/>
    <p:sldLayoutId id="2147483765" r:id="rId103"/>
    <p:sldLayoutId id="2147483779" r:id="rId104"/>
    <p:sldLayoutId id="2147483756" r:id="rId105"/>
    <p:sldLayoutId id="2147483766" r:id="rId106"/>
    <p:sldLayoutId id="2147483767" r:id="rId107"/>
    <p:sldLayoutId id="2147483768" r:id="rId108"/>
    <p:sldLayoutId id="2147483769" r:id="rId109"/>
    <p:sldLayoutId id="2147483770" r:id="rId110"/>
    <p:sldLayoutId id="2147483771" r:id="rId111"/>
    <p:sldLayoutId id="2147483772" r:id="rId112"/>
  </p:sldLayoutIdLst>
  <p:hf sldNum="0" hdr="0" dt="0"/>
  <p:txStyles>
    <p:titleStyle>
      <a:lvl1pPr algn="l" defTabSz="914400" rtl="0" eaLnBrk="1" latinLnBrk="0" hangingPunct="1">
        <a:lnSpc>
          <a:spcPct val="100000"/>
        </a:lnSpc>
        <a:spcBef>
          <a:spcPct val="0"/>
        </a:spcBef>
        <a:buNone/>
        <a:defRPr sz="4400" b="1" i="0" kern="1200">
          <a:solidFill>
            <a:srgbClr val="152B96"/>
          </a:solidFill>
          <a:latin typeface="+mj-lt"/>
          <a:ea typeface="+mj-ea"/>
          <a:cs typeface="Poppins" pitchFamily="2" charset="77"/>
        </a:defRPr>
      </a:lvl1pPr>
    </p:titleStyle>
    <p:bodyStyle>
      <a:lvl1pPr marL="0" indent="0" algn="l" defTabSz="914400" rtl="0" eaLnBrk="1" latinLnBrk="0" hangingPunct="1">
        <a:lnSpc>
          <a:spcPct val="110000"/>
        </a:lnSpc>
        <a:spcBef>
          <a:spcPts val="1200"/>
        </a:spcBef>
        <a:spcAft>
          <a:spcPts val="600"/>
        </a:spcAft>
        <a:buFontTx/>
        <a:buNone/>
        <a:defRPr sz="1800" kern="1200">
          <a:solidFill>
            <a:schemeClr val="tx1"/>
          </a:solidFill>
          <a:latin typeface="+mn-lt"/>
          <a:ea typeface="+mn-ea"/>
          <a:cs typeface="Poppins" pitchFamily="2" charset="77"/>
        </a:defRPr>
      </a:lvl1pPr>
      <a:lvl2pPr marL="457200" indent="0" algn="l" defTabSz="914400" rtl="0" eaLnBrk="1" latinLnBrk="0" hangingPunct="1">
        <a:lnSpc>
          <a:spcPct val="110000"/>
        </a:lnSpc>
        <a:spcBef>
          <a:spcPts val="1200"/>
        </a:spcBef>
        <a:spcAft>
          <a:spcPts val="600"/>
        </a:spcAft>
        <a:buFontTx/>
        <a:buNone/>
        <a:defRPr sz="1600" kern="1200">
          <a:solidFill>
            <a:schemeClr val="tx1"/>
          </a:solidFill>
          <a:latin typeface="+mn-lt"/>
          <a:ea typeface="+mn-ea"/>
          <a:cs typeface="Poppins" pitchFamily="2" charset="77"/>
        </a:defRPr>
      </a:lvl2pPr>
      <a:lvl3pPr marL="914400" indent="0" algn="l" defTabSz="914400" rtl="0" eaLnBrk="1" latinLnBrk="0" hangingPunct="1">
        <a:lnSpc>
          <a:spcPct val="110000"/>
        </a:lnSpc>
        <a:spcBef>
          <a:spcPts val="1200"/>
        </a:spcBef>
        <a:spcAft>
          <a:spcPts val="600"/>
        </a:spcAft>
        <a:buFontTx/>
        <a:buNone/>
        <a:defRPr sz="1400" kern="1200">
          <a:solidFill>
            <a:schemeClr val="tx1"/>
          </a:solidFill>
          <a:latin typeface="+mn-lt"/>
          <a:ea typeface="+mn-ea"/>
          <a:cs typeface="Poppins" pitchFamily="2" charset="77"/>
        </a:defRPr>
      </a:lvl3pPr>
      <a:lvl4pPr marL="1371600" indent="0" algn="l" defTabSz="914400" rtl="0" eaLnBrk="1" latinLnBrk="0" hangingPunct="1">
        <a:lnSpc>
          <a:spcPct val="110000"/>
        </a:lnSpc>
        <a:spcBef>
          <a:spcPts val="1200"/>
        </a:spcBef>
        <a:spcAft>
          <a:spcPts val="600"/>
        </a:spcAft>
        <a:buFontTx/>
        <a:buNone/>
        <a:defRPr sz="1200" kern="1200">
          <a:solidFill>
            <a:schemeClr val="tx1"/>
          </a:solidFill>
          <a:latin typeface="+mn-lt"/>
          <a:ea typeface="+mn-ea"/>
          <a:cs typeface="Poppins" pitchFamily="2" charset="77"/>
        </a:defRPr>
      </a:lvl4pPr>
      <a:lvl5pPr marL="1828800" indent="0" algn="l" defTabSz="914400" rtl="0" eaLnBrk="1" latinLnBrk="0" hangingPunct="1">
        <a:lnSpc>
          <a:spcPct val="100000"/>
        </a:lnSpc>
        <a:spcBef>
          <a:spcPts val="1200"/>
        </a:spcBef>
        <a:spcAft>
          <a:spcPts val="600"/>
        </a:spcAft>
        <a:buFontTx/>
        <a:buNone/>
        <a:defRPr sz="1200" kern="1200">
          <a:solidFill>
            <a:schemeClr val="tx1"/>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p15:clr>
            <a:srgbClr val="F26B43"/>
          </p15:clr>
        </p15:guide>
        <p15:guide id="4"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80000" y="420568"/>
            <a:ext cx="11232000" cy="826162"/>
          </a:xfrm>
          <a:prstGeom prst="rect">
            <a:avLst/>
          </a:prstGeom>
        </p:spPr>
        <p:txBody>
          <a:bodyPr vert="horz" wrap="square" lIns="0" tIns="46800" rIns="91440" bIns="45720" rtlCol="0" anchor="t" anchorCtr="0">
            <a:noAutofit/>
          </a:bodyPr>
          <a:lstStyle/>
          <a:p>
            <a:r>
              <a:rPr lang="fi-FI" err="1"/>
              <a:t>Click</a:t>
            </a:r>
            <a:r>
              <a:rPr lang="fi-FI"/>
              <a:t> to </a:t>
            </a:r>
            <a:r>
              <a:rPr lang="fi-FI" err="1"/>
              <a:t>add</a:t>
            </a:r>
            <a:r>
              <a:rPr lang="fi-FI"/>
              <a:t> </a:t>
            </a:r>
            <a:r>
              <a:rPr lang="fi-FI" err="1"/>
              <a:t>title</a:t>
            </a:r>
            <a:endParaRPr lang="fi-FI"/>
          </a:p>
        </p:txBody>
      </p:sp>
      <p:graphicFrame>
        <p:nvGraphicFramePr>
          <p:cNvPr id="2" name="Object 1" hidden="1"/>
          <p:cNvGraphicFramePr>
            <a:graphicFrameLocks noChangeAspect="1"/>
          </p:cNvGraphicFramePr>
          <p:nvPr userDrawn="1">
            <p:custDataLst>
              <p:tags r:id="rId31"/>
            </p:custDataLst>
            <p:extLst>
              <p:ext uri="{D42A27DB-BD31-4B8C-83A1-F6EECF244321}">
                <p14:modId xmlns:p14="http://schemas.microsoft.com/office/powerpoint/2010/main" val="3721613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80000" y="1520826"/>
            <a:ext cx="11232000" cy="4500562"/>
          </a:xfrm>
          <a:prstGeom prst="rect">
            <a:avLst/>
          </a:prstGeom>
        </p:spPr>
        <p:txBody>
          <a:bodyPr vert="horz" lIns="0" tIns="45720" rIns="91440" bIns="45720" rtlCol="0">
            <a:noAutofit/>
          </a:body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p:txBody>
      </p:sp>
      <p:sp>
        <p:nvSpPr>
          <p:cNvPr id="11" name="Date Placeholder 3"/>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fi-FI"/>
          </a:p>
        </p:txBody>
      </p:sp>
      <p:sp>
        <p:nvSpPr>
          <p:cNvPr id="12" name="TextBox 11"/>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solidFill>
                  <a:schemeClr val="tx1">
                    <a:lumMod val="50000"/>
                    <a:lumOff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solidFill>
                <a:schemeClr val="tx1">
                  <a:lumMod val="50000"/>
                  <a:lumOff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4330574"/>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899" r:id="rId24"/>
    <p:sldLayoutId id="2147483900" r:id="rId25"/>
    <p:sldLayoutId id="2147483901" r:id="rId26"/>
    <p:sldLayoutId id="2147483902" r:id="rId27"/>
    <p:sldLayoutId id="2147483903" r:id="rId28"/>
    <p:sldLayoutId id="2147483904" r:id="rId2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sym typeface="Trebuchet MS" panose="020B0603020202020204" pitchFamily="34" charset="0"/>
        </a:defRPr>
      </a:lvl1pPr>
    </p:titleStyle>
    <p:bodyStyle>
      <a:lvl1pPr marL="271463" indent="-271463" algn="l" defTabSz="914400" rtl="0" eaLnBrk="1" latinLnBrk="0" hangingPunct="1">
        <a:lnSpc>
          <a:spcPct val="110000"/>
        </a:lnSpc>
        <a:spcBef>
          <a:spcPts val="600"/>
        </a:spcBef>
        <a:spcAft>
          <a:spcPts val="300"/>
        </a:spcAft>
        <a:buClr>
          <a:schemeClr val="tx2"/>
        </a:buClr>
        <a:buFont typeface="Wingdings" pitchFamily="2" charset="2"/>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1pPr>
      <a:lvl2pPr marL="320040" indent="-219456"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2000" b="0" i="0" kern="1200">
          <a:solidFill>
            <a:schemeClr val="tx1"/>
          </a:solidFill>
          <a:latin typeface="+mn-lt"/>
          <a:ea typeface="+mn-ea"/>
          <a:cs typeface="Calibri" panose="020F0502020204030204" pitchFamily="34" charset="0"/>
          <a:sym typeface="Trebuchet MS" panose="020B0603020202020204" pitchFamily="34" charset="0"/>
        </a:defRPr>
      </a:lvl2pPr>
      <a:lvl3pPr marL="649224" marR="0" indent="-219456" algn="l" defTabSz="914400" rtl="0" eaLnBrk="1" fontAlgn="auto" latinLnBrk="0" hangingPunct="1">
        <a:lnSpc>
          <a:spcPct val="90000"/>
        </a:lnSpc>
        <a:spcBef>
          <a:spcPts val="0"/>
        </a:spcBef>
        <a:spcAft>
          <a:spcPts val="300"/>
        </a:spcAft>
        <a:buClr>
          <a:schemeClr val="tx2"/>
        </a:buClr>
        <a:buSzTx/>
        <a:buFont typeface="Trebuchet MS" panose="020B0603020202020204" pitchFamily="34" charset="0"/>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None/>
        <a:defRPr lang="en-US" sz="2800" b="0" i="0" kern="120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0" i="0" kern="1200" baseline="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0" i="0" kern="1200" baseline="0" smtClean="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0" i="0" kern="1200" baseline="0" dirty="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5">
          <p15:clr>
            <a:srgbClr val="F26B43"/>
          </p15:clr>
        </p15:guide>
        <p15:guide id="2" pos="302">
          <p15:clr>
            <a:srgbClr val="F26B43"/>
          </p15:clr>
        </p15:guide>
        <p15:guide id="3" pos="7378">
          <p15:clr>
            <a:srgbClr val="F26B43"/>
          </p15:clr>
        </p15:guide>
        <p15:guide id="4" orient="horz" pos="3793">
          <p15:clr>
            <a:srgbClr val="F26B43"/>
          </p15:clr>
        </p15:guide>
        <p15:guide id="5" orient="horz" pos="5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80000" y="420568"/>
            <a:ext cx="11232000" cy="826162"/>
          </a:xfrm>
          <a:prstGeom prst="rect">
            <a:avLst/>
          </a:prstGeom>
        </p:spPr>
        <p:txBody>
          <a:bodyPr vert="horz" wrap="square" lIns="0" tIns="46800" rIns="91440" bIns="45720" rtlCol="0" anchor="t" anchorCtr="0">
            <a:noAutofit/>
          </a:bodyPr>
          <a:lstStyle/>
          <a:p>
            <a:r>
              <a:rPr lang="fi-FI" err="1"/>
              <a:t>Click</a:t>
            </a:r>
            <a:r>
              <a:rPr lang="fi-FI"/>
              <a:t> to </a:t>
            </a:r>
            <a:r>
              <a:rPr lang="fi-FI" err="1"/>
              <a:t>add</a:t>
            </a:r>
            <a:r>
              <a:rPr lang="fi-FI"/>
              <a:t> </a:t>
            </a:r>
            <a:r>
              <a:rPr lang="fi-FI" err="1"/>
              <a:t>title</a:t>
            </a:r>
            <a:endParaRPr lang="fi-FI"/>
          </a:p>
        </p:txBody>
      </p:sp>
      <p:graphicFrame>
        <p:nvGraphicFramePr>
          <p:cNvPr id="2" name="Object 1" hidden="1"/>
          <p:cNvGraphicFramePr>
            <a:graphicFrameLocks noChangeAspect="1"/>
          </p:cNvGraphicFramePr>
          <p:nvPr userDrawn="1">
            <p:custDataLst>
              <p:tags r:id="rId45"/>
            </p:custDataLst>
            <p:extLst>
              <p:ext uri="{D42A27DB-BD31-4B8C-83A1-F6EECF244321}">
                <p14:modId xmlns:p14="http://schemas.microsoft.com/office/powerpoint/2010/main" val="3721613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2" name="Object 1" hidden="1"/>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80000" y="1520826"/>
            <a:ext cx="11232000" cy="4500562"/>
          </a:xfrm>
          <a:prstGeom prst="rect">
            <a:avLst/>
          </a:prstGeom>
        </p:spPr>
        <p:txBody>
          <a:bodyPr vert="horz" lIns="0" tIns="45720" rIns="91440" bIns="45720" rtlCol="0">
            <a:noAutofit/>
          </a:body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p:txBody>
      </p:sp>
      <p:sp>
        <p:nvSpPr>
          <p:cNvPr id="11" name="Date Placeholder 3"/>
          <p:cNvSpPr>
            <a:spLocks noGrp="1"/>
          </p:cNvSpPr>
          <p:nvPr>
            <p:ph type="dt" sz="half" idx="2"/>
          </p:nvPr>
        </p:nvSpPr>
        <p:spPr>
          <a:xfrm>
            <a:off x="9637640" y="6649583"/>
            <a:ext cx="1482051" cy="153888"/>
          </a:xfrm>
          <a:prstGeom prst="rect">
            <a:avLst/>
          </a:prstGeom>
          <a:ln>
            <a:noFill/>
          </a:ln>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fi-FI"/>
          </a:p>
        </p:txBody>
      </p:sp>
      <p:sp>
        <p:nvSpPr>
          <p:cNvPr id="12" name="TextBox 11"/>
          <p:cNvSpPr txBox="1"/>
          <p:nvPr userDrawn="1"/>
        </p:nvSpPr>
        <p:spPr>
          <a:xfrm>
            <a:off x="11327177" y="664958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fi-FI" sz="1000" kern="1200" smtClean="0">
                <a:solidFill>
                  <a:schemeClr val="tx1">
                    <a:lumMod val="50000"/>
                    <a:lumOff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fi-FI" sz="1000" kern="1200">
              <a:solidFill>
                <a:schemeClr val="tx1">
                  <a:lumMod val="50000"/>
                  <a:lumOff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3849772"/>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 id="2147483941" r:id="rId36"/>
    <p:sldLayoutId id="2147483942" r:id="rId37"/>
    <p:sldLayoutId id="2147483943" r:id="rId38"/>
    <p:sldLayoutId id="2147483944" r:id="rId39"/>
    <p:sldLayoutId id="2147483945" r:id="rId40"/>
    <p:sldLayoutId id="2147483946" r:id="rId41"/>
    <p:sldLayoutId id="2147483947" r:id="rId42"/>
    <p:sldLayoutId id="2147483948" r:id="rId4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sym typeface="Trebuchet MS" panose="020B0603020202020204" pitchFamily="34" charset="0"/>
        </a:defRPr>
      </a:lvl1pPr>
    </p:titleStyle>
    <p:bodyStyle>
      <a:lvl1pPr marL="271463" indent="-271463" algn="l" defTabSz="914400" rtl="0" eaLnBrk="1" latinLnBrk="0" hangingPunct="1">
        <a:lnSpc>
          <a:spcPct val="110000"/>
        </a:lnSpc>
        <a:spcBef>
          <a:spcPts val="600"/>
        </a:spcBef>
        <a:spcAft>
          <a:spcPts val="300"/>
        </a:spcAft>
        <a:buClr>
          <a:schemeClr val="tx2"/>
        </a:buClr>
        <a:buFont typeface="Wingdings" pitchFamily="2" charset="2"/>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1pPr>
      <a:lvl2pPr marL="320040" indent="-219456"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2000" b="0" i="0" kern="1200">
          <a:solidFill>
            <a:schemeClr val="tx1"/>
          </a:solidFill>
          <a:latin typeface="+mn-lt"/>
          <a:ea typeface="+mn-ea"/>
          <a:cs typeface="Calibri" panose="020F0502020204030204" pitchFamily="34" charset="0"/>
          <a:sym typeface="Trebuchet MS" panose="020B0603020202020204" pitchFamily="34" charset="0"/>
        </a:defRPr>
      </a:lvl2pPr>
      <a:lvl3pPr marL="649224" marR="0" indent="-219456" algn="l" defTabSz="914400" rtl="0" eaLnBrk="1" fontAlgn="auto" latinLnBrk="0" hangingPunct="1">
        <a:lnSpc>
          <a:spcPct val="90000"/>
        </a:lnSpc>
        <a:spcBef>
          <a:spcPts val="0"/>
        </a:spcBef>
        <a:spcAft>
          <a:spcPts val="300"/>
        </a:spcAft>
        <a:buClr>
          <a:schemeClr val="tx2"/>
        </a:buClr>
        <a:buSzTx/>
        <a:buFont typeface="Trebuchet MS" panose="020B0603020202020204" pitchFamily="34" charset="0"/>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None/>
        <a:defRPr lang="en-US" sz="2800" b="0" i="0" kern="120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0" i="0" kern="1200" baseline="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0" i="0" kern="1200" baseline="0" smtClean="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0" i="0" kern="1200" baseline="0" dirty="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5">
          <p15:clr>
            <a:srgbClr val="F26B43"/>
          </p15:clr>
        </p15:guide>
        <p15:guide id="2" pos="302">
          <p15:clr>
            <a:srgbClr val="F26B43"/>
          </p15:clr>
        </p15:guide>
        <p15:guide id="3" pos="7378">
          <p15:clr>
            <a:srgbClr val="F26B43"/>
          </p15:clr>
        </p15:guide>
        <p15:guide id="4" orient="horz" pos="3793">
          <p15:clr>
            <a:srgbClr val="F26B43"/>
          </p15:clr>
        </p15:guide>
        <p15:guide id="5" orient="horz" pos="5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1.xml"/><Relationship Id="rId4" Type="http://schemas.openxmlformats.org/officeDocument/2006/relationships/image" Target="../media/image9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1.xml"/><Relationship Id="rId4" Type="http://schemas.openxmlformats.org/officeDocument/2006/relationships/image" Target="../media/image92.png"/></Relationships>
</file>

<file path=ppt/slides/_rels/slide2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xml"/><Relationship Id="rId1" Type="http://schemas.openxmlformats.org/officeDocument/2006/relationships/slideLayout" Target="../slideLayouts/slideLayout115.xml"/><Relationship Id="rId4" Type="http://schemas.openxmlformats.org/officeDocument/2006/relationships/image" Target="../media/image94.jp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25.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159.xml"/></Relationships>
</file>

<file path=ppt/slides/_rels/slide26.xml.rels><?xml version="1.0" encoding="UTF-8" standalone="yes"?>
<Relationships xmlns="http://schemas.openxmlformats.org/package/2006/relationships"><Relationship Id="rId3" Type="http://schemas.openxmlformats.org/officeDocument/2006/relationships/hyperlink" Target="https://public.vektor.io/lentorata" TargetMode="External"/><Relationship Id="rId2" Type="http://schemas.openxmlformats.org/officeDocument/2006/relationships/notesSlide" Target="../notesSlides/notesSlide4.xml"/><Relationship Id="rId1" Type="http://schemas.openxmlformats.org/officeDocument/2006/relationships/slideLayout" Target="../slideLayouts/slideLayout152.xml"/><Relationship Id="rId4" Type="http://schemas.openxmlformats.org/officeDocument/2006/relationships/image" Target="../media/image96.jpeg"/></Relationships>
</file>

<file path=ppt/slides/_rels/slide27.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notesSlide" Target="../notesSlides/notesSlide5.xml"/><Relationship Id="rId1" Type="http://schemas.openxmlformats.org/officeDocument/2006/relationships/slideLayout" Target="../slideLayouts/slideLayout155.xml"/><Relationship Id="rId4" Type="http://schemas.openxmlformats.org/officeDocument/2006/relationships/hyperlink" Target="https://www.traficom.fi/fi/ajankohtaista/kuulutus-ratalain-1102007-mukaisen-ratasuunnitelman-aloittamisesta-lentorata-oyn"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2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eg"/><Relationship Id="rId1" Type="http://schemas.openxmlformats.org/officeDocument/2006/relationships/slideLayout" Target="../slideLayouts/slideLayout15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5.xml"/><Relationship Id="rId1" Type="http://schemas.openxmlformats.org/officeDocument/2006/relationships/tags" Target="../tags/tag90.xml"/><Relationship Id="rId5" Type="http://schemas.openxmlformats.org/officeDocument/2006/relationships/image" Target="../media/image100.jpeg"/><Relationship Id="rId4" Type="http://schemas.openxmlformats.org/officeDocument/2006/relationships/hyperlink" Target="https://www.ymparisto.fi/sites/default/files/documents/Lentorata_Perusteltu%20p%C3%A4%C3%A4telm%C3%A4_ajantasaistettu_200326.pdf"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32.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146.xml"/></Relationships>
</file>

<file path=ppt/slides/_rels/slide3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59.xml"/></Relationships>
</file>

<file path=ppt/slides/_rels/slide3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59.xml"/></Relationships>
</file>

<file path=ppt/slides/_rels/slide35.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148.xml"/></Relationships>
</file>

<file path=ppt/slides/_rels/slide3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61.xml"/></Relationships>
</file>

<file path=ppt/slides/_rels/slide37.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48.xml"/></Relationships>
</file>

<file path=ppt/slides/_rels/slide38.xml.rels><?xml version="1.0" encoding="UTF-8" standalone="yes"?>
<Relationships xmlns="http://schemas.openxmlformats.org/package/2006/relationships"><Relationship Id="rId3" Type="http://schemas.openxmlformats.org/officeDocument/2006/relationships/hyperlink" Target="https://kartta.hel.fi/avoindata/dokumentit/Maalampoohje_suunnittelijoille.pdf" TargetMode="External"/><Relationship Id="rId2" Type="http://schemas.openxmlformats.org/officeDocument/2006/relationships/image" Target="../media/image108.png"/><Relationship Id="rId1" Type="http://schemas.openxmlformats.org/officeDocument/2006/relationships/slideLayout" Target="../slideLayouts/slideLayout159.xml"/><Relationship Id="rId4" Type="http://schemas.openxmlformats.org/officeDocument/2006/relationships/image" Target="../media/image109.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4.xml.rels><?xml version="1.0" encoding="UTF-8" standalone="yes"?>
<Relationships xmlns="http://schemas.openxmlformats.org/package/2006/relationships"><Relationship Id="rId3" Type="http://schemas.openxmlformats.org/officeDocument/2006/relationships/image" Target="../media/image78.tiff"/><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47.xml"/></Relationships>
</file>

<file path=ppt/slides/_rels/slide41.xml.rels><?xml version="1.0" encoding="UTF-8" standalone="yes"?>
<Relationships xmlns="http://schemas.openxmlformats.org/package/2006/relationships"><Relationship Id="rId3" Type="http://schemas.openxmlformats.org/officeDocument/2006/relationships/hyperlink" Target="https://finlex.fi/fi/lainsaadanto/2017/796" TargetMode="External"/><Relationship Id="rId7" Type="http://schemas.openxmlformats.org/officeDocument/2006/relationships/hyperlink" Target="https://ava.vaylapilvi.fi/ava/Julkaisut/Vaylavirasto/vo_2021-27_rato20_web.pdf" TargetMode="External"/><Relationship Id="rId2" Type="http://schemas.openxmlformats.org/officeDocument/2006/relationships/hyperlink" Target="https://publications.vtt.fi/pdf/tiedotteet/2009/T2468.pdf" TargetMode="External"/><Relationship Id="rId1" Type="http://schemas.openxmlformats.org/officeDocument/2006/relationships/slideLayout" Target="../slideLayouts/slideLayout147.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4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4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06A20AB-2C90-4A00-D16C-49E6C864CA5B}"/>
              </a:ext>
            </a:extLst>
          </p:cNvPr>
          <p:cNvSpPr>
            <a:spLocks noGrp="1"/>
          </p:cNvSpPr>
          <p:nvPr>
            <p:ph type="title"/>
          </p:nvPr>
        </p:nvSpPr>
        <p:spPr/>
        <p:txBody>
          <a:bodyPr/>
          <a:lstStyle/>
          <a:p>
            <a:r>
              <a:rPr lang="fi-FI" dirty="0"/>
              <a:t>Kaavoituksen asukastilaisuus</a:t>
            </a:r>
          </a:p>
        </p:txBody>
      </p:sp>
      <p:sp>
        <p:nvSpPr>
          <p:cNvPr id="3" name="Alaotsikko 2">
            <a:extLst>
              <a:ext uri="{FF2B5EF4-FFF2-40B4-BE49-F238E27FC236}">
                <a16:creationId xmlns:a16="http://schemas.microsoft.com/office/drawing/2014/main" id="{9E1A1432-3432-F10A-E625-24CFD36648B7}"/>
              </a:ext>
            </a:extLst>
          </p:cNvPr>
          <p:cNvSpPr>
            <a:spLocks noGrp="1"/>
          </p:cNvSpPr>
          <p:nvPr>
            <p:ph type="subTitle" idx="1"/>
          </p:nvPr>
        </p:nvSpPr>
        <p:spPr/>
        <p:txBody>
          <a:bodyPr/>
          <a:lstStyle/>
          <a:p>
            <a:r>
              <a:rPr lang="fi-FI" dirty="0"/>
              <a:t>Lumo, Korso 20.5.2026</a:t>
            </a:r>
          </a:p>
        </p:txBody>
      </p:sp>
    </p:spTree>
    <p:extLst>
      <p:ext uri="{BB962C8B-B14F-4D97-AF65-F5344CB8AC3E}">
        <p14:creationId xmlns:p14="http://schemas.microsoft.com/office/powerpoint/2010/main" val="4058071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a:extLst>
              <a:ext uri="{FF2B5EF4-FFF2-40B4-BE49-F238E27FC236}">
                <a16:creationId xmlns:a16="http://schemas.microsoft.com/office/drawing/2014/main" id="{1F6B5934-6052-93D1-EB90-B1893E113F92}"/>
              </a:ext>
            </a:extLst>
          </p:cNvPr>
          <p:cNvPicPr>
            <a:picLocks noChangeAspect="1"/>
          </p:cNvPicPr>
          <p:nvPr/>
        </p:nvPicPr>
        <p:blipFill>
          <a:blip r:embed="rId2"/>
          <a:stretch>
            <a:fillRect/>
          </a:stretch>
        </p:blipFill>
        <p:spPr>
          <a:xfrm>
            <a:off x="2761377" y="2907242"/>
            <a:ext cx="9314986" cy="3950758"/>
          </a:xfrm>
          <a:prstGeom prst="rect">
            <a:avLst/>
          </a:prstGeom>
        </p:spPr>
      </p:pic>
      <p:sp>
        <p:nvSpPr>
          <p:cNvPr id="2" name="Otsikko 1">
            <a:extLst>
              <a:ext uri="{FF2B5EF4-FFF2-40B4-BE49-F238E27FC236}">
                <a16:creationId xmlns:a16="http://schemas.microsoft.com/office/drawing/2014/main" id="{6A7F2F90-6A11-98EC-9455-EE6745CDE21A}"/>
              </a:ext>
            </a:extLst>
          </p:cNvPr>
          <p:cNvSpPr>
            <a:spLocks noGrp="1"/>
          </p:cNvSpPr>
          <p:nvPr>
            <p:ph type="title"/>
          </p:nvPr>
        </p:nvSpPr>
        <p:spPr>
          <a:xfrm>
            <a:off x="838199" y="285122"/>
            <a:ext cx="10515600" cy="1009651"/>
          </a:xfrm>
        </p:spPr>
        <p:txBody>
          <a:bodyPr/>
          <a:lstStyle/>
          <a:p>
            <a:r>
              <a:rPr lang="fi-FI" dirty="0"/>
              <a:t>Yleiskaava ja yleissuunnitelma</a:t>
            </a:r>
          </a:p>
        </p:txBody>
      </p:sp>
      <p:sp>
        <p:nvSpPr>
          <p:cNvPr id="8" name="Tekstiruutu 7">
            <a:extLst>
              <a:ext uri="{FF2B5EF4-FFF2-40B4-BE49-F238E27FC236}">
                <a16:creationId xmlns:a16="http://schemas.microsoft.com/office/drawing/2014/main" id="{0F569DFF-3CAE-899A-E7DA-6F2DAC4E7DAC}"/>
              </a:ext>
            </a:extLst>
          </p:cNvPr>
          <p:cNvSpPr txBox="1"/>
          <p:nvPr/>
        </p:nvSpPr>
        <p:spPr>
          <a:xfrm>
            <a:off x="491581" y="1491483"/>
            <a:ext cx="11476641" cy="1477328"/>
          </a:xfrm>
          <a:prstGeom prst="rect">
            <a:avLst/>
          </a:prstGeom>
          <a:noFill/>
        </p:spPr>
        <p:txBody>
          <a:bodyPr wrap="square" rtlCol="0">
            <a:spAutoFit/>
          </a:bodyPr>
          <a:lstStyle/>
          <a:p>
            <a:r>
              <a:rPr lang="fi-FI" dirty="0"/>
              <a:t>Yleissuunnitelmassa määritellään rautatien sijainti ja tilantarve sekä suhde ympäröivään maankäyttöön. Siinä esitetään myös radan tekniset ja liikenteelliset perusratkaisut sekä ympäristöhaittojen torjumisen periaatteet. </a:t>
            </a:r>
          </a:p>
          <a:p>
            <a:endParaRPr lang="fi-FI" dirty="0"/>
          </a:p>
          <a:p>
            <a:r>
              <a:rPr lang="fi-FI" dirty="0"/>
              <a:t>Yleissuunnitelman hyväksyminen edellyttää, että ratalinja on yleiskaavassa ja se on hyväksytty.</a:t>
            </a:r>
          </a:p>
        </p:txBody>
      </p:sp>
      <p:sp>
        <p:nvSpPr>
          <p:cNvPr id="9" name="AutoShape 2">
            <a:extLst>
              <a:ext uri="{FF2B5EF4-FFF2-40B4-BE49-F238E27FC236}">
                <a16:creationId xmlns:a16="http://schemas.microsoft.com/office/drawing/2014/main" id="{07AB4D00-25F5-03CA-805D-FD5D35F5D07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i-FI"/>
          </a:p>
        </p:txBody>
      </p:sp>
    </p:spTree>
    <p:extLst>
      <p:ext uri="{BB962C8B-B14F-4D97-AF65-F5344CB8AC3E}">
        <p14:creationId xmlns:p14="http://schemas.microsoft.com/office/powerpoint/2010/main" val="40640955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B895D37-42A5-4A93-83F5-FC27B10A2E9E}"/>
              </a:ext>
            </a:extLst>
          </p:cNvPr>
          <p:cNvSpPr>
            <a:spLocks noGrp="1"/>
          </p:cNvSpPr>
          <p:nvPr>
            <p:ph type="title"/>
          </p:nvPr>
        </p:nvSpPr>
        <p:spPr>
          <a:xfrm>
            <a:off x="662836" y="356833"/>
            <a:ext cx="10515600" cy="1009651"/>
          </a:xfrm>
        </p:spPr>
        <p:txBody>
          <a:bodyPr/>
          <a:lstStyle/>
          <a:p>
            <a:r>
              <a:rPr lang="fi-FI" dirty="0"/>
              <a:t>Rakennuskielto</a:t>
            </a:r>
          </a:p>
        </p:txBody>
      </p:sp>
      <p:sp>
        <p:nvSpPr>
          <p:cNvPr id="3" name="Sisällön paikkamerkki 2">
            <a:extLst>
              <a:ext uri="{FF2B5EF4-FFF2-40B4-BE49-F238E27FC236}">
                <a16:creationId xmlns:a16="http://schemas.microsoft.com/office/drawing/2014/main" id="{8C7823D4-5AC1-1FB0-C6D8-4230C5092835}"/>
              </a:ext>
            </a:extLst>
          </p:cNvPr>
          <p:cNvSpPr>
            <a:spLocks noGrp="1"/>
          </p:cNvSpPr>
          <p:nvPr>
            <p:ph sz="quarter" idx="12"/>
          </p:nvPr>
        </p:nvSpPr>
        <p:spPr>
          <a:xfrm>
            <a:off x="525050" y="1803748"/>
            <a:ext cx="3959268" cy="4984595"/>
          </a:xfrm>
        </p:spPr>
        <p:txBody>
          <a:bodyPr>
            <a:normAutofit/>
          </a:bodyPr>
          <a:lstStyle/>
          <a:p>
            <a:r>
              <a:rPr lang="fi-FI" sz="2000" dirty="0"/>
              <a:t>AKL 38 § rakennuskielto yleiskaavan laatimiseksi 23.3.2026-22.3.2031</a:t>
            </a:r>
          </a:p>
          <a:p>
            <a:r>
              <a:rPr lang="fi-FI" sz="2000" dirty="0"/>
              <a:t>Rakennuskielto määrätään rajattuna siten, että kielto koskee ainoastaan rakentamislain 42 §:ssä tarkoitettujen </a:t>
            </a:r>
            <a:r>
              <a:rPr lang="fi-FI" sz="2000" b="1" dirty="0"/>
              <a:t>energiakaivojen (maalämpökaivojen) </a:t>
            </a:r>
            <a:r>
              <a:rPr lang="fi-FI" sz="2000" dirty="0"/>
              <a:t>toteuttamista liitekartalla rajatulla alueella</a:t>
            </a:r>
          </a:p>
          <a:p>
            <a:r>
              <a:rPr lang="fi-FI" sz="2000" dirty="0"/>
              <a:t>kartta.vantaa.fi</a:t>
            </a:r>
          </a:p>
        </p:txBody>
      </p:sp>
      <p:pic>
        <p:nvPicPr>
          <p:cNvPr id="7" name="Kuva 6" descr="Kuva, joka sisältää kohteen teksti, kartta, atlas, diagrammi&#10;&#10;Tekoälyllä luotu sisältö voi olla virheellistä.">
            <a:extLst>
              <a:ext uri="{FF2B5EF4-FFF2-40B4-BE49-F238E27FC236}">
                <a16:creationId xmlns:a16="http://schemas.microsoft.com/office/drawing/2014/main" id="{EC1CB6E6-C1FA-1D25-A71E-980A0F1274F6}"/>
              </a:ext>
            </a:extLst>
          </p:cNvPr>
          <p:cNvPicPr>
            <a:picLocks noChangeAspect="1"/>
          </p:cNvPicPr>
          <p:nvPr/>
        </p:nvPicPr>
        <p:blipFill>
          <a:blip r:embed="rId2"/>
          <a:srcRect t="1865"/>
          <a:stretch>
            <a:fillRect/>
          </a:stretch>
        </p:blipFill>
        <p:spPr>
          <a:xfrm>
            <a:off x="4939990" y="1516572"/>
            <a:ext cx="7162800" cy="4984595"/>
          </a:xfrm>
          <a:prstGeom prst="rect">
            <a:avLst/>
          </a:prstGeom>
          <a:ln>
            <a:solidFill>
              <a:schemeClr val="bg1">
                <a:lumMod val="65000"/>
              </a:schemeClr>
            </a:solidFill>
          </a:ln>
        </p:spPr>
      </p:pic>
    </p:spTree>
    <p:extLst>
      <p:ext uri="{BB962C8B-B14F-4D97-AF65-F5344CB8AC3E}">
        <p14:creationId xmlns:p14="http://schemas.microsoft.com/office/powerpoint/2010/main" val="4171975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C1241F67-F510-EBC4-9366-BD3763A66C17}"/>
              </a:ext>
            </a:extLst>
          </p:cNvPr>
          <p:cNvSpPr>
            <a:spLocks noGrp="1"/>
          </p:cNvSpPr>
          <p:nvPr>
            <p:ph type="title"/>
          </p:nvPr>
        </p:nvSpPr>
        <p:spPr>
          <a:xfrm>
            <a:off x="1201479" y="2139218"/>
            <a:ext cx="5039833" cy="2579563"/>
          </a:xfrm>
        </p:spPr>
        <p:txBody>
          <a:bodyPr/>
          <a:lstStyle/>
          <a:p>
            <a:pPr algn="l"/>
            <a:r>
              <a:rPr lang="fi-FI" sz="2400" dirty="0"/>
              <a:t>Työryhmä</a:t>
            </a:r>
            <a:br>
              <a:rPr lang="fi-FI" sz="1400" dirty="0"/>
            </a:br>
            <a:br>
              <a:rPr lang="fi-FI" sz="1400" dirty="0"/>
            </a:br>
            <a:r>
              <a:rPr lang="fi-FI" sz="1400" dirty="0"/>
              <a:t>Juha Nurmi	Yleiskaavapäällikkö</a:t>
            </a:r>
            <a:br>
              <a:rPr lang="fi-FI" sz="1400" dirty="0"/>
            </a:br>
            <a:br>
              <a:rPr lang="fi-FI" sz="1400" dirty="0"/>
            </a:br>
            <a:r>
              <a:rPr lang="fi-FI" sz="1400" dirty="0"/>
              <a:t>Anna-Mari Kangas	Yleiskaavasuunnittelija</a:t>
            </a:r>
            <a:br>
              <a:rPr lang="fi-FI" sz="1400" dirty="0"/>
            </a:br>
            <a:br>
              <a:rPr lang="fi-FI" sz="1400" dirty="0"/>
            </a:br>
            <a:r>
              <a:rPr lang="fi-FI" sz="1400" dirty="0"/>
              <a:t>Eeva Juusela	Kaavatekninen koordinaattori</a:t>
            </a:r>
            <a:br>
              <a:rPr lang="fi-FI" sz="1400" dirty="0"/>
            </a:br>
            <a:br>
              <a:rPr lang="fi-FI" sz="1400" dirty="0"/>
            </a:br>
            <a:r>
              <a:rPr lang="fi-FI" sz="1400" dirty="0"/>
              <a:t>Joonas Stenroth	Liikenneinsinööri</a:t>
            </a:r>
            <a:endParaRPr lang="fi-FI" dirty="0"/>
          </a:p>
        </p:txBody>
      </p:sp>
    </p:spTree>
    <p:extLst>
      <p:ext uri="{BB962C8B-B14F-4D97-AF65-F5344CB8AC3E}">
        <p14:creationId xmlns:p14="http://schemas.microsoft.com/office/powerpoint/2010/main" val="4180147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8E57FE3-08FE-2C22-BC77-53231C2C9570}"/>
              </a:ext>
            </a:extLst>
          </p:cNvPr>
          <p:cNvSpPr>
            <a:spLocks noGrp="1"/>
          </p:cNvSpPr>
          <p:nvPr>
            <p:ph type="title"/>
          </p:nvPr>
        </p:nvSpPr>
        <p:spPr/>
        <p:txBody>
          <a:bodyPr/>
          <a:lstStyle/>
          <a:p>
            <a:r>
              <a:rPr lang="fi-FI" dirty="0"/>
              <a:t>Lentorata osa 2</a:t>
            </a:r>
            <a:br>
              <a:rPr lang="fi-FI" dirty="0"/>
            </a:br>
            <a:r>
              <a:rPr lang="fi-FI" dirty="0"/>
              <a:t>002653</a:t>
            </a:r>
          </a:p>
        </p:txBody>
      </p:sp>
      <p:sp>
        <p:nvSpPr>
          <p:cNvPr id="3" name="Alaotsikko 2">
            <a:extLst>
              <a:ext uri="{FF2B5EF4-FFF2-40B4-BE49-F238E27FC236}">
                <a16:creationId xmlns:a16="http://schemas.microsoft.com/office/drawing/2014/main" id="{6904AEFF-C54E-43F3-4F72-D01427C061F4}"/>
              </a:ext>
            </a:extLst>
          </p:cNvPr>
          <p:cNvSpPr>
            <a:spLocks noGrp="1"/>
          </p:cNvSpPr>
          <p:nvPr>
            <p:ph type="subTitle" idx="1"/>
          </p:nvPr>
        </p:nvSpPr>
        <p:spPr>
          <a:xfrm>
            <a:off x="914399" y="5243163"/>
            <a:ext cx="7655066" cy="1254741"/>
          </a:xfrm>
        </p:spPr>
        <p:txBody>
          <a:bodyPr/>
          <a:lstStyle/>
          <a:p>
            <a:r>
              <a:rPr lang="fi-FI" dirty="0">
                <a:solidFill>
                  <a:schemeClr val="bg1"/>
                </a:solidFill>
              </a:rPr>
              <a:t>Asukastilaisuus 20.5.2026</a:t>
            </a:r>
          </a:p>
          <a:p>
            <a:r>
              <a:rPr lang="fi-FI" dirty="0">
                <a:solidFill>
                  <a:schemeClr val="bg1"/>
                </a:solidFill>
              </a:rPr>
              <a:t>Mikel Aizpuru ja Suvi Raski / asemakaavoitus</a:t>
            </a:r>
          </a:p>
          <a:p>
            <a:endParaRPr lang="fi-FI" dirty="0"/>
          </a:p>
        </p:txBody>
      </p:sp>
    </p:spTree>
    <p:extLst>
      <p:ext uri="{BB962C8B-B14F-4D97-AF65-F5344CB8AC3E}">
        <p14:creationId xmlns:p14="http://schemas.microsoft.com/office/powerpoint/2010/main" val="3866665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F97720E-B1F1-9799-2ED3-F247F113DBC6}"/>
              </a:ext>
            </a:extLst>
          </p:cNvPr>
          <p:cNvSpPr>
            <a:spLocks noGrp="1"/>
          </p:cNvSpPr>
          <p:nvPr>
            <p:ph type="title"/>
          </p:nvPr>
        </p:nvSpPr>
        <p:spPr>
          <a:xfrm>
            <a:off x="2457450" y="173037"/>
            <a:ext cx="10515600" cy="1009651"/>
          </a:xfrm>
        </p:spPr>
        <p:txBody>
          <a:bodyPr/>
          <a:lstStyle/>
          <a:p>
            <a:r>
              <a:rPr lang="fi-FI" dirty="0"/>
              <a:t>Alustavat kuilualueet</a:t>
            </a:r>
          </a:p>
        </p:txBody>
      </p:sp>
      <p:pic>
        <p:nvPicPr>
          <p:cNvPr id="6" name="Sisällön paikkamerkki 5">
            <a:extLst>
              <a:ext uri="{FF2B5EF4-FFF2-40B4-BE49-F238E27FC236}">
                <a16:creationId xmlns:a16="http://schemas.microsoft.com/office/drawing/2014/main" id="{24A7FDE0-B9C9-8822-83C0-9FE708F0E2AA}"/>
              </a:ext>
            </a:extLst>
          </p:cNvPr>
          <p:cNvPicPr>
            <a:picLocks noGrp="1" noChangeAspect="1"/>
          </p:cNvPicPr>
          <p:nvPr>
            <p:ph sz="quarter" idx="12"/>
          </p:nvPr>
        </p:nvPicPr>
        <p:blipFill>
          <a:blip r:embed="rId2">
            <a:extLst>
              <a:ext uri="{28A0092B-C50C-407E-A947-70E740481C1C}">
                <a14:useLocalDpi xmlns:a14="http://schemas.microsoft.com/office/drawing/2010/main" val="0"/>
              </a:ext>
            </a:extLst>
          </a:blip>
          <a:srcRect t="2045"/>
          <a:stretch>
            <a:fillRect/>
          </a:stretch>
        </p:blipFill>
        <p:spPr>
          <a:xfrm>
            <a:off x="2364607" y="1037063"/>
            <a:ext cx="7087292" cy="5647900"/>
          </a:xfrm>
          <a:prstGeom prst="rect">
            <a:avLst/>
          </a:prstGeom>
        </p:spPr>
      </p:pic>
    </p:spTree>
    <p:extLst>
      <p:ext uri="{BB962C8B-B14F-4D97-AF65-F5344CB8AC3E}">
        <p14:creationId xmlns:p14="http://schemas.microsoft.com/office/powerpoint/2010/main" val="52744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4F772-4575-F4D5-1617-96AFD0AE97E4}"/>
            </a:ext>
          </a:extLst>
        </p:cNvPr>
        <p:cNvGrpSpPr/>
        <p:nvPr/>
      </p:nvGrpSpPr>
      <p:grpSpPr>
        <a:xfrm>
          <a:off x="0" y="0"/>
          <a:ext cx="0" cy="0"/>
          <a:chOff x="0" y="0"/>
          <a:chExt cx="0" cy="0"/>
        </a:xfrm>
      </p:grpSpPr>
      <p:pic>
        <p:nvPicPr>
          <p:cNvPr id="6" name="Kuva 5">
            <a:extLst>
              <a:ext uri="{FF2B5EF4-FFF2-40B4-BE49-F238E27FC236}">
                <a16:creationId xmlns:a16="http://schemas.microsoft.com/office/drawing/2014/main" id="{850BAD71-8188-305E-210D-8457C610CA34}"/>
              </a:ext>
            </a:extLst>
          </p:cNvPr>
          <p:cNvPicPr>
            <a:picLocks noChangeAspect="1"/>
          </p:cNvPicPr>
          <p:nvPr/>
        </p:nvPicPr>
        <p:blipFill>
          <a:blip r:embed="rId2" cstate="screen">
            <a:extLst>
              <a:ext uri="{28A0092B-C50C-407E-A947-70E740481C1C}">
                <a14:useLocalDpi xmlns:a14="http://schemas.microsoft.com/office/drawing/2010/main" val="0"/>
              </a:ext>
            </a:extLst>
          </a:blip>
          <a:srcRect t="36481" b="15926"/>
          <a:stretch>
            <a:fillRect/>
          </a:stretch>
        </p:blipFill>
        <p:spPr>
          <a:xfrm>
            <a:off x="0" y="-24512"/>
            <a:ext cx="10223500" cy="6882512"/>
          </a:xfrm>
          <a:prstGeom prst="rect">
            <a:avLst/>
          </a:prstGeom>
        </p:spPr>
      </p:pic>
    </p:spTree>
    <p:extLst>
      <p:ext uri="{BB962C8B-B14F-4D97-AF65-F5344CB8AC3E}">
        <p14:creationId xmlns:p14="http://schemas.microsoft.com/office/powerpoint/2010/main" val="16481185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a:extLst>
              <a:ext uri="{FF2B5EF4-FFF2-40B4-BE49-F238E27FC236}">
                <a16:creationId xmlns:a16="http://schemas.microsoft.com/office/drawing/2014/main" id="{8B8B6AA5-7F91-DEB4-7E81-B1EE90946AF4}"/>
              </a:ext>
            </a:extLst>
          </p:cNvPr>
          <p:cNvPicPr>
            <a:picLocks noChangeAspect="1"/>
          </p:cNvPicPr>
          <p:nvPr/>
        </p:nvPicPr>
        <p:blipFill>
          <a:blip r:embed="rId2" cstate="screen">
            <a:extLst>
              <a:ext uri="{28A0092B-C50C-407E-A947-70E740481C1C}">
                <a14:useLocalDpi xmlns:a14="http://schemas.microsoft.com/office/drawing/2010/main" val="0"/>
              </a:ext>
            </a:extLst>
          </a:blip>
          <a:srcRect t="2778" b="16481"/>
          <a:stretch>
            <a:fillRect/>
          </a:stretch>
        </p:blipFill>
        <p:spPr>
          <a:xfrm>
            <a:off x="56977" y="1545528"/>
            <a:ext cx="4617562" cy="5273675"/>
          </a:xfrm>
          <a:prstGeom prst="rect">
            <a:avLst/>
          </a:prstGeom>
        </p:spPr>
      </p:pic>
      <p:grpSp>
        <p:nvGrpSpPr>
          <p:cNvPr id="9" name="Ryhmä 8">
            <a:extLst>
              <a:ext uri="{FF2B5EF4-FFF2-40B4-BE49-F238E27FC236}">
                <a16:creationId xmlns:a16="http://schemas.microsoft.com/office/drawing/2014/main" id="{607A3AEA-33BA-0BDE-D190-83708379903E}"/>
              </a:ext>
            </a:extLst>
          </p:cNvPr>
          <p:cNvGrpSpPr/>
          <p:nvPr/>
        </p:nvGrpSpPr>
        <p:grpSpPr>
          <a:xfrm>
            <a:off x="5591174" y="196632"/>
            <a:ext cx="6516724" cy="6464736"/>
            <a:chOff x="4696540" y="-666750"/>
            <a:chExt cx="7278010" cy="7219950"/>
          </a:xfrm>
        </p:grpSpPr>
        <p:pic>
          <p:nvPicPr>
            <p:cNvPr id="5" name="Kuva 4">
              <a:extLst>
                <a:ext uri="{FF2B5EF4-FFF2-40B4-BE49-F238E27FC236}">
                  <a16:creationId xmlns:a16="http://schemas.microsoft.com/office/drawing/2014/main" id="{622016FB-31F6-CC63-E32C-85987AD9BC17}"/>
                </a:ext>
              </a:extLst>
            </p:cNvPr>
            <p:cNvPicPr>
              <a:picLocks noChangeAspect="1"/>
            </p:cNvPicPr>
            <p:nvPr/>
          </p:nvPicPr>
          <p:blipFill>
            <a:blip r:embed="rId3" cstate="screen">
              <a:extLst>
                <a:ext uri="{28A0092B-C50C-407E-A947-70E740481C1C}">
                  <a14:useLocalDpi xmlns:a14="http://schemas.microsoft.com/office/drawing/2010/main" val="0"/>
                </a:ext>
              </a:extLst>
            </a:blip>
            <a:srcRect t="3333" b="15926"/>
            <a:stretch>
              <a:fillRect/>
            </a:stretch>
          </p:blipFill>
          <p:spPr>
            <a:xfrm>
              <a:off x="7126249" y="1016000"/>
              <a:ext cx="4848301" cy="5537200"/>
            </a:xfrm>
            <a:prstGeom prst="rect">
              <a:avLst/>
            </a:prstGeom>
          </p:spPr>
        </p:pic>
        <p:pic>
          <p:nvPicPr>
            <p:cNvPr id="8" name="Kuva 7">
              <a:extLst>
                <a:ext uri="{FF2B5EF4-FFF2-40B4-BE49-F238E27FC236}">
                  <a16:creationId xmlns:a16="http://schemas.microsoft.com/office/drawing/2014/main" id="{EE773B45-AACA-FDDA-5C3F-4689D6FD07A9}"/>
                </a:ext>
              </a:extLst>
            </p:cNvPr>
            <p:cNvPicPr>
              <a:picLocks noChangeAspect="1"/>
            </p:cNvPicPr>
            <p:nvPr/>
          </p:nvPicPr>
          <p:blipFill>
            <a:blip r:embed="rId4" cstate="screen">
              <a:extLst>
                <a:ext uri="{28A0092B-C50C-407E-A947-70E740481C1C}">
                  <a14:useLocalDpi xmlns:a14="http://schemas.microsoft.com/office/drawing/2010/main" val="0"/>
                </a:ext>
              </a:extLst>
            </a:blip>
            <a:srcRect t="2778" b="16481"/>
            <a:stretch>
              <a:fillRect/>
            </a:stretch>
          </p:blipFill>
          <p:spPr>
            <a:xfrm>
              <a:off x="4696540" y="-666750"/>
              <a:ext cx="4848301" cy="5537200"/>
            </a:xfrm>
            <a:prstGeom prst="rect">
              <a:avLst/>
            </a:prstGeom>
          </p:spPr>
        </p:pic>
      </p:grpSp>
      <p:sp>
        <p:nvSpPr>
          <p:cNvPr id="4" name="Tekstiruutu 3">
            <a:extLst>
              <a:ext uri="{FF2B5EF4-FFF2-40B4-BE49-F238E27FC236}">
                <a16:creationId xmlns:a16="http://schemas.microsoft.com/office/drawing/2014/main" id="{789104F4-7304-0B68-FDE5-AB3DACB14AA3}"/>
              </a:ext>
            </a:extLst>
          </p:cNvPr>
          <p:cNvSpPr txBox="1"/>
          <p:nvPr/>
        </p:nvSpPr>
        <p:spPr>
          <a:xfrm>
            <a:off x="56977" y="1000032"/>
            <a:ext cx="3137397" cy="584775"/>
          </a:xfrm>
          <a:prstGeom prst="rect">
            <a:avLst/>
          </a:prstGeom>
          <a:noFill/>
        </p:spPr>
        <p:txBody>
          <a:bodyPr wrap="none" rtlCol="0">
            <a:spAutoFit/>
          </a:bodyPr>
          <a:lstStyle/>
          <a:p>
            <a:r>
              <a:rPr lang="fi-FI" sz="3200" dirty="0"/>
              <a:t>Huuhkajamäki</a:t>
            </a:r>
          </a:p>
        </p:txBody>
      </p:sp>
      <p:sp>
        <p:nvSpPr>
          <p:cNvPr id="6" name="Tekstiruutu 5">
            <a:extLst>
              <a:ext uri="{FF2B5EF4-FFF2-40B4-BE49-F238E27FC236}">
                <a16:creationId xmlns:a16="http://schemas.microsoft.com/office/drawing/2014/main" id="{71B26995-DD60-435F-E25F-AD23446EFFBF}"/>
              </a:ext>
            </a:extLst>
          </p:cNvPr>
          <p:cNvSpPr txBox="1"/>
          <p:nvPr/>
        </p:nvSpPr>
        <p:spPr>
          <a:xfrm>
            <a:off x="5515628" y="5154635"/>
            <a:ext cx="2270173" cy="584775"/>
          </a:xfrm>
          <a:prstGeom prst="rect">
            <a:avLst/>
          </a:prstGeom>
          <a:noFill/>
        </p:spPr>
        <p:txBody>
          <a:bodyPr wrap="none" rtlCol="0">
            <a:spAutoFit/>
          </a:bodyPr>
          <a:lstStyle/>
          <a:p>
            <a:r>
              <a:rPr lang="fi-FI" sz="3200" dirty="0"/>
              <a:t>Anttilantie</a:t>
            </a:r>
          </a:p>
        </p:txBody>
      </p:sp>
      <p:sp>
        <p:nvSpPr>
          <p:cNvPr id="7" name="Otsikko 1">
            <a:extLst>
              <a:ext uri="{FF2B5EF4-FFF2-40B4-BE49-F238E27FC236}">
                <a16:creationId xmlns:a16="http://schemas.microsoft.com/office/drawing/2014/main" id="{3AD36663-420F-1C84-C287-5D4AC2683EC9}"/>
              </a:ext>
            </a:extLst>
          </p:cNvPr>
          <p:cNvSpPr txBox="1">
            <a:spLocks/>
          </p:cNvSpPr>
          <p:nvPr/>
        </p:nvSpPr>
        <p:spPr>
          <a:xfrm>
            <a:off x="257828" y="86904"/>
            <a:ext cx="10515600" cy="1009651"/>
          </a:xfrm>
          <a:prstGeom prst="rect">
            <a:avLst/>
          </a:prstGeom>
        </p:spPr>
        <p:txBody>
          <a:bodyPr/>
          <a:lstStyle>
            <a:lvl1pPr algn="l" defTabSz="914400" rtl="0" eaLnBrk="1" latinLnBrk="0" hangingPunct="1">
              <a:lnSpc>
                <a:spcPct val="100000"/>
              </a:lnSpc>
              <a:spcBef>
                <a:spcPct val="0"/>
              </a:spcBef>
              <a:buNone/>
              <a:defRPr sz="4400" b="1" i="0" kern="1200">
                <a:solidFill>
                  <a:srgbClr val="152B96"/>
                </a:solidFill>
                <a:latin typeface="+mj-lt"/>
                <a:ea typeface="+mj-ea"/>
                <a:cs typeface="Poppins" pitchFamily="2" charset="77"/>
              </a:defRPr>
            </a:lvl1pPr>
          </a:lstStyle>
          <a:p>
            <a:r>
              <a:rPr lang="fi-FI" dirty="0"/>
              <a:t>Tarkastelualueet</a:t>
            </a:r>
          </a:p>
        </p:txBody>
      </p:sp>
      <p:sp>
        <p:nvSpPr>
          <p:cNvPr id="10" name="Tekstiruutu 9">
            <a:extLst>
              <a:ext uri="{FF2B5EF4-FFF2-40B4-BE49-F238E27FC236}">
                <a16:creationId xmlns:a16="http://schemas.microsoft.com/office/drawing/2014/main" id="{A0C073C1-EB71-97B0-FB3F-F22014EE73A0}"/>
              </a:ext>
            </a:extLst>
          </p:cNvPr>
          <p:cNvSpPr txBox="1"/>
          <p:nvPr/>
        </p:nvSpPr>
        <p:spPr>
          <a:xfrm>
            <a:off x="2265769" y="5488636"/>
            <a:ext cx="327334" cy="369332"/>
          </a:xfrm>
          <a:prstGeom prst="rect">
            <a:avLst/>
          </a:prstGeom>
          <a:noFill/>
        </p:spPr>
        <p:txBody>
          <a:bodyPr wrap="none" rtlCol="0">
            <a:spAutoFit/>
          </a:bodyPr>
          <a:lstStyle/>
          <a:p>
            <a:r>
              <a:rPr lang="fi-FI" dirty="0"/>
              <a:t>e</a:t>
            </a:r>
          </a:p>
        </p:txBody>
      </p:sp>
      <p:sp>
        <p:nvSpPr>
          <p:cNvPr id="11" name="Tekstiruutu 10">
            <a:extLst>
              <a:ext uri="{FF2B5EF4-FFF2-40B4-BE49-F238E27FC236}">
                <a16:creationId xmlns:a16="http://schemas.microsoft.com/office/drawing/2014/main" id="{25156B33-D7CA-A919-72F8-29EA7D612836}"/>
              </a:ext>
            </a:extLst>
          </p:cNvPr>
          <p:cNvSpPr txBox="1"/>
          <p:nvPr/>
        </p:nvSpPr>
        <p:spPr>
          <a:xfrm>
            <a:off x="9653557" y="4149997"/>
            <a:ext cx="327334" cy="369332"/>
          </a:xfrm>
          <a:prstGeom prst="rect">
            <a:avLst/>
          </a:prstGeom>
          <a:noFill/>
        </p:spPr>
        <p:txBody>
          <a:bodyPr wrap="none" rtlCol="0">
            <a:spAutoFit/>
          </a:bodyPr>
          <a:lstStyle/>
          <a:p>
            <a:r>
              <a:rPr lang="fi-FI" dirty="0"/>
              <a:t>e</a:t>
            </a:r>
          </a:p>
        </p:txBody>
      </p:sp>
      <p:sp>
        <p:nvSpPr>
          <p:cNvPr id="12" name="Tekstiruutu 11">
            <a:extLst>
              <a:ext uri="{FF2B5EF4-FFF2-40B4-BE49-F238E27FC236}">
                <a16:creationId xmlns:a16="http://schemas.microsoft.com/office/drawing/2014/main" id="{19C3D0C4-ECD7-AF5F-B46F-D444A409E68B}"/>
              </a:ext>
            </a:extLst>
          </p:cNvPr>
          <p:cNvSpPr txBox="1"/>
          <p:nvPr/>
        </p:nvSpPr>
        <p:spPr>
          <a:xfrm>
            <a:off x="7144749" y="1741157"/>
            <a:ext cx="327334" cy="369332"/>
          </a:xfrm>
          <a:prstGeom prst="rect">
            <a:avLst/>
          </a:prstGeom>
          <a:noFill/>
        </p:spPr>
        <p:txBody>
          <a:bodyPr wrap="none" rtlCol="0">
            <a:spAutoFit/>
          </a:bodyPr>
          <a:lstStyle/>
          <a:p>
            <a:r>
              <a:rPr lang="fi-FI" dirty="0"/>
              <a:t>e</a:t>
            </a:r>
          </a:p>
        </p:txBody>
      </p:sp>
    </p:spTree>
    <p:extLst>
      <p:ext uri="{BB962C8B-B14F-4D97-AF65-F5344CB8AC3E}">
        <p14:creationId xmlns:p14="http://schemas.microsoft.com/office/powerpoint/2010/main" val="39927277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49FD1-F243-F7A5-AC9D-2C5F3E9AA5C3}"/>
            </a:ext>
          </a:extLst>
        </p:cNvPr>
        <p:cNvGrpSpPr/>
        <p:nvPr/>
      </p:nvGrpSpPr>
      <p:grpSpPr>
        <a:xfrm>
          <a:off x="0" y="0"/>
          <a:ext cx="0" cy="0"/>
          <a:chOff x="0" y="0"/>
          <a:chExt cx="0" cy="0"/>
        </a:xfrm>
      </p:grpSpPr>
      <p:sp>
        <p:nvSpPr>
          <p:cNvPr id="2" name="Vapaamuotoinen: Muoto 1">
            <a:extLst>
              <a:ext uri="{FF2B5EF4-FFF2-40B4-BE49-F238E27FC236}">
                <a16:creationId xmlns:a16="http://schemas.microsoft.com/office/drawing/2014/main" id="{4DBE342B-BDF5-E8BB-4180-8236F50F6E5E}"/>
              </a:ext>
            </a:extLst>
          </p:cNvPr>
          <p:cNvSpPr/>
          <p:nvPr/>
        </p:nvSpPr>
        <p:spPr>
          <a:xfrm>
            <a:off x="2838450" y="1565910"/>
            <a:ext cx="4536720" cy="1612499"/>
          </a:xfrm>
          <a:custGeom>
            <a:avLst/>
            <a:gdLst>
              <a:gd name="csX0" fmla="*/ 0 w 2743200"/>
              <a:gd name="csY0" fmla="*/ 484095 h 941295"/>
              <a:gd name="csX1" fmla="*/ 1658471 w 2743200"/>
              <a:gd name="csY1" fmla="*/ 0 h 941295"/>
              <a:gd name="csX2" fmla="*/ 2743200 w 2743200"/>
              <a:gd name="csY2" fmla="*/ 367553 h 941295"/>
              <a:gd name="csX3" fmla="*/ 1021977 w 2743200"/>
              <a:gd name="csY3" fmla="*/ 941295 h 941295"/>
              <a:gd name="csX4" fmla="*/ 0 w 2743200"/>
              <a:gd name="csY4" fmla="*/ 484095 h 941295"/>
              <a:gd name="csX0" fmla="*/ 0 w 3238500"/>
              <a:gd name="csY0" fmla="*/ 263115 h 941295"/>
              <a:gd name="csX1" fmla="*/ 2153771 w 3238500"/>
              <a:gd name="csY1" fmla="*/ 0 h 941295"/>
              <a:gd name="csX2" fmla="*/ 3238500 w 3238500"/>
              <a:gd name="csY2" fmla="*/ 367553 h 941295"/>
              <a:gd name="csX3" fmla="*/ 1517277 w 3238500"/>
              <a:gd name="csY3" fmla="*/ 941295 h 941295"/>
              <a:gd name="csX4" fmla="*/ 0 w 3238500"/>
              <a:gd name="csY4" fmla="*/ 263115 h 941295"/>
              <a:gd name="csX0" fmla="*/ 0 w 3238500"/>
              <a:gd name="csY0" fmla="*/ 445995 h 1124175"/>
              <a:gd name="csX1" fmla="*/ 1650851 w 3238500"/>
              <a:gd name="csY1" fmla="*/ 0 h 1124175"/>
              <a:gd name="csX2" fmla="*/ 3238500 w 3238500"/>
              <a:gd name="csY2" fmla="*/ 550433 h 1124175"/>
              <a:gd name="csX3" fmla="*/ 1517277 w 3238500"/>
              <a:gd name="csY3" fmla="*/ 1124175 h 1124175"/>
              <a:gd name="csX4" fmla="*/ 0 w 3238500"/>
              <a:gd name="csY4" fmla="*/ 445995 h 1124175"/>
              <a:gd name="csX0" fmla="*/ 0 w 3238500"/>
              <a:gd name="csY0" fmla="*/ 556832 h 1124175"/>
              <a:gd name="csX1" fmla="*/ 1650851 w 3238500"/>
              <a:gd name="csY1" fmla="*/ 0 h 1124175"/>
              <a:gd name="csX2" fmla="*/ 3238500 w 3238500"/>
              <a:gd name="csY2" fmla="*/ 550433 h 1124175"/>
              <a:gd name="csX3" fmla="*/ 1517277 w 3238500"/>
              <a:gd name="csY3" fmla="*/ 1124175 h 1124175"/>
              <a:gd name="csX4" fmla="*/ 0 w 3238500"/>
              <a:gd name="csY4" fmla="*/ 556832 h 1124175"/>
              <a:gd name="csX0" fmla="*/ 0 w 3238500"/>
              <a:gd name="csY0" fmla="*/ 556832 h 1124175"/>
              <a:gd name="csX1" fmla="*/ 301980 w 3238500"/>
              <a:gd name="csY1" fmla="*/ 434966 h 1124175"/>
              <a:gd name="csX2" fmla="*/ 1650851 w 3238500"/>
              <a:gd name="csY2" fmla="*/ 0 h 1124175"/>
              <a:gd name="csX3" fmla="*/ 3238500 w 3238500"/>
              <a:gd name="csY3" fmla="*/ 550433 h 1124175"/>
              <a:gd name="csX4" fmla="*/ 1517277 w 3238500"/>
              <a:gd name="csY4" fmla="*/ 1124175 h 1124175"/>
              <a:gd name="csX5" fmla="*/ 0 w 3238500"/>
              <a:gd name="csY5" fmla="*/ 556832 h 1124175"/>
              <a:gd name="csX0" fmla="*/ 1298220 w 4536720"/>
              <a:gd name="csY0" fmla="*/ 556832 h 1124175"/>
              <a:gd name="csX1" fmla="*/ 0 w 4536720"/>
              <a:gd name="csY1" fmla="*/ 47616 h 1124175"/>
              <a:gd name="csX2" fmla="*/ 2949071 w 4536720"/>
              <a:gd name="csY2" fmla="*/ 0 h 1124175"/>
              <a:gd name="csX3" fmla="*/ 4536720 w 4536720"/>
              <a:gd name="csY3" fmla="*/ 550433 h 1124175"/>
              <a:gd name="csX4" fmla="*/ 2815497 w 4536720"/>
              <a:gd name="csY4" fmla="*/ 1124175 h 1124175"/>
              <a:gd name="csX5" fmla="*/ 1298220 w 4536720"/>
              <a:gd name="csY5" fmla="*/ 556832 h 1124175"/>
              <a:gd name="csX0" fmla="*/ 1298220 w 4536720"/>
              <a:gd name="csY0" fmla="*/ 556832 h 1124175"/>
              <a:gd name="csX1" fmla="*/ 0 w 4536720"/>
              <a:gd name="csY1" fmla="*/ 47616 h 1124175"/>
              <a:gd name="csX2" fmla="*/ 1606550 w 4536720"/>
              <a:gd name="csY2" fmla="*/ 28566 h 1124175"/>
              <a:gd name="csX3" fmla="*/ 2949071 w 4536720"/>
              <a:gd name="csY3" fmla="*/ 0 h 1124175"/>
              <a:gd name="csX4" fmla="*/ 4536720 w 4536720"/>
              <a:gd name="csY4" fmla="*/ 550433 h 1124175"/>
              <a:gd name="csX5" fmla="*/ 2815497 w 4536720"/>
              <a:gd name="csY5" fmla="*/ 1124175 h 1124175"/>
              <a:gd name="csX6" fmla="*/ 1298220 w 4536720"/>
              <a:gd name="csY6" fmla="*/ 556832 h 1124175"/>
              <a:gd name="csX0" fmla="*/ 1298220 w 4536720"/>
              <a:gd name="csY0" fmla="*/ 991816 h 1559159"/>
              <a:gd name="csX1" fmla="*/ 0 w 4536720"/>
              <a:gd name="csY1" fmla="*/ 482600 h 1559159"/>
              <a:gd name="csX2" fmla="*/ 1663700 w 4536720"/>
              <a:gd name="csY2" fmla="*/ 0 h 1559159"/>
              <a:gd name="csX3" fmla="*/ 2949071 w 4536720"/>
              <a:gd name="csY3" fmla="*/ 434984 h 1559159"/>
              <a:gd name="csX4" fmla="*/ 4536720 w 4536720"/>
              <a:gd name="csY4" fmla="*/ 985417 h 1559159"/>
              <a:gd name="csX5" fmla="*/ 2815497 w 4536720"/>
              <a:gd name="csY5" fmla="*/ 1559159 h 1559159"/>
              <a:gd name="csX6" fmla="*/ 1298220 w 4536720"/>
              <a:gd name="csY6" fmla="*/ 991816 h 155915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298220 w 4536720"/>
              <a:gd name="csY6" fmla="*/ 1045156 h 161249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536720" h="1612499">
                <a:moveTo>
                  <a:pt x="1298220" y="1045156"/>
                </a:moveTo>
                <a:lnTo>
                  <a:pt x="0" y="535940"/>
                </a:lnTo>
                <a:lnTo>
                  <a:pt x="1549400" y="0"/>
                </a:lnTo>
                <a:lnTo>
                  <a:pt x="2949071" y="488324"/>
                </a:lnTo>
                <a:lnTo>
                  <a:pt x="4536720" y="1038757"/>
                </a:lnTo>
                <a:lnTo>
                  <a:pt x="2815497" y="1612499"/>
                </a:lnTo>
                <a:lnTo>
                  <a:pt x="1298220" y="1045156"/>
                </a:lnTo>
                <a:close/>
              </a:path>
            </a:pathLst>
          </a:custGeom>
          <a:solidFill>
            <a:schemeClr val="accent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ln w="0"/>
              <a:solidFill>
                <a:schemeClr val="tx1"/>
              </a:solidFill>
              <a:effectLst>
                <a:outerShdw blurRad="38100" dist="19050" dir="2700000" algn="tl" rotWithShape="0">
                  <a:schemeClr val="dk1">
                    <a:alpha val="40000"/>
                  </a:schemeClr>
                </a:outerShdw>
              </a:effectLst>
            </a:endParaRPr>
          </a:p>
        </p:txBody>
      </p:sp>
      <p:sp>
        <p:nvSpPr>
          <p:cNvPr id="3" name="Vapaamuotoinen: Muoto 2">
            <a:extLst>
              <a:ext uri="{FF2B5EF4-FFF2-40B4-BE49-F238E27FC236}">
                <a16:creationId xmlns:a16="http://schemas.microsoft.com/office/drawing/2014/main" id="{87FB71AB-8016-972F-185D-24717B55AFE0}"/>
              </a:ext>
            </a:extLst>
          </p:cNvPr>
          <p:cNvSpPr/>
          <p:nvPr/>
        </p:nvSpPr>
        <p:spPr>
          <a:xfrm>
            <a:off x="1897736" y="2683950"/>
            <a:ext cx="9723904" cy="3403506"/>
          </a:xfrm>
          <a:custGeom>
            <a:avLst/>
            <a:gdLst>
              <a:gd name="csX0" fmla="*/ 0 w 9923929"/>
              <a:gd name="csY0" fmla="*/ 2931459 h 3379694"/>
              <a:gd name="csX1" fmla="*/ 8821270 w 9923929"/>
              <a:gd name="csY1" fmla="*/ 0 h 3379694"/>
              <a:gd name="csX2" fmla="*/ 9923929 w 9923929"/>
              <a:gd name="csY2" fmla="*/ 233083 h 3379694"/>
              <a:gd name="csX3" fmla="*/ 941294 w 9923929"/>
              <a:gd name="csY3" fmla="*/ 3379694 h 3379694"/>
              <a:gd name="csX4" fmla="*/ 0 w 9923929"/>
              <a:gd name="csY4" fmla="*/ 2931459 h 3379694"/>
              <a:gd name="csX0" fmla="*/ 0 w 9723904"/>
              <a:gd name="csY0" fmla="*/ 2931459 h 3379694"/>
              <a:gd name="csX1" fmla="*/ 8821270 w 9723904"/>
              <a:gd name="csY1" fmla="*/ 0 h 3379694"/>
              <a:gd name="csX2" fmla="*/ 9723904 w 9723904"/>
              <a:gd name="csY2" fmla="*/ 299758 h 3379694"/>
              <a:gd name="csX3" fmla="*/ 941294 w 9723904"/>
              <a:gd name="csY3" fmla="*/ 3379694 h 3379694"/>
              <a:gd name="csX4" fmla="*/ 0 w 9723904"/>
              <a:gd name="csY4" fmla="*/ 2931459 h 3379694"/>
              <a:gd name="csX0" fmla="*/ 0 w 9723904"/>
              <a:gd name="csY0" fmla="*/ 2955271 h 3403506"/>
              <a:gd name="csX1" fmla="*/ 8883183 w 9723904"/>
              <a:gd name="csY1" fmla="*/ 0 h 3403506"/>
              <a:gd name="csX2" fmla="*/ 9723904 w 9723904"/>
              <a:gd name="csY2" fmla="*/ 323570 h 3403506"/>
              <a:gd name="csX3" fmla="*/ 941294 w 9723904"/>
              <a:gd name="csY3" fmla="*/ 3403506 h 3403506"/>
              <a:gd name="csX4" fmla="*/ 0 w 9723904"/>
              <a:gd name="csY4" fmla="*/ 2955271 h 3403506"/>
              <a:gd name="csX0" fmla="*/ 0 w 9723904"/>
              <a:gd name="csY0" fmla="*/ 2955271 h 3403506"/>
              <a:gd name="csX1" fmla="*/ 2941992 w 9723904"/>
              <a:gd name="csY1" fmla="*/ 197610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3368712 w 9723904"/>
              <a:gd name="csY2" fmla="*/ 182370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443132 w 9723904"/>
              <a:gd name="csY2" fmla="*/ 147318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245012 w 9723904"/>
              <a:gd name="csY2" fmla="*/ 154938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940212 w 9723904"/>
              <a:gd name="csY2" fmla="*/ 121410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345852 w 9723904"/>
              <a:gd name="csY2" fmla="*/ 16103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78112 w 9723904"/>
              <a:gd name="csY2" fmla="*/ 17246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68876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41167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260204 w 9723904"/>
              <a:gd name="csY2" fmla="*/ 175148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712395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723904" h="3403506">
                <a:moveTo>
                  <a:pt x="0" y="2955271"/>
                </a:moveTo>
                <a:lnTo>
                  <a:pt x="2797212" y="2029441"/>
                </a:lnTo>
                <a:lnTo>
                  <a:pt x="973571" y="1257871"/>
                </a:lnTo>
                <a:lnTo>
                  <a:pt x="2629302" y="712395"/>
                </a:lnTo>
                <a:lnTo>
                  <a:pt x="4443132" y="1473181"/>
                </a:lnTo>
                <a:lnTo>
                  <a:pt x="8883183" y="0"/>
                </a:lnTo>
                <a:lnTo>
                  <a:pt x="9723904" y="323570"/>
                </a:lnTo>
                <a:lnTo>
                  <a:pt x="941294" y="3403506"/>
                </a:lnTo>
                <a:lnTo>
                  <a:pt x="0" y="2955271"/>
                </a:lnTo>
                <a:close/>
              </a:path>
            </a:pathLst>
          </a:custGeom>
          <a:noFill/>
          <a:ln>
            <a:solidFill>
              <a:srgbClr val="FF0000"/>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4" name="Suora yhdysviiva 3">
            <a:extLst>
              <a:ext uri="{FF2B5EF4-FFF2-40B4-BE49-F238E27FC236}">
                <a16:creationId xmlns:a16="http://schemas.microsoft.com/office/drawing/2014/main" id="{26A7BF82-A02D-160E-FBFC-F7BE68F45696}"/>
              </a:ext>
            </a:extLst>
          </p:cNvPr>
          <p:cNvCxnSpPr>
            <a:cxnSpLocks/>
          </p:cNvCxnSpPr>
          <p:nvPr/>
        </p:nvCxnSpPr>
        <p:spPr>
          <a:xfrm>
            <a:off x="2841510" y="2113386"/>
            <a:ext cx="29597" cy="1818059"/>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5" name="Suora yhdysviiva 4">
            <a:extLst>
              <a:ext uri="{FF2B5EF4-FFF2-40B4-BE49-F238E27FC236}">
                <a16:creationId xmlns:a16="http://schemas.microsoft.com/office/drawing/2014/main" id="{C03FA7D9-658D-B1DA-30DC-0A9B6685E45A}"/>
              </a:ext>
            </a:extLst>
          </p:cNvPr>
          <p:cNvCxnSpPr>
            <a:cxnSpLocks/>
          </p:cNvCxnSpPr>
          <p:nvPr/>
        </p:nvCxnSpPr>
        <p:spPr>
          <a:xfrm flipH="1">
            <a:off x="5617961" y="3178409"/>
            <a:ext cx="27021" cy="1926991"/>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6" name="Suora yhdysviiva 5">
            <a:extLst>
              <a:ext uri="{FF2B5EF4-FFF2-40B4-BE49-F238E27FC236}">
                <a16:creationId xmlns:a16="http://schemas.microsoft.com/office/drawing/2014/main" id="{B9BFC651-98D8-0EFE-A8C6-189EB9D25010}"/>
              </a:ext>
            </a:extLst>
          </p:cNvPr>
          <p:cNvCxnSpPr>
            <a:cxnSpLocks/>
          </p:cNvCxnSpPr>
          <p:nvPr/>
        </p:nvCxnSpPr>
        <p:spPr>
          <a:xfrm flipH="1">
            <a:off x="7300913" y="2600933"/>
            <a:ext cx="74258" cy="1909155"/>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7" name="Suora yhdysviiva 6">
            <a:extLst>
              <a:ext uri="{FF2B5EF4-FFF2-40B4-BE49-F238E27FC236}">
                <a16:creationId xmlns:a16="http://schemas.microsoft.com/office/drawing/2014/main" id="{2115685F-313A-AFCD-C829-FEC3A8FA08C5}"/>
              </a:ext>
            </a:extLst>
          </p:cNvPr>
          <p:cNvCxnSpPr>
            <a:cxnSpLocks/>
            <a:endCxn id="3" idx="3"/>
          </p:cNvCxnSpPr>
          <p:nvPr/>
        </p:nvCxnSpPr>
        <p:spPr>
          <a:xfrm>
            <a:off x="4527038" y="2769869"/>
            <a:ext cx="0" cy="626476"/>
          </a:xfrm>
          <a:prstGeom prst="line">
            <a:avLst/>
          </a:prstGeom>
          <a:ln w="12700">
            <a:prstDash val="dash"/>
          </a:ln>
        </p:spPr>
        <p:style>
          <a:lnRef idx="2">
            <a:schemeClr val="dk1"/>
          </a:lnRef>
          <a:fillRef idx="0">
            <a:schemeClr val="dk1"/>
          </a:fillRef>
          <a:effectRef idx="1">
            <a:schemeClr val="dk1"/>
          </a:effectRef>
          <a:fontRef idx="minor">
            <a:schemeClr val="tx1"/>
          </a:fontRef>
        </p:style>
      </p:cxnSp>
      <p:grpSp>
        <p:nvGrpSpPr>
          <p:cNvPr id="9" name="Ryhmä 8">
            <a:extLst>
              <a:ext uri="{FF2B5EF4-FFF2-40B4-BE49-F238E27FC236}">
                <a16:creationId xmlns:a16="http://schemas.microsoft.com/office/drawing/2014/main" id="{17D320BC-9721-8237-3BD5-F6E25C469E09}"/>
              </a:ext>
            </a:extLst>
          </p:cNvPr>
          <p:cNvGrpSpPr/>
          <p:nvPr/>
        </p:nvGrpSpPr>
        <p:grpSpPr>
          <a:xfrm>
            <a:off x="2167763" y="2789803"/>
            <a:ext cx="8861479" cy="2983345"/>
            <a:chOff x="341745" y="2179782"/>
            <a:chExt cx="8861479" cy="2983345"/>
          </a:xfrm>
        </p:grpSpPr>
        <p:cxnSp>
          <p:nvCxnSpPr>
            <p:cNvPr id="10" name="Suora yhdysviiva 9">
              <a:extLst>
                <a:ext uri="{FF2B5EF4-FFF2-40B4-BE49-F238E27FC236}">
                  <a16:creationId xmlns:a16="http://schemas.microsoft.com/office/drawing/2014/main" id="{927D0E94-8772-5E9F-C234-DD518151CE2D}"/>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11" name="Suora yhdysviiva 10">
              <a:extLst>
                <a:ext uri="{FF2B5EF4-FFF2-40B4-BE49-F238E27FC236}">
                  <a16:creationId xmlns:a16="http://schemas.microsoft.com/office/drawing/2014/main" id="{CEF41F9C-A66F-CB97-2EEE-D5D2F6261D99}"/>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 name="Suora yhdysviiva 11">
              <a:extLst>
                <a:ext uri="{FF2B5EF4-FFF2-40B4-BE49-F238E27FC236}">
                  <a16:creationId xmlns:a16="http://schemas.microsoft.com/office/drawing/2014/main" id="{918B1419-7C88-0B6E-BE94-9459ED8B8799}"/>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 name="Suora yhdysviiva 12">
              <a:extLst>
                <a:ext uri="{FF2B5EF4-FFF2-40B4-BE49-F238E27FC236}">
                  <a16:creationId xmlns:a16="http://schemas.microsoft.com/office/drawing/2014/main" id="{7968D20D-81A2-6F16-A249-009CA2E7DE99}"/>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 name="Suora yhdysviiva 13">
              <a:extLst>
                <a:ext uri="{FF2B5EF4-FFF2-40B4-BE49-F238E27FC236}">
                  <a16:creationId xmlns:a16="http://schemas.microsoft.com/office/drawing/2014/main" id="{7D084CDE-F451-2C5F-14D4-87EDDB695B7E}"/>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 name="Suora yhdysviiva 14">
              <a:extLst>
                <a:ext uri="{FF2B5EF4-FFF2-40B4-BE49-F238E27FC236}">
                  <a16:creationId xmlns:a16="http://schemas.microsoft.com/office/drawing/2014/main" id="{9CD9B13E-FB1B-E966-24D3-6117EBA09B42}"/>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 name="Suora yhdysviiva 15">
              <a:extLst>
                <a:ext uri="{FF2B5EF4-FFF2-40B4-BE49-F238E27FC236}">
                  <a16:creationId xmlns:a16="http://schemas.microsoft.com/office/drawing/2014/main" id="{44953987-C867-4958-45B6-0C747FE98E6F}"/>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7" name="Suora yhdysviiva 16">
              <a:extLst>
                <a:ext uri="{FF2B5EF4-FFF2-40B4-BE49-F238E27FC236}">
                  <a16:creationId xmlns:a16="http://schemas.microsoft.com/office/drawing/2014/main" id="{7EB7469F-66B2-0B5E-C094-7A4D76F4364F}"/>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8" name="Suora yhdysviiva 17">
              <a:extLst>
                <a:ext uri="{FF2B5EF4-FFF2-40B4-BE49-F238E27FC236}">
                  <a16:creationId xmlns:a16="http://schemas.microsoft.com/office/drawing/2014/main" id="{439D2CA2-7F8A-62FB-4C94-42DAE7DFB423}"/>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9" name="Suora yhdysviiva 18">
              <a:extLst>
                <a:ext uri="{FF2B5EF4-FFF2-40B4-BE49-F238E27FC236}">
                  <a16:creationId xmlns:a16="http://schemas.microsoft.com/office/drawing/2014/main" id="{16F442FA-7AF9-3F61-E087-1C8B67B381EB}"/>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0" name="Suora yhdysviiva 19">
              <a:extLst>
                <a:ext uri="{FF2B5EF4-FFF2-40B4-BE49-F238E27FC236}">
                  <a16:creationId xmlns:a16="http://schemas.microsoft.com/office/drawing/2014/main" id="{62EBBE60-B4DD-4915-972A-39EBC2B3BBA9}"/>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1" name="Suora yhdysviiva 20">
              <a:extLst>
                <a:ext uri="{FF2B5EF4-FFF2-40B4-BE49-F238E27FC236}">
                  <a16:creationId xmlns:a16="http://schemas.microsoft.com/office/drawing/2014/main" id="{A92D985D-D192-A646-D78C-FA7EA54A6735}"/>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2" name="Suora yhdysviiva 21">
              <a:extLst>
                <a:ext uri="{FF2B5EF4-FFF2-40B4-BE49-F238E27FC236}">
                  <a16:creationId xmlns:a16="http://schemas.microsoft.com/office/drawing/2014/main" id="{2FE83592-52A0-B72E-942E-1327095B9C27}"/>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3" name="Suora yhdysviiva 22">
              <a:extLst>
                <a:ext uri="{FF2B5EF4-FFF2-40B4-BE49-F238E27FC236}">
                  <a16:creationId xmlns:a16="http://schemas.microsoft.com/office/drawing/2014/main" id="{A96021BA-CEF6-17B2-45F8-E6D77EB4A7EE}"/>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4" name="Suora yhdysviiva 23">
              <a:extLst>
                <a:ext uri="{FF2B5EF4-FFF2-40B4-BE49-F238E27FC236}">
                  <a16:creationId xmlns:a16="http://schemas.microsoft.com/office/drawing/2014/main" id="{70E4BA8C-099D-CAAD-4FB3-3379D0B0FD10}"/>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5" name="Suora yhdysviiva 24">
              <a:extLst>
                <a:ext uri="{FF2B5EF4-FFF2-40B4-BE49-F238E27FC236}">
                  <a16:creationId xmlns:a16="http://schemas.microsoft.com/office/drawing/2014/main" id="{7946D828-1B93-D973-156E-7BC013E432B3}"/>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6" name="Suora yhdysviiva 25">
              <a:extLst>
                <a:ext uri="{FF2B5EF4-FFF2-40B4-BE49-F238E27FC236}">
                  <a16:creationId xmlns:a16="http://schemas.microsoft.com/office/drawing/2014/main" id="{03C45AA7-C8F8-E07D-810A-39C1E424E8A7}"/>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7" name="Suora yhdysviiva 26">
              <a:extLst>
                <a:ext uri="{FF2B5EF4-FFF2-40B4-BE49-F238E27FC236}">
                  <a16:creationId xmlns:a16="http://schemas.microsoft.com/office/drawing/2014/main" id="{B6FE8946-27D8-E6D1-6035-61A7136ACA92}"/>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8" name="Suora yhdysviiva 27">
              <a:extLst>
                <a:ext uri="{FF2B5EF4-FFF2-40B4-BE49-F238E27FC236}">
                  <a16:creationId xmlns:a16="http://schemas.microsoft.com/office/drawing/2014/main" id="{FB3F16C1-5346-4603-A6D8-C7204E3928E9}"/>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9" name="Suora yhdysviiva 28">
              <a:extLst>
                <a:ext uri="{FF2B5EF4-FFF2-40B4-BE49-F238E27FC236}">
                  <a16:creationId xmlns:a16="http://schemas.microsoft.com/office/drawing/2014/main" id="{CCFF3904-2689-6F59-8DFF-AAC4BC59FD2C}"/>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0" name="Suora yhdysviiva 29">
              <a:extLst>
                <a:ext uri="{FF2B5EF4-FFF2-40B4-BE49-F238E27FC236}">
                  <a16:creationId xmlns:a16="http://schemas.microsoft.com/office/drawing/2014/main" id="{DE3198C7-0774-E797-ECBB-618D4E6720C6}"/>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1" name="Suora yhdysviiva 30">
              <a:extLst>
                <a:ext uri="{FF2B5EF4-FFF2-40B4-BE49-F238E27FC236}">
                  <a16:creationId xmlns:a16="http://schemas.microsoft.com/office/drawing/2014/main" id="{2F71A19E-39B0-E20A-0229-013AF02B4134}"/>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2" name="Suora yhdysviiva 31">
              <a:extLst>
                <a:ext uri="{FF2B5EF4-FFF2-40B4-BE49-F238E27FC236}">
                  <a16:creationId xmlns:a16="http://schemas.microsoft.com/office/drawing/2014/main" id="{496E7F42-5579-0F4A-BECA-717EA7D3B2AA}"/>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3" name="Suora yhdysviiva 32">
              <a:extLst>
                <a:ext uri="{FF2B5EF4-FFF2-40B4-BE49-F238E27FC236}">
                  <a16:creationId xmlns:a16="http://schemas.microsoft.com/office/drawing/2014/main" id="{5B33684B-5450-82F8-37D0-F3F1BA355684}"/>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4" name="Suora yhdysviiva 33">
              <a:extLst>
                <a:ext uri="{FF2B5EF4-FFF2-40B4-BE49-F238E27FC236}">
                  <a16:creationId xmlns:a16="http://schemas.microsoft.com/office/drawing/2014/main" id="{7B79391D-ECC8-388B-E246-4CCAB854EAD0}"/>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5" name="Suora yhdysviiva 34">
              <a:extLst>
                <a:ext uri="{FF2B5EF4-FFF2-40B4-BE49-F238E27FC236}">
                  <a16:creationId xmlns:a16="http://schemas.microsoft.com/office/drawing/2014/main" id="{EB294FE8-6BC8-9183-EBFC-C13E58A32977}"/>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6" name="Suora yhdysviiva 35">
              <a:extLst>
                <a:ext uri="{FF2B5EF4-FFF2-40B4-BE49-F238E27FC236}">
                  <a16:creationId xmlns:a16="http://schemas.microsoft.com/office/drawing/2014/main" id="{DD827046-E39D-9CE7-74B5-D7E0F2D1CEA4}"/>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7" name="Suora yhdysviiva 36">
              <a:extLst>
                <a:ext uri="{FF2B5EF4-FFF2-40B4-BE49-F238E27FC236}">
                  <a16:creationId xmlns:a16="http://schemas.microsoft.com/office/drawing/2014/main" id="{ED1932D5-A40B-337E-81FF-E3DA2309F31E}"/>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8" name="Suora yhdysviiva 37">
              <a:extLst>
                <a:ext uri="{FF2B5EF4-FFF2-40B4-BE49-F238E27FC236}">
                  <a16:creationId xmlns:a16="http://schemas.microsoft.com/office/drawing/2014/main" id="{D1B8CB27-4EB6-C7F2-B662-58CA6E851F1D}"/>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9" name="Suora yhdysviiva 38">
              <a:extLst>
                <a:ext uri="{FF2B5EF4-FFF2-40B4-BE49-F238E27FC236}">
                  <a16:creationId xmlns:a16="http://schemas.microsoft.com/office/drawing/2014/main" id="{17C70619-B1CF-0438-308F-5D850D1CEF02}"/>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0" name="Suora yhdysviiva 39">
              <a:extLst>
                <a:ext uri="{FF2B5EF4-FFF2-40B4-BE49-F238E27FC236}">
                  <a16:creationId xmlns:a16="http://schemas.microsoft.com/office/drawing/2014/main" id="{56B78027-4729-10D0-E9CA-C115022BDECB}"/>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1" name="Suora yhdysviiva 40">
              <a:extLst>
                <a:ext uri="{FF2B5EF4-FFF2-40B4-BE49-F238E27FC236}">
                  <a16:creationId xmlns:a16="http://schemas.microsoft.com/office/drawing/2014/main" id="{F1BF04DD-4453-5CAA-8B2F-4A0E57092851}"/>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2" name="Suora yhdysviiva 41">
              <a:extLst>
                <a:ext uri="{FF2B5EF4-FFF2-40B4-BE49-F238E27FC236}">
                  <a16:creationId xmlns:a16="http://schemas.microsoft.com/office/drawing/2014/main" id="{426F8B32-42A4-259A-245C-7F9CA93183D0}"/>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3" name="Suora yhdysviiva 42">
              <a:extLst>
                <a:ext uri="{FF2B5EF4-FFF2-40B4-BE49-F238E27FC236}">
                  <a16:creationId xmlns:a16="http://schemas.microsoft.com/office/drawing/2014/main" id="{A9EB9722-D9AC-D756-5AC5-C324B9B7C9B9}"/>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4" name="Suora yhdysviiva 43">
              <a:extLst>
                <a:ext uri="{FF2B5EF4-FFF2-40B4-BE49-F238E27FC236}">
                  <a16:creationId xmlns:a16="http://schemas.microsoft.com/office/drawing/2014/main" id="{591CFCE8-B197-5579-564C-BD016852DC38}"/>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5" name="Suora yhdysviiva 44">
              <a:extLst>
                <a:ext uri="{FF2B5EF4-FFF2-40B4-BE49-F238E27FC236}">
                  <a16:creationId xmlns:a16="http://schemas.microsoft.com/office/drawing/2014/main" id="{A94C1D92-4CC5-8B5B-40EA-36F1E1584174}"/>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6" name="Suora yhdysviiva 45">
              <a:extLst>
                <a:ext uri="{FF2B5EF4-FFF2-40B4-BE49-F238E27FC236}">
                  <a16:creationId xmlns:a16="http://schemas.microsoft.com/office/drawing/2014/main" id="{C789A567-A23D-0516-48A1-6F7F136B60D5}"/>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7" name="Suora yhdysviiva 46">
              <a:extLst>
                <a:ext uri="{FF2B5EF4-FFF2-40B4-BE49-F238E27FC236}">
                  <a16:creationId xmlns:a16="http://schemas.microsoft.com/office/drawing/2014/main" id="{8BB8B735-462B-0D8D-011C-61FD53687FCF}"/>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8" name="Suora yhdysviiva 47">
              <a:extLst>
                <a:ext uri="{FF2B5EF4-FFF2-40B4-BE49-F238E27FC236}">
                  <a16:creationId xmlns:a16="http://schemas.microsoft.com/office/drawing/2014/main" id="{E3EAA5B7-4CB7-3544-668D-5EB409B35E5B}"/>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9" name="Suora yhdysviiva 48">
              <a:extLst>
                <a:ext uri="{FF2B5EF4-FFF2-40B4-BE49-F238E27FC236}">
                  <a16:creationId xmlns:a16="http://schemas.microsoft.com/office/drawing/2014/main" id="{8EEACEE7-91F7-F773-D738-C3860D1220BF}"/>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0" name="Suora yhdysviiva 49">
              <a:extLst>
                <a:ext uri="{FF2B5EF4-FFF2-40B4-BE49-F238E27FC236}">
                  <a16:creationId xmlns:a16="http://schemas.microsoft.com/office/drawing/2014/main" id="{A605230A-203D-74FD-457C-6E814D0BABE1}"/>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1" name="Suora yhdysviiva 50">
              <a:extLst>
                <a:ext uri="{FF2B5EF4-FFF2-40B4-BE49-F238E27FC236}">
                  <a16:creationId xmlns:a16="http://schemas.microsoft.com/office/drawing/2014/main" id="{1BF8A5FF-C727-B248-36FC-22BA31E5C237}"/>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2" name="Suora yhdysviiva 51">
              <a:extLst>
                <a:ext uri="{FF2B5EF4-FFF2-40B4-BE49-F238E27FC236}">
                  <a16:creationId xmlns:a16="http://schemas.microsoft.com/office/drawing/2014/main" id="{5CACBC4C-3932-0345-A21B-EF37BBA6B52C}"/>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3" name="Suora yhdysviiva 52">
              <a:extLst>
                <a:ext uri="{FF2B5EF4-FFF2-40B4-BE49-F238E27FC236}">
                  <a16:creationId xmlns:a16="http://schemas.microsoft.com/office/drawing/2014/main" id="{35DC7553-59C4-16E4-BF51-F757DCF89421}"/>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4" name="Suora yhdysviiva 53">
              <a:extLst>
                <a:ext uri="{FF2B5EF4-FFF2-40B4-BE49-F238E27FC236}">
                  <a16:creationId xmlns:a16="http://schemas.microsoft.com/office/drawing/2014/main" id="{EB03B1A5-4FBB-5B02-80F6-21B2B4C628D7}"/>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5" name="Suora yhdysviiva 54">
              <a:extLst>
                <a:ext uri="{FF2B5EF4-FFF2-40B4-BE49-F238E27FC236}">
                  <a16:creationId xmlns:a16="http://schemas.microsoft.com/office/drawing/2014/main" id="{D23DCB12-971F-CD24-9FCE-856BC866CAAE}"/>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6" name="Suora yhdysviiva 55">
              <a:extLst>
                <a:ext uri="{FF2B5EF4-FFF2-40B4-BE49-F238E27FC236}">
                  <a16:creationId xmlns:a16="http://schemas.microsoft.com/office/drawing/2014/main" id="{45D73362-B1F1-D821-15BB-D478CA99979B}"/>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7" name="Suora yhdysviiva 56">
              <a:extLst>
                <a:ext uri="{FF2B5EF4-FFF2-40B4-BE49-F238E27FC236}">
                  <a16:creationId xmlns:a16="http://schemas.microsoft.com/office/drawing/2014/main" id="{B5B63994-726A-541B-3F38-713D53ABC23E}"/>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8" name="Suora yhdysviiva 57">
              <a:extLst>
                <a:ext uri="{FF2B5EF4-FFF2-40B4-BE49-F238E27FC236}">
                  <a16:creationId xmlns:a16="http://schemas.microsoft.com/office/drawing/2014/main" id="{BB149C34-B0EB-EC65-C7B8-924D125C989F}"/>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9" name="Suora yhdysviiva 58">
              <a:extLst>
                <a:ext uri="{FF2B5EF4-FFF2-40B4-BE49-F238E27FC236}">
                  <a16:creationId xmlns:a16="http://schemas.microsoft.com/office/drawing/2014/main" id="{B16860CE-6F27-0E78-1F2C-D72F47ECDBAD}"/>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0" name="Suora yhdysviiva 59">
              <a:extLst>
                <a:ext uri="{FF2B5EF4-FFF2-40B4-BE49-F238E27FC236}">
                  <a16:creationId xmlns:a16="http://schemas.microsoft.com/office/drawing/2014/main" id="{FF60C5BA-467E-DE5C-B74F-9CF9AD6E6BF2}"/>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1" name="Suora yhdysviiva 60">
              <a:extLst>
                <a:ext uri="{FF2B5EF4-FFF2-40B4-BE49-F238E27FC236}">
                  <a16:creationId xmlns:a16="http://schemas.microsoft.com/office/drawing/2014/main" id="{B09B9126-CCDE-ED9A-F6D8-2AE782234D4B}"/>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2" name="Suora yhdysviiva 61">
              <a:extLst>
                <a:ext uri="{FF2B5EF4-FFF2-40B4-BE49-F238E27FC236}">
                  <a16:creationId xmlns:a16="http://schemas.microsoft.com/office/drawing/2014/main" id="{5D75492B-49E5-08A3-D45C-19415C01640B}"/>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3" name="Suora yhdysviiva 62">
              <a:extLst>
                <a:ext uri="{FF2B5EF4-FFF2-40B4-BE49-F238E27FC236}">
                  <a16:creationId xmlns:a16="http://schemas.microsoft.com/office/drawing/2014/main" id="{5FDF590F-C7CE-0575-BB21-3083F70F4EE7}"/>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4" name="Suora yhdysviiva 63">
              <a:extLst>
                <a:ext uri="{FF2B5EF4-FFF2-40B4-BE49-F238E27FC236}">
                  <a16:creationId xmlns:a16="http://schemas.microsoft.com/office/drawing/2014/main" id="{6A86E5A7-A43A-085D-1773-52D3E2AA4B18}"/>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5" name="Suora yhdysviiva 64">
              <a:extLst>
                <a:ext uri="{FF2B5EF4-FFF2-40B4-BE49-F238E27FC236}">
                  <a16:creationId xmlns:a16="http://schemas.microsoft.com/office/drawing/2014/main" id="{0228B253-4ADE-B17B-35A8-E63D38800210}"/>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6" name="Suora yhdysviiva 65">
              <a:extLst>
                <a:ext uri="{FF2B5EF4-FFF2-40B4-BE49-F238E27FC236}">
                  <a16:creationId xmlns:a16="http://schemas.microsoft.com/office/drawing/2014/main" id="{2663F3E4-088E-881C-4CD7-2D7DB6DE41EF}"/>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7" name="Suora yhdysviiva 66">
              <a:extLst>
                <a:ext uri="{FF2B5EF4-FFF2-40B4-BE49-F238E27FC236}">
                  <a16:creationId xmlns:a16="http://schemas.microsoft.com/office/drawing/2014/main" id="{7B0D79DF-26EF-528D-24FE-A1955A3A19FA}"/>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8" name="Suora yhdysviiva 67">
              <a:extLst>
                <a:ext uri="{FF2B5EF4-FFF2-40B4-BE49-F238E27FC236}">
                  <a16:creationId xmlns:a16="http://schemas.microsoft.com/office/drawing/2014/main" id="{46276431-6CE4-9EA5-04B6-FB9439BED939}"/>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9" name="Suora yhdysviiva 68">
              <a:extLst>
                <a:ext uri="{FF2B5EF4-FFF2-40B4-BE49-F238E27FC236}">
                  <a16:creationId xmlns:a16="http://schemas.microsoft.com/office/drawing/2014/main" id="{366C6A9E-6AE1-3688-66CD-7733485020CB}"/>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0" name="Suora yhdysviiva 69">
              <a:extLst>
                <a:ext uri="{FF2B5EF4-FFF2-40B4-BE49-F238E27FC236}">
                  <a16:creationId xmlns:a16="http://schemas.microsoft.com/office/drawing/2014/main" id="{A6BA7E31-6D6D-E771-7321-A8C1515C5D32}"/>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1" name="Suora yhdysviiva 70">
              <a:extLst>
                <a:ext uri="{FF2B5EF4-FFF2-40B4-BE49-F238E27FC236}">
                  <a16:creationId xmlns:a16="http://schemas.microsoft.com/office/drawing/2014/main" id="{5EEBC084-7F8C-0181-93E1-789C9EC28E9F}"/>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2" name="Suora yhdysviiva 71">
              <a:extLst>
                <a:ext uri="{FF2B5EF4-FFF2-40B4-BE49-F238E27FC236}">
                  <a16:creationId xmlns:a16="http://schemas.microsoft.com/office/drawing/2014/main" id="{303D45C9-0A61-4EC1-ED63-A518CBE75EE3}"/>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3" name="Suora yhdysviiva 72">
              <a:extLst>
                <a:ext uri="{FF2B5EF4-FFF2-40B4-BE49-F238E27FC236}">
                  <a16:creationId xmlns:a16="http://schemas.microsoft.com/office/drawing/2014/main" id="{555E89D4-DCD8-CBE4-F4D7-D54F27D595B1}"/>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4" name="Suora yhdysviiva 73">
              <a:extLst>
                <a:ext uri="{FF2B5EF4-FFF2-40B4-BE49-F238E27FC236}">
                  <a16:creationId xmlns:a16="http://schemas.microsoft.com/office/drawing/2014/main" id="{A2753DEB-A041-12C0-E08B-617FFCD7E90F}"/>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5" name="Suora yhdysviiva 74">
              <a:extLst>
                <a:ext uri="{FF2B5EF4-FFF2-40B4-BE49-F238E27FC236}">
                  <a16:creationId xmlns:a16="http://schemas.microsoft.com/office/drawing/2014/main" id="{D6F39473-D724-55C1-AD61-B29CF3F350AA}"/>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6" name="Suora yhdysviiva 75">
              <a:extLst>
                <a:ext uri="{FF2B5EF4-FFF2-40B4-BE49-F238E27FC236}">
                  <a16:creationId xmlns:a16="http://schemas.microsoft.com/office/drawing/2014/main" id="{38944349-56FA-F544-7447-3C67F264EA68}"/>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7" name="Suora yhdysviiva 76">
              <a:extLst>
                <a:ext uri="{FF2B5EF4-FFF2-40B4-BE49-F238E27FC236}">
                  <a16:creationId xmlns:a16="http://schemas.microsoft.com/office/drawing/2014/main" id="{AD386C00-ECB7-1435-B212-693DE2F7B982}"/>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8" name="Suora yhdysviiva 77">
              <a:extLst>
                <a:ext uri="{FF2B5EF4-FFF2-40B4-BE49-F238E27FC236}">
                  <a16:creationId xmlns:a16="http://schemas.microsoft.com/office/drawing/2014/main" id="{923ABB00-7F2C-3C51-8C0D-A9B407C7597B}"/>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9" name="Suora yhdysviiva 78">
              <a:extLst>
                <a:ext uri="{FF2B5EF4-FFF2-40B4-BE49-F238E27FC236}">
                  <a16:creationId xmlns:a16="http://schemas.microsoft.com/office/drawing/2014/main" id="{FA1D703D-2B37-17EC-6A71-21D4AC96149A}"/>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0" name="Suora yhdysviiva 79">
              <a:extLst>
                <a:ext uri="{FF2B5EF4-FFF2-40B4-BE49-F238E27FC236}">
                  <a16:creationId xmlns:a16="http://schemas.microsoft.com/office/drawing/2014/main" id="{C66386BD-110D-E9E2-AB7D-F7401E84AF9B}"/>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1" name="Suora yhdysviiva 80">
              <a:extLst>
                <a:ext uri="{FF2B5EF4-FFF2-40B4-BE49-F238E27FC236}">
                  <a16:creationId xmlns:a16="http://schemas.microsoft.com/office/drawing/2014/main" id="{6F325520-EB10-090D-34EC-F3A9083F96BD}"/>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2" name="Suora yhdysviiva 81">
              <a:extLst>
                <a:ext uri="{FF2B5EF4-FFF2-40B4-BE49-F238E27FC236}">
                  <a16:creationId xmlns:a16="http://schemas.microsoft.com/office/drawing/2014/main" id="{5DFB697C-20B7-B7F3-30F9-0B5015774F5B}"/>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3" name="Suora yhdysviiva 82">
              <a:extLst>
                <a:ext uri="{FF2B5EF4-FFF2-40B4-BE49-F238E27FC236}">
                  <a16:creationId xmlns:a16="http://schemas.microsoft.com/office/drawing/2014/main" id="{396DFB75-AD43-702F-4521-09FB135AFF13}"/>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4" name="Suora yhdysviiva 83">
              <a:extLst>
                <a:ext uri="{FF2B5EF4-FFF2-40B4-BE49-F238E27FC236}">
                  <a16:creationId xmlns:a16="http://schemas.microsoft.com/office/drawing/2014/main" id="{171620D3-724C-6DAE-A5AA-DB9B8A8C284D}"/>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5" name="Suora yhdysviiva 84">
              <a:extLst>
                <a:ext uri="{FF2B5EF4-FFF2-40B4-BE49-F238E27FC236}">
                  <a16:creationId xmlns:a16="http://schemas.microsoft.com/office/drawing/2014/main" id="{049C380A-2EEF-B58A-BE14-D37EA07BD4FD}"/>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grpSp>
        <p:nvGrpSpPr>
          <p:cNvPr id="86" name="Ryhmä 85">
            <a:extLst>
              <a:ext uri="{FF2B5EF4-FFF2-40B4-BE49-F238E27FC236}">
                <a16:creationId xmlns:a16="http://schemas.microsoft.com/office/drawing/2014/main" id="{90B537E8-704C-2923-3EF3-A4AD66F08CB0}"/>
              </a:ext>
            </a:extLst>
          </p:cNvPr>
          <p:cNvGrpSpPr/>
          <p:nvPr/>
        </p:nvGrpSpPr>
        <p:grpSpPr>
          <a:xfrm>
            <a:off x="2443988" y="2905874"/>
            <a:ext cx="8861479" cy="2983345"/>
            <a:chOff x="341745" y="2179782"/>
            <a:chExt cx="8861479" cy="2983345"/>
          </a:xfrm>
        </p:grpSpPr>
        <p:cxnSp>
          <p:nvCxnSpPr>
            <p:cNvPr id="87" name="Suora yhdysviiva 86">
              <a:extLst>
                <a:ext uri="{FF2B5EF4-FFF2-40B4-BE49-F238E27FC236}">
                  <a16:creationId xmlns:a16="http://schemas.microsoft.com/office/drawing/2014/main" id="{1704CACA-D932-24A6-04DE-33933BED0ECD}"/>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88" name="Suora yhdysviiva 87">
              <a:extLst>
                <a:ext uri="{FF2B5EF4-FFF2-40B4-BE49-F238E27FC236}">
                  <a16:creationId xmlns:a16="http://schemas.microsoft.com/office/drawing/2014/main" id="{598CF6CA-C2F3-3D95-9A30-A8E4C85408E2}"/>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9" name="Suora yhdysviiva 88">
              <a:extLst>
                <a:ext uri="{FF2B5EF4-FFF2-40B4-BE49-F238E27FC236}">
                  <a16:creationId xmlns:a16="http://schemas.microsoft.com/office/drawing/2014/main" id="{F000C83C-4B7C-9924-7223-BF6E799D012B}"/>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0" name="Suora yhdysviiva 89">
              <a:extLst>
                <a:ext uri="{FF2B5EF4-FFF2-40B4-BE49-F238E27FC236}">
                  <a16:creationId xmlns:a16="http://schemas.microsoft.com/office/drawing/2014/main" id="{A36B0233-6F43-4490-B1D5-702FF1ADF67C}"/>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1" name="Suora yhdysviiva 90">
              <a:extLst>
                <a:ext uri="{FF2B5EF4-FFF2-40B4-BE49-F238E27FC236}">
                  <a16:creationId xmlns:a16="http://schemas.microsoft.com/office/drawing/2014/main" id="{7B2F3A2F-8F52-40DD-0B06-43D4345D7914}"/>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2" name="Suora yhdysviiva 91">
              <a:extLst>
                <a:ext uri="{FF2B5EF4-FFF2-40B4-BE49-F238E27FC236}">
                  <a16:creationId xmlns:a16="http://schemas.microsoft.com/office/drawing/2014/main" id="{EEC2C96A-76DB-457C-E7D2-675C1F9C1BFB}"/>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3" name="Suora yhdysviiva 92">
              <a:extLst>
                <a:ext uri="{FF2B5EF4-FFF2-40B4-BE49-F238E27FC236}">
                  <a16:creationId xmlns:a16="http://schemas.microsoft.com/office/drawing/2014/main" id="{7145E4AF-1C0F-6715-98B6-E89A60996543}"/>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4" name="Suora yhdysviiva 93">
              <a:extLst>
                <a:ext uri="{FF2B5EF4-FFF2-40B4-BE49-F238E27FC236}">
                  <a16:creationId xmlns:a16="http://schemas.microsoft.com/office/drawing/2014/main" id="{4CAC5AF4-A7A7-0261-7649-30B7160CDF85}"/>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5" name="Suora yhdysviiva 94">
              <a:extLst>
                <a:ext uri="{FF2B5EF4-FFF2-40B4-BE49-F238E27FC236}">
                  <a16:creationId xmlns:a16="http://schemas.microsoft.com/office/drawing/2014/main" id="{1C207C17-0A20-B5E0-3FDF-CA96510A11AB}"/>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6" name="Suora yhdysviiva 95">
              <a:extLst>
                <a:ext uri="{FF2B5EF4-FFF2-40B4-BE49-F238E27FC236}">
                  <a16:creationId xmlns:a16="http://schemas.microsoft.com/office/drawing/2014/main" id="{2E2FB147-AB58-F661-1C12-4FD874123FF2}"/>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7" name="Suora yhdysviiva 96">
              <a:extLst>
                <a:ext uri="{FF2B5EF4-FFF2-40B4-BE49-F238E27FC236}">
                  <a16:creationId xmlns:a16="http://schemas.microsoft.com/office/drawing/2014/main" id="{E7E4C2F0-A928-41EE-766E-4FE3CFE00803}"/>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8" name="Suora yhdysviiva 97">
              <a:extLst>
                <a:ext uri="{FF2B5EF4-FFF2-40B4-BE49-F238E27FC236}">
                  <a16:creationId xmlns:a16="http://schemas.microsoft.com/office/drawing/2014/main" id="{8FA9C439-4933-AE7A-99B1-459669823D74}"/>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9" name="Suora yhdysviiva 98">
              <a:extLst>
                <a:ext uri="{FF2B5EF4-FFF2-40B4-BE49-F238E27FC236}">
                  <a16:creationId xmlns:a16="http://schemas.microsoft.com/office/drawing/2014/main" id="{E7F8130F-2236-E766-5A5E-F8A5531D5553}"/>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0" name="Suora yhdysviiva 99">
              <a:extLst>
                <a:ext uri="{FF2B5EF4-FFF2-40B4-BE49-F238E27FC236}">
                  <a16:creationId xmlns:a16="http://schemas.microsoft.com/office/drawing/2014/main" id="{6B880492-F63C-919C-1E81-0B0379F819D4}"/>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1" name="Suora yhdysviiva 100">
              <a:extLst>
                <a:ext uri="{FF2B5EF4-FFF2-40B4-BE49-F238E27FC236}">
                  <a16:creationId xmlns:a16="http://schemas.microsoft.com/office/drawing/2014/main" id="{2B82943D-E592-B33E-31A6-86ECE58F2C5D}"/>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2" name="Suora yhdysviiva 101">
              <a:extLst>
                <a:ext uri="{FF2B5EF4-FFF2-40B4-BE49-F238E27FC236}">
                  <a16:creationId xmlns:a16="http://schemas.microsoft.com/office/drawing/2014/main" id="{149F2827-078B-2546-2592-C9F543C9A4EB}"/>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3" name="Suora yhdysviiva 102">
              <a:extLst>
                <a:ext uri="{FF2B5EF4-FFF2-40B4-BE49-F238E27FC236}">
                  <a16:creationId xmlns:a16="http://schemas.microsoft.com/office/drawing/2014/main" id="{3AFFEF3B-861F-8BBB-4DE3-FB34B6E4A770}"/>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4" name="Suora yhdysviiva 103">
              <a:extLst>
                <a:ext uri="{FF2B5EF4-FFF2-40B4-BE49-F238E27FC236}">
                  <a16:creationId xmlns:a16="http://schemas.microsoft.com/office/drawing/2014/main" id="{DC2CFD55-F80D-4D68-B95B-9BB93637E4D6}"/>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5" name="Suora yhdysviiva 104">
              <a:extLst>
                <a:ext uri="{FF2B5EF4-FFF2-40B4-BE49-F238E27FC236}">
                  <a16:creationId xmlns:a16="http://schemas.microsoft.com/office/drawing/2014/main" id="{EA10238F-A695-94D4-CBAE-AA0205877A87}"/>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6" name="Suora yhdysviiva 105">
              <a:extLst>
                <a:ext uri="{FF2B5EF4-FFF2-40B4-BE49-F238E27FC236}">
                  <a16:creationId xmlns:a16="http://schemas.microsoft.com/office/drawing/2014/main" id="{733EF398-03EA-ED78-0DF1-1CF5D3DB72DB}"/>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7" name="Suora yhdysviiva 106">
              <a:extLst>
                <a:ext uri="{FF2B5EF4-FFF2-40B4-BE49-F238E27FC236}">
                  <a16:creationId xmlns:a16="http://schemas.microsoft.com/office/drawing/2014/main" id="{39493632-C10A-0B02-1179-20F9D5BE0BB9}"/>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8" name="Suora yhdysviiva 107">
              <a:extLst>
                <a:ext uri="{FF2B5EF4-FFF2-40B4-BE49-F238E27FC236}">
                  <a16:creationId xmlns:a16="http://schemas.microsoft.com/office/drawing/2014/main" id="{0D1C61E6-28F0-A61F-84D4-5AEC3B9ABBE8}"/>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9" name="Suora yhdysviiva 108">
              <a:extLst>
                <a:ext uri="{FF2B5EF4-FFF2-40B4-BE49-F238E27FC236}">
                  <a16:creationId xmlns:a16="http://schemas.microsoft.com/office/drawing/2014/main" id="{556EF31E-EAA5-FC32-A3A2-BA92A385C8B2}"/>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0" name="Suora yhdysviiva 109">
              <a:extLst>
                <a:ext uri="{FF2B5EF4-FFF2-40B4-BE49-F238E27FC236}">
                  <a16:creationId xmlns:a16="http://schemas.microsoft.com/office/drawing/2014/main" id="{8C431B59-4126-C08D-A99F-FE7BBBB964C0}"/>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1" name="Suora yhdysviiva 110">
              <a:extLst>
                <a:ext uri="{FF2B5EF4-FFF2-40B4-BE49-F238E27FC236}">
                  <a16:creationId xmlns:a16="http://schemas.microsoft.com/office/drawing/2014/main" id="{1F7A3154-D5A9-7B71-3568-C556ED573A73}"/>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2" name="Suora yhdysviiva 111">
              <a:extLst>
                <a:ext uri="{FF2B5EF4-FFF2-40B4-BE49-F238E27FC236}">
                  <a16:creationId xmlns:a16="http://schemas.microsoft.com/office/drawing/2014/main" id="{D6E392C9-56D7-7B05-9BD3-876E1C8CEA85}"/>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3" name="Suora yhdysviiva 112">
              <a:extLst>
                <a:ext uri="{FF2B5EF4-FFF2-40B4-BE49-F238E27FC236}">
                  <a16:creationId xmlns:a16="http://schemas.microsoft.com/office/drawing/2014/main" id="{1473BC31-9C9C-D94B-A923-53BD6EEEDDE9}"/>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4" name="Suora yhdysviiva 113">
              <a:extLst>
                <a:ext uri="{FF2B5EF4-FFF2-40B4-BE49-F238E27FC236}">
                  <a16:creationId xmlns:a16="http://schemas.microsoft.com/office/drawing/2014/main" id="{8AA1ED4F-7746-A263-FF3E-1BB506C99705}"/>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5" name="Suora yhdysviiva 114">
              <a:extLst>
                <a:ext uri="{FF2B5EF4-FFF2-40B4-BE49-F238E27FC236}">
                  <a16:creationId xmlns:a16="http://schemas.microsoft.com/office/drawing/2014/main" id="{041329A9-7F18-D2B6-BD7D-E88995CF3242}"/>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6" name="Suora yhdysviiva 115">
              <a:extLst>
                <a:ext uri="{FF2B5EF4-FFF2-40B4-BE49-F238E27FC236}">
                  <a16:creationId xmlns:a16="http://schemas.microsoft.com/office/drawing/2014/main" id="{80BD4853-AD82-6618-25C9-32D7AD4D37DA}"/>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7" name="Suora yhdysviiva 116">
              <a:extLst>
                <a:ext uri="{FF2B5EF4-FFF2-40B4-BE49-F238E27FC236}">
                  <a16:creationId xmlns:a16="http://schemas.microsoft.com/office/drawing/2014/main" id="{2BA53EE0-0A7D-99E5-B5E4-05827ABE9BEC}"/>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8" name="Suora yhdysviiva 117">
              <a:extLst>
                <a:ext uri="{FF2B5EF4-FFF2-40B4-BE49-F238E27FC236}">
                  <a16:creationId xmlns:a16="http://schemas.microsoft.com/office/drawing/2014/main" id="{27110165-BC18-4FB9-9689-76C8BD3821FA}"/>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9" name="Suora yhdysviiva 118">
              <a:extLst>
                <a:ext uri="{FF2B5EF4-FFF2-40B4-BE49-F238E27FC236}">
                  <a16:creationId xmlns:a16="http://schemas.microsoft.com/office/drawing/2014/main" id="{0DA2A072-64D3-984A-FF7E-D23201EE6899}"/>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0" name="Suora yhdysviiva 119">
              <a:extLst>
                <a:ext uri="{FF2B5EF4-FFF2-40B4-BE49-F238E27FC236}">
                  <a16:creationId xmlns:a16="http://schemas.microsoft.com/office/drawing/2014/main" id="{7C30CDA9-7A64-6A81-C6E9-AB77A8464858}"/>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1" name="Suora yhdysviiva 120">
              <a:extLst>
                <a:ext uri="{FF2B5EF4-FFF2-40B4-BE49-F238E27FC236}">
                  <a16:creationId xmlns:a16="http://schemas.microsoft.com/office/drawing/2014/main" id="{5A271921-45E8-6767-61D2-9C2C8D98701E}"/>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2" name="Suora yhdysviiva 121">
              <a:extLst>
                <a:ext uri="{FF2B5EF4-FFF2-40B4-BE49-F238E27FC236}">
                  <a16:creationId xmlns:a16="http://schemas.microsoft.com/office/drawing/2014/main" id="{4382948B-E720-5006-677E-0245724C1DBA}"/>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3" name="Suora yhdysviiva 122">
              <a:extLst>
                <a:ext uri="{FF2B5EF4-FFF2-40B4-BE49-F238E27FC236}">
                  <a16:creationId xmlns:a16="http://schemas.microsoft.com/office/drawing/2014/main" id="{2454607A-5507-01EE-1983-B672067C0382}"/>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4" name="Suora yhdysviiva 123">
              <a:extLst>
                <a:ext uri="{FF2B5EF4-FFF2-40B4-BE49-F238E27FC236}">
                  <a16:creationId xmlns:a16="http://schemas.microsoft.com/office/drawing/2014/main" id="{4A1662B6-96E5-2DB8-59B3-977A8D72F6A6}"/>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5" name="Suora yhdysviiva 124">
              <a:extLst>
                <a:ext uri="{FF2B5EF4-FFF2-40B4-BE49-F238E27FC236}">
                  <a16:creationId xmlns:a16="http://schemas.microsoft.com/office/drawing/2014/main" id="{10379A24-8302-95D9-E11B-89F071289D44}"/>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6" name="Suora yhdysviiva 125">
              <a:extLst>
                <a:ext uri="{FF2B5EF4-FFF2-40B4-BE49-F238E27FC236}">
                  <a16:creationId xmlns:a16="http://schemas.microsoft.com/office/drawing/2014/main" id="{B024CD71-23E6-ED11-6DFC-EBD586668DAD}"/>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7" name="Suora yhdysviiva 126">
              <a:extLst>
                <a:ext uri="{FF2B5EF4-FFF2-40B4-BE49-F238E27FC236}">
                  <a16:creationId xmlns:a16="http://schemas.microsoft.com/office/drawing/2014/main" id="{28A6D833-1A81-4981-58D4-099B95AA9A24}"/>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8" name="Suora yhdysviiva 127">
              <a:extLst>
                <a:ext uri="{FF2B5EF4-FFF2-40B4-BE49-F238E27FC236}">
                  <a16:creationId xmlns:a16="http://schemas.microsoft.com/office/drawing/2014/main" id="{A7143822-CADE-5E67-9CFA-C8E6E51ED24F}"/>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9" name="Suora yhdysviiva 128">
              <a:extLst>
                <a:ext uri="{FF2B5EF4-FFF2-40B4-BE49-F238E27FC236}">
                  <a16:creationId xmlns:a16="http://schemas.microsoft.com/office/drawing/2014/main" id="{193C9387-36DA-02B4-C51C-E276DB306294}"/>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0" name="Suora yhdysviiva 129">
              <a:extLst>
                <a:ext uri="{FF2B5EF4-FFF2-40B4-BE49-F238E27FC236}">
                  <a16:creationId xmlns:a16="http://schemas.microsoft.com/office/drawing/2014/main" id="{22B1AE92-F942-2648-A5DE-0DEDCD3700D8}"/>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1" name="Suora yhdysviiva 130">
              <a:extLst>
                <a:ext uri="{FF2B5EF4-FFF2-40B4-BE49-F238E27FC236}">
                  <a16:creationId xmlns:a16="http://schemas.microsoft.com/office/drawing/2014/main" id="{8F6845A2-CBB5-5C9D-F5FB-6CA72F4F1FCB}"/>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2" name="Suora yhdysviiva 131">
              <a:extLst>
                <a:ext uri="{FF2B5EF4-FFF2-40B4-BE49-F238E27FC236}">
                  <a16:creationId xmlns:a16="http://schemas.microsoft.com/office/drawing/2014/main" id="{4C12AA6C-1029-03CE-20C0-01E7CA53DB05}"/>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3" name="Suora yhdysviiva 132">
              <a:extLst>
                <a:ext uri="{FF2B5EF4-FFF2-40B4-BE49-F238E27FC236}">
                  <a16:creationId xmlns:a16="http://schemas.microsoft.com/office/drawing/2014/main" id="{6338B523-BFA0-33CF-9BED-5F4716400AAF}"/>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4" name="Suora yhdysviiva 133">
              <a:extLst>
                <a:ext uri="{FF2B5EF4-FFF2-40B4-BE49-F238E27FC236}">
                  <a16:creationId xmlns:a16="http://schemas.microsoft.com/office/drawing/2014/main" id="{0C98333C-E6C2-3267-690E-4F80152DC668}"/>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5" name="Suora yhdysviiva 134">
              <a:extLst>
                <a:ext uri="{FF2B5EF4-FFF2-40B4-BE49-F238E27FC236}">
                  <a16:creationId xmlns:a16="http://schemas.microsoft.com/office/drawing/2014/main" id="{A8BEDDAB-A56A-5B80-EC51-EACBBBBE78A0}"/>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6" name="Suora yhdysviiva 135">
              <a:extLst>
                <a:ext uri="{FF2B5EF4-FFF2-40B4-BE49-F238E27FC236}">
                  <a16:creationId xmlns:a16="http://schemas.microsoft.com/office/drawing/2014/main" id="{9B7D3A91-58B9-0F28-DD9D-D379DD99314D}"/>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7" name="Suora yhdysviiva 136">
              <a:extLst>
                <a:ext uri="{FF2B5EF4-FFF2-40B4-BE49-F238E27FC236}">
                  <a16:creationId xmlns:a16="http://schemas.microsoft.com/office/drawing/2014/main" id="{33E8048D-01C1-C2EA-8744-7BE324AD0184}"/>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8" name="Suora yhdysviiva 137">
              <a:extLst>
                <a:ext uri="{FF2B5EF4-FFF2-40B4-BE49-F238E27FC236}">
                  <a16:creationId xmlns:a16="http://schemas.microsoft.com/office/drawing/2014/main" id="{5E5A7A83-6BA4-AA7C-DFEB-84C4845981A2}"/>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9" name="Suora yhdysviiva 138">
              <a:extLst>
                <a:ext uri="{FF2B5EF4-FFF2-40B4-BE49-F238E27FC236}">
                  <a16:creationId xmlns:a16="http://schemas.microsoft.com/office/drawing/2014/main" id="{F18243E2-7075-53F0-3EF6-EF895783675C}"/>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0" name="Suora yhdysviiva 139">
              <a:extLst>
                <a:ext uri="{FF2B5EF4-FFF2-40B4-BE49-F238E27FC236}">
                  <a16:creationId xmlns:a16="http://schemas.microsoft.com/office/drawing/2014/main" id="{AAD9A80E-FB3F-22B5-0A10-EDF5D753EA15}"/>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1" name="Suora yhdysviiva 140">
              <a:extLst>
                <a:ext uri="{FF2B5EF4-FFF2-40B4-BE49-F238E27FC236}">
                  <a16:creationId xmlns:a16="http://schemas.microsoft.com/office/drawing/2014/main" id="{C2074F7B-F93A-A299-262A-4893A4747573}"/>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2" name="Suora yhdysviiva 141">
              <a:extLst>
                <a:ext uri="{FF2B5EF4-FFF2-40B4-BE49-F238E27FC236}">
                  <a16:creationId xmlns:a16="http://schemas.microsoft.com/office/drawing/2014/main" id="{FA0DE86A-9418-5AFB-1424-AF75556C8FCD}"/>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3" name="Suora yhdysviiva 142">
              <a:extLst>
                <a:ext uri="{FF2B5EF4-FFF2-40B4-BE49-F238E27FC236}">
                  <a16:creationId xmlns:a16="http://schemas.microsoft.com/office/drawing/2014/main" id="{87D8F9CE-E17E-0AD8-53A4-2D13EF8443C8}"/>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4" name="Suora yhdysviiva 143">
              <a:extLst>
                <a:ext uri="{FF2B5EF4-FFF2-40B4-BE49-F238E27FC236}">
                  <a16:creationId xmlns:a16="http://schemas.microsoft.com/office/drawing/2014/main" id="{68112D60-7282-CA9F-95B1-418BAA8F1312}"/>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5" name="Suora yhdysviiva 144">
              <a:extLst>
                <a:ext uri="{FF2B5EF4-FFF2-40B4-BE49-F238E27FC236}">
                  <a16:creationId xmlns:a16="http://schemas.microsoft.com/office/drawing/2014/main" id="{60E81430-A064-618D-E79D-28E521141879}"/>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6" name="Suora yhdysviiva 145">
              <a:extLst>
                <a:ext uri="{FF2B5EF4-FFF2-40B4-BE49-F238E27FC236}">
                  <a16:creationId xmlns:a16="http://schemas.microsoft.com/office/drawing/2014/main" id="{658BEA97-3A36-6ED7-1124-13C643EA8A1E}"/>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7" name="Suora yhdysviiva 146">
              <a:extLst>
                <a:ext uri="{FF2B5EF4-FFF2-40B4-BE49-F238E27FC236}">
                  <a16:creationId xmlns:a16="http://schemas.microsoft.com/office/drawing/2014/main" id="{282376B7-CD14-8670-D7CA-98A9FD1A6FE2}"/>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8" name="Suora yhdysviiva 147">
              <a:extLst>
                <a:ext uri="{FF2B5EF4-FFF2-40B4-BE49-F238E27FC236}">
                  <a16:creationId xmlns:a16="http://schemas.microsoft.com/office/drawing/2014/main" id="{CD8C034B-6025-E1E8-8841-FCAF67A5B9C3}"/>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9" name="Suora yhdysviiva 148">
              <a:extLst>
                <a:ext uri="{FF2B5EF4-FFF2-40B4-BE49-F238E27FC236}">
                  <a16:creationId xmlns:a16="http://schemas.microsoft.com/office/drawing/2014/main" id="{947D6B13-2475-188C-0A62-3F62B3A80FAE}"/>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0" name="Suora yhdysviiva 149">
              <a:extLst>
                <a:ext uri="{FF2B5EF4-FFF2-40B4-BE49-F238E27FC236}">
                  <a16:creationId xmlns:a16="http://schemas.microsoft.com/office/drawing/2014/main" id="{A2993590-D983-29E3-3550-04C95271B88B}"/>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1" name="Suora yhdysviiva 150">
              <a:extLst>
                <a:ext uri="{FF2B5EF4-FFF2-40B4-BE49-F238E27FC236}">
                  <a16:creationId xmlns:a16="http://schemas.microsoft.com/office/drawing/2014/main" id="{91B769EA-49B9-9D25-E289-2CC36CD52E63}"/>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2" name="Suora yhdysviiva 151">
              <a:extLst>
                <a:ext uri="{FF2B5EF4-FFF2-40B4-BE49-F238E27FC236}">
                  <a16:creationId xmlns:a16="http://schemas.microsoft.com/office/drawing/2014/main" id="{0D1C7FCC-4AC6-E5BD-CD99-2F5D8DF7A018}"/>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3" name="Suora yhdysviiva 152">
              <a:extLst>
                <a:ext uri="{FF2B5EF4-FFF2-40B4-BE49-F238E27FC236}">
                  <a16:creationId xmlns:a16="http://schemas.microsoft.com/office/drawing/2014/main" id="{0C138650-B346-7ACD-5DA6-9C2A2967EA72}"/>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4" name="Suora yhdysviiva 153">
              <a:extLst>
                <a:ext uri="{FF2B5EF4-FFF2-40B4-BE49-F238E27FC236}">
                  <a16:creationId xmlns:a16="http://schemas.microsoft.com/office/drawing/2014/main" id="{BD60092B-C1C5-2663-0883-EE15CE48A852}"/>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5" name="Suora yhdysviiva 154">
              <a:extLst>
                <a:ext uri="{FF2B5EF4-FFF2-40B4-BE49-F238E27FC236}">
                  <a16:creationId xmlns:a16="http://schemas.microsoft.com/office/drawing/2014/main" id="{6008588E-318C-9E2D-BEC8-0B08721C4724}"/>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6" name="Suora yhdysviiva 155">
              <a:extLst>
                <a:ext uri="{FF2B5EF4-FFF2-40B4-BE49-F238E27FC236}">
                  <a16:creationId xmlns:a16="http://schemas.microsoft.com/office/drawing/2014/main" id="{6F66915F-EB18-52CB-888E-084B62930640}"/>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7" name="Suora yhdysviiva 156">
              <a:extLst>
                <a:ext uri="{FF2B5EF4-FFF2-40B4-BE49-F238E27FC236}">
                  <a16:creationId xmlns:a16="http://schemas.microsoft.com/office/drawing/2014/main" id="{E28424CF-8FCF-B2D7-821A-E729EE0C73FE}"/>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8" name="Suora yhdysviiva 157">
              <a:extLst>
                <a:ext uri="{FF2B5EF4-FFF2-40B4-BE49-F238E27FC236}">
                  <a16:creationId xmlns:a16="http://schemas.microsoft.com/office/drawing/2014/main" id="{F418B681-00EF-4392-0DC7-21EC694451AE}"/>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9" name="Suora yhdysviiva 158">
              <a:extLst>
                <a:ext uri="{FF2B5EF4-FFF2-40B4-BE49-F238E27FC236}">
                  <a16:creationId xmlns:a16="http://schemas.microsoft.com/office/drawing/2014/main" id="{053F6B74-3210-3D9A-0675-2651FACF8DD7}"/>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0" name="Suora yhdysviiva 159">
              <a:extLst>
                <a:ext uri="{FF2B5EF4-FFF2-40B4-BE49-F238E27FC236}">
                  <a16:creationId xmlns:a16="http://schemas.microsoft.com/office/drawing/2014/main" id="{DF60166F-64DE-96DD-1C2A-C0AD0E88A4CC}"/>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1" name="Suora yhdysviiva 160">
              <a:extLst>
                <a:ext uri="{FF2B5EF4-FFF2-40B4-BE49-F238E27FC236}">
                  <a16:creationId xmlns:a16="http://schemas.microsoft.com/office/drawing/2014/main" id="{34DD921F-4C38-790B-5069-ECC6355F65EE}"/>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2" name="Suora yhdysviiva 161">
              <a:extLst>
                <a:ext uri="{FF2B5EF4-FFF2-40B4-BE49-F238E27FC236}">
                  <a16:creationId xmlns:a16="http://schemas.microsoft.com/office/drawing/2014/main" id="{6806DCF0-9852-7022-A08F-C903FB47B3EA}"/>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sp>
        <p:nvSpPr>
          <p:cNvPr id="163" name="Tekstiruutu 162">
            <a:extLst>
              <a:ext uri="{FF2B5EF4-FFF2-40B4-BE49-F238E27FC236}">
                <a16:creationId xmlns:a16="http://schemas.microsoft.com/office/drawing/2014/main" id="{96574A0C-85EB-43A9-209E-010C9EC74E75}"/>
              </a:ext>
            </a:extLst>
          </p:cNvPr>
          <p:cNvSpPr txBox="1"/>
          <p:nvPr/>
        </p:nvSpPr>
        <p:spPr>
          <a:xfrm rot="20439951">
            <a:off x="8318497" y="3559677"/>
            <a:ext cx="3289683" cy="369332"/>
          </a:xfrm>
          <a:prstGeom prst="rect">
            <a:avLst/>
          </a:prstGeom>
          <a:noFill/>
        </p:spPr>
        <p:txBody>
          <a:bodyPr wrap="none" rtlCol="0">
            <a:spAutoFit/>
          </a:bodyPr>
          <a:lstStyle/>
          <a:p>
            <a:r>
              <a:rPr lang="fi-FI" dirty="0"/>
              <a:t>Maanalainen asemakaava</a:t>
            </a:r>
          </a:p>
        </p:txBody>
      </p:sp>
      <p:sp>
        <p:nvSpPr>
          <p:cNvPr id="164" name="Tekstiruutu 163">
            <a:extLst>
              <a:ext uri="{FF2B5EF4-FFF2-40B4-BE49-F238E27FC236}">
                <a16:creationId xmlns:a16="http://schemas.microsoft.com/office/drawing/2014/main" id="{93721202-8DB2-F159-027C-1E13CB6C3289}"/>
              </a:ext>
            </a:extLst>
          </p:cNvPr>
          <p:cNvSpPr txBox="1"/>
          <p:nvPr/>
        </p:nvSpPr>
        <p:spPr>
          <a:xfrm rot="20439951">
            <a:off x="-25539" y="2095669"/>
            <a:ext cx="3501280" cy="369332"/>
          </a:xfrm>
          <a:prstGeom prst="rect">
            <a:avLst/>
          </a:prstGeom>
          <a:noFill/>
        </p:spPr>
        <p:txBody>
          <a:bodyPr wrap="none" rtlCol="0">
            <a:spAutoFit/>
          </a:bodyPr>
          <a:lstStyle/>
          <a:p>
            <a:r>
              <a:rPr lang="fi-FI" dirty="0"/>
              <a:t>Maanpäällinen asemakaava</a:t>
            </a:r>
          </a:p>
        </p:txBody>
      </p:sp>
      <p:sp>
        <p:nvSpPr>
          <p:cNvPr id="166" name="Vapaamuotoinen: Muoto 165">
            <a:extLst>
              <a:ext uri="{FF2B5EF4-FFF2-40B4-BE49-F238E27FC236}">
                <a16:creationId xmlns:a16="http://schemas.microsoft.com/office/drawing/2014/main" id="{5E319AD0-3AB3-1323-C667-8F5079C0A96A}"/>
              </a:ext>
            </a:extLst>
          </p:cNvPr>
          <p:cNvSpPr/>
          <p:nvPr/>
        </p:nvSpPr>
        <p:spPr>
          <a:xfrm>
            <a:off x="5213907" y="2974477"/>
            <a:ext cx="785444" cy="1493868"/>
          </a:xfrm>
          <a:custGeom>
            <a:avLst/>
            <a:gdLst>
              <a:gd name="csX0" fmla="*/ 0 w 728662"/>
              <a:gd name="csY0" fmla="*/ 0 h 1695450"/>
              <a:gd name="csX1" fmla="*/ 0 w 728662"/>
              <a:gd name="csY1" fmla="*/ 1533525 h 1695450"/>
              <a:gd name="csX2" fmla="*/ 247650 w 728662"/>
              <a:gd name="csY2" fmla="*/ 1695450 h 1695450"/>
              <a:gd name="csX3" fmla="*/ 728662 w 728662"/>
              <a:gd name="csY3" fmla="*/ 1509712 h 1695450"/>
              <a:gd name="csX4" fmla="*/ 728662 w 728662"/>
              <a:gd name="csY4" fmla="*/ 266700 h 1695450"/>
              <a:gd name="csX0" fmla="*/ 0 w 728662"/>
              <a:gd name="csY0" fmla="*/ 0 h 1695450"/>
              <a:gd name="csX1" fmla="*/ 0 w 728662"/>
              <a:gd name="csY1" fmla="*/ 1586865 h 1695450"/>
              <a:gd name="csX2" fmla="*/ 247650 w 728662"/>
              <a:gd name="csY2" fmla="*/ 1695450 h 1695450"/>
              <a:gd name="csX3" fmla="*/ 728662 w 728662"/>
              <a:gd name="csY3" fmla="*/ 1509712 h 1695450"/>
              <a:gd name="csX4" fmla="*/ 728662 w 728662"/>
              <a:gd name="csY4" fmla="*/ 266700 h 1695450"/>
              <a:gd name="csX0" fmla="*/ 0 w 728662"/>
              <a:gd name="csY0" fmla="*/ 0 h 1679820"/>
              <a:gd name="csX1" fmla="*/ 0 w 728662"/>
              <a:gd name="csY1" fmla="*/ 1586865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5481 w 728662"/>
              <a:gd name="csY4" fmla="*/ 125961 h 1679820"/>
              <a:gd name="csX0" fmla="*/ 0 w 728662"/>
              <a:gd name="csY0" fmla="*/ 0 h 1679820"/>
              <a:gd name="csX1" fmla="*/ 3181 w 728662"/>
              <a:gd name="csY1" fmla="*/ 1534436 h 1679820"/>
              <a:gd name="csX2" fmla="*/ 301725 w 728662"/>
              <a:gd name="csY2" fmla="*/ 1679820 h 1679820"/>
              <a:gd name="csX3" fmla="*/ 728662 w 728662"/>
              <a:gd name="csY3" fmla="*/ 1509712 h 1679820"/>
              <a:gd name="csX4" fmla="*/ 725481 w 728662"/>
              <a:gd name="csY4" fmla="*/ 125961 h 1679820"/>
            </a:gdLst>
            <a:ahLst/>
            <a:cxnLst>
              <a:cxn ang="0">
                <a:pos x="csX0" y="csY0"/>
              </a:cxn>
              <a:cxn ang="0">
                <a:pos x="csX1" y="csY1"/>
              </a:cxn>
              <a:cxn ang="0">
                <a:pos x="csX2" y="csY2"/>
              </a:cxn>
              <a:cxn ang="0">
                <a:pos x="csX3" y="csY3"/>
              </a:cxn>
              <a:cxn ang="0">
                <a:pos x="csX4" y="csY4"/>
              </a:cxn>
            </a:cxnLst>
            <a:rect l="l" t="t" r="r" b="b"/>
            <a:pathLst>
              <a:path w="728662" h="1679820">
                <a:moveTo>
                  <a:pt x="0" y="0"/>
                </a:moveTo>
                <a:cubicBezTo>
                  <a:pt x="2121" y="517493"/>
                  <a:pt x="1060" y="1016943"/>
                  <a:pt x="3181" y="1534436"/>
                </a:cubicBezTo>
                <a:lnTo>
                  <a:pt x="301725" y="1679820"/>
                </a:lnTo>
                <a:lnTo>
                  <a:pt x="728662" y="1509712"/>
                </a:lnTo>
                <a:cubicBezTo>
                  <a:pt x="727602" y="1048462"/>
                  <a:pt x="726541" y="587211"/>
                  <a:pt x="725481" y="125961"/>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cxnSp>
        <p:nvCxnSpPr>
          <p:cNvPr id="167" name="Suora yhdysviiva 166">
            <a:extLst>
              <a:ext uri="{FF2B5EF4-FFF2-40B4-BE49-F238E27FC236}">
                <a16:creationId xmlns:a16="http://schemas.microsoft.com/office/drawing/2014/main" id="{1225456A-A28D-B079-C1DE-214EAA203140}"/>
              </a:ext>
            </a:extLst>
          </p:cNvPr>
          <p:cNvCxnSpPr>
            <a:cxnSpLocks/>
          </p:cNvCxnSpPr>
          <p:nvPr/>
        </p:nvCxnSpPr>
        <p:spPr>
          <a:xfrm flipV="1">
            <a:off x="5525057" y="3136900"/>
            <a:ext cx="0" cy="1333741"/>
          </a:xfrm>
          <a:prstGeom prst="line">
            <a:avLst/>
          </a:prstGeom>
          <a:ln w="12700"/>
        </p:spPr>
        <p:style>
          <a:lnRef idx="2">
            <a:schemeClr val="dk1"/>
          </a:lnRef>
          <a:fillRef idx="0">
            <a:schemeClr val="dk1"/>
          </a:fillRef>
          <a:effectRef idx="1">
            <a:schemeClr val="dk1"/>
          </a:effectRef>
          <a:fontRef idx="minor">
            <a:schemeClr val="tx1"/>
          </a:fontRef>
        </p:style>
      </p:cxnSp>
      <p:sp>
        <p:nvSpPr>
          <p:cNvPr id="174" name="Vapaamuotoinen: Muoto 173">
            <a:extLst>
              <a:ext uri="{FF2B5EF4-FFF2-40B4-BE49-F238E27FC236}">
                <a16:creationId xmlns:a16="http://schemas.microsoft.com/office/drawing/2014/main" id="{27A42D51-6519-EB9A-B159-79E5FE2759C3}"/>
              </a:ext>
            </a:extLst>
          </p:cNvPr>
          <p:cNvSpPr/>
          <p:nvPr/>
        </p:nvSpPr>
        <p:spPr>
          <a:xfrm>
            <a:off x="3241071" y="1995403"/>
            <a:ext cx="744046" cy="238209"/>
          </a:xfrm>
          <a:custGeom>
            <a:avLst/>
            <a:gdLst>
              <a:gd name="csX0" fmla="*/ 0 w 639271"/>
              <a:gd name="csY0" fmla="*/ 121380 h 202301"/>
              <a:gd name="csX1" fmla="*/ 388418 w 639271"/>
              <a:gd name="csY1" fmla="*/ 0 h 202301"/>
              <a:gd name="csX2" fmla="*/ 639271 w 639271"/>
              <a:gd name="csY2" fmla="*/ 80920 h 202301"/>
              <a:gd name="csX3" fmla="*/ 267038 w 639271"/>
              <a:gd name="csY3" fmla="*/ 202301 h 202301"/>
              <a:gd name="csX4" fmla="*/ 0 w 639271"/>
              <a:gd name="csY4" fmla="*/ 121380 h 202301"/>
              <a:gd name="csX0" fmla="*/ 0 w 691658"/>
              <a:gd name="csY0" fmla="*/ 101553 h 202301"/>
              <a:gd name="csX1" fmla="*/ 440805 w 691658"/>
              <a:gd name="csY1" fmla="*/ 0 h 202301"/>
              <a:gd name="csX2" fmla="*/ 691658 w 691658"/>
              <a:gd name="csY2" fmla="*/ 80920 h 202301"/>
              <a:gd name="csX3" fmla="*/ 319425 w 691658"/>
              <a:gd name="csY3" fmla="*/ 202301 h 202301"/>
              <a:gd name="csX4" fmla="*/ 0 w 691658"/>
              <a:gd name="csY4" fmla="*/ 101553 h 202301"/>
              <a:gd name="csX0" fmla="*/ 0 w 744046"/>
              <a:gd name="csY0" fmla="*/ 101553 h 202301"/>
              <a:gd name="csX1" fmla="*/ 440805 w 744046"/>
              <a:gd name="csY1" fmla="*/ 0 h 202301"/>
              <a:gd name="csX2" fmla="*/ 744046 w 744046"/>
              <a:gd name="csY2" fmla="*/ 100746 h 202301"/>
              <a:gd name="csX3" fmla="*/ 319425 w 744046"/>
              <a:gd name="csY3" fmla="*/ 202301 h 202301"/>
              <a:gd name="csX4" fmla="*/ 0 w 744046"/>
              <a:gd name="csY4" fmla="*/ 101553 h 202301"/>
              <a:gd name="csX0" fmla="*/ 0 w 744046"/>
              <a:gd name="csY0" fmla="*/ 109484 h 210232"/>
              <a:gd name="csX1" fmla="*/ 421755 w 744046"/>
              <a:gd name="csY1" fmla="*/ 0 h 210232"/>
              <a:gd name="csX2" fmla="*/ 744046 w 744046"/>
              <a:gd name="csY2" fmla="*/ 108677 h 210232"/>
              <a:gd name="csX3" fmla="*/ 319425 w 744046"/>
              <a:gd name="csY3" fmla="*/ 210232 h 210232"/>
              <a:gd name="csX4" fmla="*/ 0 w 744046"/>
              <a:gd name="csY4" fmla="*/ 109484 h 210232"/>
              <a:gd name="csX0" fmla="*/ 0 w 744046"/>
              <a:gd name="csY0" fmla="*/ 109484 h 210232"/>
              <a:gd name="csX1" fmla="*/ 42175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109484 h 210232"/>
              <a:gd name="csX1" fmla="*/ 44080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97588 h 198336"/>
              <a:gd name="csX1" fmla="*/ 402705 w 744046"/>
              <a:gd name="csY1" fmla="*/ 0 h 198336"/>
              <a:gd name="csX2" fmla="*/ 744046 w 744046"/>
              <a:gd name="csY2" fmla="*/ 96781 h 198336"/>
              <a:gd name="csX3" fmla="*/ 314662 w 744046"/>
              <a:gd name="csY3" fmla="*/ 198336 h 198336"/>
              <a:gd name="csX4" fmla="*/ 0 w 744046"/>
              <a:gd name="csY4" fmla="*/ 97588 h 198336"/>
            </a:gdLst>
            <a:ahLst/>
            <a:cxnLst>
              <a:cxn ang="0">
                <a:pos x="csX0" y="csY0"/>
              </a:cxn>
              <a:cxn ang="0">
                <a:pos x="csX1" y="csY1"/>
              </a:cxn>
              <a:cxn ang="0">
                <a:pos x="csX2" y="csY2"/>
              </a:cxn>
              <a:cxn ang="0">
                <a:pos x="csX3" y="csY3"/>
              </a:cxn>
              <a:cxn ang="0">
                <a:pos x="csX4" y="csY4"/>
              </a:cxn>
            </a:cxnLst>
            <a:rect l="l" t="t" r="r" b="b"/>
            <a:pathLst>
              <a:path w="744046" h="198336">
                <a:moveTo>
                  <a:pt x="0" y="97588"/>
                </a:moveTo>
                <a:lnTo>
                  <a:pt x="402705" y="0"/>
                </a:lnTo>
                <a:lnTo>
                  <a:pt x="744046" y="96781"/>
                </a:lnTo>
                <a:lnTo>
                  <a:pt x="314662" y="198336"/>
                </a:lnTo>
                <a:lnTo>
                  <a:pt x="0" y="97588"/>
                </a:lnTo>
                <a:close/>
              </a:path>
            </a:pathLst>
          </a:custGeom>
          <a:solidFill>
            <a:schemeClr val="bg1"/>
          </a:solidFill>
          <a:ln w="381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76" name="Vapaamuotoinen: Muoto 175">
            <a:extLst>
              <a:ext uri="{FF2B5EF4-FFF2-40B4-BE49-F238E27FC236}">
                <a16:creationId xmlns:a16="http://schemas.microsoft.com/office/drawing/2014/main" id="{4286192C-986E-A901-B022-716B1958BCD2}"/>
              </a:ext>
            </a:extLst>
          </p:cNvPr>
          <p:cNvSpPr/>
          <p:nvPr/>
        </p:nvSpPr>
        <p:spPr>
          <a:xfrm>
            <a:off x="5221240" y="2358313"/>
            <a:ext cx="744046" cy="238209"/>
          </a:xfrm>
          <a:custGeom>
            <a:avLst/>
            <a:gdLst>
              <a:gd name="csX0" fmla="*/ 0 w 639271"/>
              <a:gd name="csY0" fmla="*/ 121380 h 202301"/>
              <a:gd name="csX1" fmla="*/ 388418 w 639271"/>
              <a:gd name="csY1" fmla="*/ 0 h 202301"/>
              <a:gd name="csX2" fmla="*/ 639271 w 639271"/>
              <a:gd name="csY2" fmla="*/ 80920 h 202301"/>
              <a:gd name="csX3" fmla="*/ 267038 w 639271"/>
              <a:gd name="csY3" fmla="*/ 202301 h 202301"/>
              <a:gd name="csX4" fmla="*/ 0 w 639271"/>
              <a:gd name="csY4" fmla="*/ 121380 h 202301"/>
              <a:gd name="csX0" fmla="*/ 0 w 691658"/>
              <a:gd name="csY0" fmla="*/ 101553 h 202301"/>
              <a:gd name="csX1" fmla="*/ 440805 w 691658"/>
              <a:gd name="csY1" fmla="*/ 0 h 202301"/>
              <a:gd name="csX2" fmla="*/ 691658 w 691658"/>
              <a:gd name="csY2" fmla="*/ 80920 h 202301"/>
              <a:gd name="csX3" fmla="*/ 319425 w 691658"/>
              <a:gd name="csY3" fmla="*/ 202301 h 202301"/>
              <a:gd name="csX4" fmla="*/ 0 w 691658"/>
              <a:gd name="csY4" fmla="*/ 101553 h 202301"/>
              <a:gd name="csX0" fmla="*/ 0 w 744046"/>
              <a:gd name="csY0" fmla="*/ 101553 h 202301"/>
              <a:gd name="csX1" fmla="*/ 440805 w 744046"/>
              <a:gd name="csY1" fmla="*/ 0 h 202301"/>
              <a:gd name="csX2" fmla="*/ 744046 w 744046"/>
              <a:gd name="csY2" fmla="*/ 100746 h 202301"/>
              <a:gd name="csX3" fmla="*/ 319425 w 744046"/>
              <a:gd name="csY3" fmla="*/ 202301 h 202301"/>
              <a:gd name="csX4" fmla="*/ 0 w 744046"/>
              <a:gd name="csY4" fmla="*/ 101553 h 202301"/>
              <a:gd name="csX0" fmla="*/ 0 w 744046"/>
              <a:gd name="csY0" fmla="*/ 109484 h 210232"/>
              <a:gd name="csX1" fmla="*/ 421755 w 744046"/>
              <a:gd name="csY1" fmla="*/ 0 h 210232"/>
              <a:gd name="csX2" fmla="*/ 744046 w 744046"/>
              <a:gd name="csY2" fmla="*/ 108677 h 210232"/>
              <a:gd name="csX3" fmla="*/ 319425 w 744046"/>
              <a:gd name="csY3" fmla="*/ 210232 h 210232"/>
              <a:gd name="csX4" fmla="*/ 0 w 744046"/>
              <a:gd name="csY4" fmla="*/ 109484 h 210232"/>
              <a:gd name="csX0" fmla="*/ 0 w 744046"/>
              <a:gd name="csY0" fmla="*/ 109484 h 210232"/>
              <a:gd name="csX1" fmla="*/ 42175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109484 h 210232"/>
              <a:gd name="csX1" fmla="*/ 44080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97588 h 198336"/>
              <a:gd name="csX1" fmla="*/ 402705 w 744046"/>
              <a:gd name="csY1" fmla="*/ 0 h 198336"/>
              <a:gd name="csX2" fmla="*/ 744046 w 744046"/>
              <a:gd name="csY2" fmla="*/ 96781 h 198336"/>
              <a:gd name="csX3" fmla="*/ 314662 w 744046"/>
              <a:gd name="csY3" fmla="*/ 198336 h 198336"/>
              <a:gd name="csX4" fmla="*/ 0 w 744046"/>
              <a:gd name="csY4" fmla="*/ 97588 h 198336"/>
            </a:gdLst>
            <a:ahLst/>
            <a:cxnLst>
              <a:cxn ang="0">
                <a:pos x="csX0" y="csY0"/>
              </a:cxn>
              <a:cxn ang="0">
                <a:pos x="csX1" y="csY1"/>
              </a:cxn>
              <a:cxn ang="0">
                <a:pos x="csX2" y="csY2"/>
              </a:cxn>
              <a:cxn ang="0">
                <a:pos x="csX3" y="csY3"/>
              </a:cxn>
              <a:cxn ang="0">
                <a:pos x="csX4" y="csY4"/>
              </a:cxn>
            </a:cxnLst>
            <a:rect l="l" t="t" r="r" b="b"/>
            <a:pathLst>
              <a:path w="744046" h="198336">
                <a:moveTo>
                  <a:pt x="0" y="97588"/>
                </a:moveTo>
                <a:lnTo>
                  <a:pt x="402705" y="0"/>
                </a:lnTo>
                <a:lnTo>
                  <a:pt x="744046" y="96781"/>
                </a:lnTo>
                <a:lnTo>
                  <a:pt x="314662" y="198336"/>
                </a:lnTo>
                <a:lnTo>
                  <a:pt x="0" y="97588"/>
                </a:lnTo>
                <a:close/>
              </a:path>
            </a:pathLst>
          </a:custGeom>
          <a:solidFill>
            <a:schemeClr val="bg1"/>
          </a:solidFill>
          <a:ln w="381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77" name="Vapaamuotoinen: Muoto 176">
            <a:extLst>
              <a:ext uri="{FF2B5EF4-FFF2-40B4-BE49-F238E27FC236}">
                <a16:creationId xmlns:a16="http://schemas.microsoft.com/office/drawing/2014/main" id="{0CDD270A-6749-CE3F-C594-77496412C3BE}"/>
              </a:ext>
            </a:extLst>
          </p:cNvPr>
          <p:cNvSpPr/>
          <p:nvPr/>
        </p:nvSpPr>
        <p:spPr>
          <a:xfrm>
            <a:off x="4362764" y="1899265"/>
            <a:ext cx="744046" cy="238209"/>
          </a:xfrm>
          <a:custGeom>
            <a:avLst/>
            <a:gdLst>
              <a:gd name="csX0" fmla="*/ 0 w 639271"/>
              <a:gd name="csY0" fmla="*/ 121380 h 202301"/>
              <a:gd name="csX1" fmla="*/ 388418 w 639271"/>
              <a:gd name="csY1" fmla="*/ 0 h 202301"/>
              <a:gd name="csX2" fmla="*/ 639271 w 639271"/>
              <a:gd name="csY2" fmla="*/ 80920 h 202301"/>
              <a:gd name="csX3" fmla="*/ 267038 w 639271"/>
              <a:gd name="csY3" fmla="*/ 202301 h 202301"/>
              <a:gd name="csX4" fmla="*/ 0 w 639271"/>
              <a:gd name="csY4" fmla="*/ 121380 h 202301"/>
              <a:gd name="csX0" fmla="*/ 0 w 691658"/>
              <a:gd name="csY0" fmla="*/ 101553 h 202301"/>
              <a:gd name="csX1" fmla="*/ 440805 w 691658"/>
              <a:gd name="csY1" fmla="*/ 0 h 202301"/>
              <a:gd name="csX2" fmla="*/ 691658 w 691658"/>
              <a:gd name="csY2" fmla="*/ 80920 h 202301"/>
              <a:gd name="csX3" fmla="*/ 319425 w 691658"/>
              <a:gd name="csY3" fmla="*/ 202301 h 202301"/>
              <a:gd name="csX4" fmla="*/ 0 w 691658"/>
              <a:gd name="csY4" fmla="*/ 101553 h 202301"/>
              <a:gd name="csX0" fmla="*/ 0 w 744046"/>
              <a:gd name="csY0" fmla="*/ 101553 h 202301"/>
              <a:gd name="csX1" fmla="*/ 440805 w 744046"/>
              <a:gd name="csY1" fmla="*/ 0 h 202301"/>
              <a:gd name="csX2" fmla="*/ 744046 w 744046"/>
              <a:gd name="csY2" fmla="*/ 100746 h 202301"/>
              <a:gd name="csX3" fmla="*/ 319425 w 744046"/>
              <a:gd name="csY3" fmla="*/ 202301 h 202301"/>
              <a:gd name="csX4" fmla="*/ 0 w 744046"/>
              <a:gd name="csY4" fmla="*/ 101553 h 202301"/>
              <a:gd name="csX0" fmla="*/ 0 w 744046"/>
              <a:gd name="csY0" fmla="*/ 109484 h 210232"/>
              <a:gd name="csX1" fmla="*/ 421755 w 744046"/>
              <a:gd name="csY1" fmla="*/ 0 h 210232"/>
              <a:gd name="csX2" fmla="*/ 744046 w 744046"/>
              <a:gd name="csY2" fmla="*/ 108677 h 210232"/>
              <a:gd name="csX3" fmla="*/ 319425 w 744046"/>
              <a:gd name="csY3" fmla="*/ 210232 h 210232"/>
              <a:gd name="csX4" fmla="*/ 0 w 744046"/>
              <a:gd name="csY4" fmla="*/ 109484 h 210232"/>
              <a:gd name="csX0" fmla="*/ 0 w 744046"/>
              <a:gd name="csY0" fmla="*/ 109484 h 210232"/>
              <a:gd name="csX1" fmla="*/ 42175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109484 h 210232"/>
              <a:gd name="csX1" fmla="*/ 44080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97588 h 198336"/>
              <a:gd name="csX1" fmla="*/ 402705 w 744046"/>
              <a:gd name="csY1" fmla="*/ 0 h 198336"/>
              <a:gd name="csX2" fmla="*/ 744046 w 744046"/>
              <a:gd name="csY2" fmla="*/ 96781 h 198336"/>
              <a:gd name="csX3" fmla="*/ 314662 w 744046"/>
              <a:gd name="csY3" fmla="*/ 198336 h 198336"/>
              <a:gd name="csX4" fmla="*/ 0 w 744046"/>
              <a:gd name="csY4" fmla="*/ 97588 h 198336"/>
            </a:gdLst>
            <a:ahLst/>
            <a:cxnLst>
              <a:cxn ang="0">
                <a:pos x="csX0" y="csY0"/>
              </a:cxn>
              <a:cxn ang="0">
                <a:pos x="csX1" y="csY1"/>
              </a:cxn>
              <a:cxn ang="0">
                <a:pos x="csX2" y="csY2"/>
              </a:cxn>
              <a:cxn ang="0">
                <a:pos x="csX3" y="csY3"/>
              </a:cxn>
              <a:cxn ang="0">
                <a:pos x="csX4" y="csY4"/>
              </a:cxn>
            </a:cxnLst>
            <a:rect l="l" t="t" r="r" b="b"/>
            <a:pathLst>
              <a:path w="744046" h="198336">
                <a:moveTo>
                  <a:pt x="0" y="97588"/>
                </a:moveTo>
                <a:lnTo>
                  <a:pt x="402705" y="0"/>
                </a:lnTo>
                <a:lnTo>
                  <a:pt x="744046" y="96781"/>
                </a:lnTo>
                <a:lnTo>
                  <a:pt x="314662" y="198336"/>
                </a:lnTo>
                <a:lnTo>
                  <a:pt x="0" y="97588"/>
                </a:lnTo>
                <a:close/>
              </a:path>
            </a:pathLst>
          </a:custGeom>
          <a:solidFill>
            <a:schemeClr val="bg1"/>
          </a:solidFill>
          <a:ln w="381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79" name="Vapaamuotoinen: Muoto 178">
            <a:extLst>
              <a:ext uri="{FF2B5EF4-FFF2-40B4-BE49-F238E27FC236}">
                <a16:creationId xmlns:a16="http://schemas.microsoft.com/office/drawing/2014/main" id="{2AEC81EF-5439-6864-4ED2-0C02BB1B273D}"/>
              </a:ext>
            </a:extLst>
          </p:cNvPr>
          <p:cNvSpPr/>
          <p:nvPr/>
        </p:nvSpPr>
        <p:spPr>
          <a:xfrm>
            <a:off x="3248974" y="2290065"/>
            <a:ext cx="728662" cy="1741064"/>
          </a:xfrm>
          <a:custGeom>
            <a:avLst/>
            <a:gdLst>
              <a:gd name="csX0" fmla="*/ 0 w 728662"/>
              <a:gd name="csY0" fmla="*/ 0 h 1695450"/>
              <a:gd name="csX1" fmla="*/ 0 w 728662"/>
              <a:gd name="csY1" fmla="*/ 1533525 h 1695450"/>
              <a:gd name="csX2" fmla="*/ 247650 w 728662"/>
              <a:gd name="csY2" fmla="*/ 1695450 h 1695450"/>
              <a:gd name="csX3" fmla="*/ 728662 w 728662"/>
              <a:gd name="csY3" fmla="*/ 1509712 h 1695450"/>
              <a:gd name="csX4" fmla="*/ 728662 w 728662"/>
              <a:gd name="csY4" fmla="*/ 266700 h 1695450"/>
              <a:gd name="csX0" fmla="*/ 0 w 728662"/>
              <a:gd name="csY0" fmla="*/ 0 h 1695450"/>
              <a:gd name="csX1" fmla="*/ 0 w 728662"/>
              <a:gd name="csY1" fmla="*/ 1586865 h 1695450"/>
              <a:gd name="csX2" fmla="*/ 247650 w 728662"/>
              <a:gd name="csY2" fmla="*/ 1695450 h 1695450"/>
              <a:gd name="csX3" fmla="*/ 728662 w 728662"/>
              <a:gd name="csY3" fmla="*/ 1509712 h 1695450"/>
              <a:gd name="csX4" fmla="*/ 728662 w 728662"/>
              <a:gd name="csY4" fmla="*/ 266700 h 1695450"/>
              <a:gd name="csX0" fmla="*/ 0 w 728662"/>
              <a:gd name="csY0" fmla="*/ 0 h 1714206"/>
              <a:gd name="csX1" fmla="*/ 0 w 728662"/>
              <a:gd name="csY1" fmla="*/ 1586865 h 1714206"/>
              <a:gd name="csX2" fmla="*/ 282575 w 728662"/>
              <a:gd name="csY2" fmla="*/ 1714206 h 1714206"/>
              <a:gd name="csX3" fmla="*/ 728662 w 728662"/>
              <a:gd name="csY3" fmla="*/ 1509712 h 1714206"/>
              <a:gd name="csX4" fmla="*/ 728662 w 728662"/>
              <a:gd name="csY4" fmla="*/ 266700 h 1714206"/>
            </a:gdLst>
            <a:ahLst/>
            <a:cxnLst>
              <a:cxn ang="0">
                <a:pos x="csX0" y="csY0"/>
              </a:cxn>
              <a:cxn ang="0">
                <a:pos x="csX1" y="csY1"/>
              </a:cxn>
              <a:cxn ang="0">
                <a:pos x="csX2" y="csY2"/>
              </a:cxn>
              <a:cxn ang="0">
                <a:pos x="csX3" y="csY3"/>
              </a:cxn>
              <a:cxn ang="0">
                <a:pos x="csX4" y="csY4"/>
              </a:cxn>
            </a:cxnLst>
            <a:rect l="l" t="t" r="r" b="b"/>
            <a:pathLst>
              <a:path w="728662" h="1714206">
                <a:moveTo>
                  <a:pt x="0" y="0"/>
                </a:moveTo>
                <a:lnTo>
                  <a:pt x="0" y="1586865"/>
                </a:lnTo>
                <a:lnTo>
                  <a:pt x="282575" y="1714206"/>
                </a:lnTo>
                <a:lnTo>
                  <a:pt x="728662" y="1509712"/>
                </a:lnTo>
                <a:lnTo>
                  <a:pt x="728662" y="266700"/>
                </a:ln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cxnSp>
        <p:nvCxnSpPr>
          <p:cNvPr id="180" name="Suora yhdysviiva 179">
            <a:extLst>
              <a:ext uri="{FF2B5EF4-FFF2-40B4-BE49-F238E27FC236}">
                <a16:creationId xmlns:a16="http://schemas.microsoft.com/office/drawing/2014/main" id="{FE27ECD2-ED62-5D01-3656-5938882CC856}"/>
              </a:ext>
            </a:extLst>
          </p:cNvPr>
          <p:cNvCxnSpPr>
            <a:cxnSpLocks/>
          </p:cNvCxnSpPr>
          <p:nvPr/>
        </p:nvCxnSpPr>
        <p:spPr>
          <a:xfrm flipV="1">
            <a:off x="3533179" y="2378075"/>
            <a:ext cx="0" cy="1637179"/>
          </a:xfrm>
          <a:prstGeom prst="line">
            <a:avLst/>
          </a:prstGeom>
          <a:ln w="12700"/>
        </p:spPr>
        <p:style>
          <a:lnRef idx="2">
            <a:schemeClr val="dk1"/>
          </a:lnRef>
          <a:fillRef idx="0">
            <a:schemeClr val="dk1"/>
          </a:fillRef>
          <a:effectRef idx="1">
            <a:schemeClr val="dk1"/>
          </a:effectRef>
          <a:fontRef idx="minor">
            <a:schemeClr val="tx1"/>
          </a:fontRef>
        </p:style>
      </p:cxnSp>
      <p:sp>
        <p:nvSpPr>
          <p:cNvPr id="181" name="Vapaamuotoinen: Muoto 180">
            <a:extLst>
              <a:ext uri="{FF2B5EF4-FFF2-40B4-BE49-F238E27FC236}">
                <a16:creationId xmlns:a16="http://schemas.microsoft.com/office/drawing/2014/main" id="{1DEA2762-FFF0-8E22-1F96-36F6CB647310}"/>
              </a:ext>
            </a:extLst>
          </p:cNvPr>
          <p:cNvSpPr/>
          <p:nvPr/>
        </p:nvSpPr>
        <p:spPr>
          <a:xfrm>
            <a:off x="4333526" y="2687335"/>
            <a:ext cx="332167" cy="1324744"/>
          </a:xfrm>
          <a:custGeom>
            <a:avLst/>
            <a:gdLst>
              <a:gd name="csX0" fmla="*/ 0 w 728662"/>
              <a:gd name="csY0" fmla="*/ 0 h 1695450"/>
              <a:gd name="csX1" fmla="*/ 0 w 728662"/>
              <a:gd name="csY1" fmla="*/ 1533525 h 1695450"/>
              <a:gd name="csX2" fmla="*/ 247650 w 728662"/>
              <a:gd name="csY2" fmla="*/ 1695450 h 1695450"/>
              <a:gd name="csX3" fmla="*/ 728662 w 728662"/>
              <a:gd name="csY3" fmla="*/ 1509712 h 1695450"/>
              <a:gd name="csX4" fmla="*/ 728662 w 728662"/>
              <a:gd name="csY4" fmla="*/ 266700 h 1695450"/>
              <a:gd name="csX0" fmla="*/ 0 w 728662"/>
              <a:gd name="csY0" fmla="*/ 0 h 1695450"/>
              <a:gd name="csX1" fmla="*/ 0 w 728662"/>
              <a:gd name="csY1" fmla="*/ 1586865 h 1695450"/>
              <a:gd name="csX2" fmla="*/ 247650 w 728662"/>
              <a:gd name="csY2" fmla="*/ 1695450 h 1695450"/>
              <a:gd name="csX3" fmla="*/ 728662 w 728662"/>
              <a:gd name="csY3" fmla="*/ 1509712 h 1695450"/>
              <a:gd name="csX4" fmla="*/ 728662 w 728662"/>
              <a:gd name="csY4" fmla="*/ 266700 h 1695450"/>
              <a:gd name="csX0" fmla="*/ 0 w 731837"/>
              <a:gd name="csY0" fmla="*/ 117475 h 1428750"/>
              <a:gd name="csX1" fmla="*/ 3175 w 731837"/>
              <a:gd name="csY1" fmla="*/ 1320165 h 1428750"/>
              <a:gd name="csX2" fmla="*/ 250825 w 731837"/>
              <a:gd name="csY2" fmla="*/ 1428750 h 1428750"/>
              <a:gd name="csX3" fmla="*/ 731837 w 731837"/>
              <a:gd name="csY3" fmla="*/ 1243012 h 1428750"/>
              <a:gd name="csX4" fmla="*/ 731837 w 731837"/>
              <a:gd name="csY4" fmla="*/ 0 h 1428750"/>
              <a:gd name="csX0" fmla="*/ 0 w 735012"/>
              <a:gd name="csY0" fmla="*/ 0 h 1311275"/>
              <a:gd name="csX1" fmla="*/ 3175 w 735012"/>
              <a:gd name="csY1" fmla="*/ 1202690 h 1311275"/>
              <a:gd name="csX2" fmla="*/ 250825 w 735012"/>
              <a:gd name="csY2" fmla="*/ 1311275 h 1311275"/>
              <a:gd name="csX3" fmla="*/ 731837 w 735012"/>
              <a:gd name="csY3" fmla="*/ 1125537 h 1311275"/>
              <a:gd name="csX4" fmla="*/ 735012 w 735012"/>
              <a:gd name="csY4" fmla="*/ 273050 h 1311275"/>
              <a:gd name="csX0" fmla="*/ 0 w 731837"/>
              <a:gd name="csY0" fmla="*/ 0 h 1311275"/>
              <a:gd name="csX1" fmla="*/ 3175 w 731837"/>
              <a:gd name="csY1" fmla="*/ 1202690 h 1311275"/>
              <a:gd name="csX2" fmla="*/ 250825 w 731837"/>
              <a:gd name="csY2" fmla="*/ 1311275 h 1311275"/>
              <a:gd name="csX3" fmla="*/ 731837 w 731837"/>
              <a:gd name="csY3" fmla="*/ 1125537 h 1311275"/>
              <a:gd name="csX0" fmla="*/ 0 w 439737"/>
              <a:gd name="csY0" fmla="*/ 0 h 1311275"/>
              <a:gd name="csX1" fmla="*/ 3175 w 439737"/>
              <a:gd name="csY1" fmla="*/ 1202690 h 1311275"/>
              <a:gd name="csX2" fmla="*/ 250825 w 439737"/>
              <a:gd name="csY2" fmla="*/ 1311275 h 1311275"/>
              <a:gd name="csX3" fmla="*/ 439737 w 439737"/>
              <a:gd name="csY3" fmla="*/ 1239837 h 1311275"/>
              <a:gd name="csX0" fmla="*/ 0 w 250825"/>
              <a:gd name="csY0" fmla="*/ 0 h 1311275"/>
              <a:gd name="csX1" fmla="*/ 3175 w 250825"/>
              <a:gd name="csY1" fmla="*/ 1202690 h 1311275"/>
              <a:gd name="csX2" fmla="*/ 250825 w 250825"/>
              <a:gd name="csY2" fmla="*/ 1311275 h 1311275"/>
              <a:gd name="csX0" fmla="*/ 0 w 260796"/>
              <a:gd name="csY0" fmla="*/ 0 h 1292686"/>
              <a:gd name="csX1" fmla="*/ 3175 w 260796"/>
              <a:gd name="csY1" fmla="*/ 1202690 h 1292686"/>
              <a:gd name="csX2" fmla="*/ 260796 w 260796"/>
              <a:gd name="csY2" fmla="*/ 1292686 h 1292686"/>
              <a:gd name="csX0" fmla="*/ 0 w 260796"/>
              <a:gd name="csY0" fmla="*/ 0 h 1292686"/>
              <a:gd name="csX1" fmla="*/ 3175 w 260796"/>
              <a:gd name="csY1" fmla="*/ 1177905 h 1292686"/>
              <a:gd name="csX2" fmla="*/ 260796 w 260796"/>
              <a:gd name="csY2" fmla="*/ 1292686 h 1292686"/>
            </a:gdLst>
            <a:ahLst/>
            <a:cxnLst>
              <a:cxn ang="0">
                <a:pos x="csX0" y="csY0"/>
              </a:cxn>
              <a:cxn ang="0">
                <a:pos x="csX1" y="csY1"/>
              </a:cxn>
              <a:cxn ang="0">
                <a:pos x="csX2" y="csY2"/>
              </a:cxn>
            </a:cxnLst>
            <a:rect l="l" t="t" r="r" b="b"/>
            <a:pathLst>
              <a:path w="260796" h="1292686">
                <a:moveTo>
                  <a:pt x="0" y="0"/>
                </a:moveTo>
                <a:cubicBezTo>
                  <a:pt x="1058" y="400897"/>
                  <a:pt x="2117" y="777008"/>
                  <a:pt x="3175" y="1177905"/>
                </a:cubicBezTo>
                <a:lnTo>
                  <a:pt x="260796" y="1292686"/>
                </a:ln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cxnSp>
        <p:nvCxnSpPr>
          <p:cNvPr id="182" name="Suora yhdysviiva 181">
            <a:extLst>
              <a:ext uri="{FF2B5EF4-FFF2-40B4-BE49-F238E27FC236}">
                <a16:creationId xmlns:a16="http://schemas.microsoft.com/office/drawing/2014/main" id="{F6E33C4E-71A3-7D1C-FD88-6838294AD7EE}"/>
              </a:ext>
            </a:extLst>
          </p:cNvPr>
          <p:cNvCxnSpPr>
            <a:cxnSpLocks/>
          </p:cNvCxnSpPr>
          <p:nvPr/>
        </p:nvCxnSpPr>
        <p:spPr>
          <a:xfrm flipV="1">
            <a:off x="4663723" y="2784663"/>
            <a:ext cx="1" cy="1228741"/>
          </a:xfrm>
          <a:prstGeom prst="line">
            <a:avLst/>
          </a:prstGeom>
          <a:ln w="12700"/>
        </p:spPr>
        <p:style>
          <a:lnRef idx="2">
            <a:schemeClr val="dk1"/>
          </a:lnRef>
          <a:fillRef idx="0">
            <a:schemeClr val="dk1"/>
          </a:fillRef>
          <a:effectRef idx="1">
            <a:schemeClr val="dk1"/>
          </a:effectRef>
          <a:fontRef idx="minor">
            <a:schemeClr val="tx1"/>
          </a:fontRef>
        </p:style>
      </p:cxnSp>
      <p:sp>
        <p:nvSpPr>
          <p:cNvPr id="184" name="Vapaamuotoinen: Muoto 183">
            <a:extLst>
              <a:ext uri="{FF2B5EF4-FFF2-40B4-BE49-F238E27FC236}">
                <a16:creationId xmlns:a16="http://schemas.microsoft.com/office/drawing/2014/main" id="{698AFC78-F7F7-94F9-DDCE-F8B5DBFC3F2D}"/>
              </a:ext>
            </a:extLst>
          </p:cNvPr>
          <p:cNvSpPr/>
          <p:nvPr/>
        </p:nvSpPr>
        <p:spPr>
          <a:xfrm>
            <a:off x="4663719" y="3009900"/>
            <a:ext cx="460731" cy="1003504"/>
          </a:xfrm>
          <a:custGeom>
            <a:avLst/>
            <a:gdLst>
              <a:gd name="csX0" fmla="*/ 0 w 358775"/>
              <a:gd name="csY0" fmla="*/ 917575 h 917575"/>
              <a:gd name="csX1" fmla="*/ 320675 w 358775"/>
              <a:gd name="csY1" fmla="*/ 793750 h 917575"/>
              <a:gd name="csX2" fmla="*/ 358775 w 358775"/>
              <a:gd name="csY2" fmla="*/ 781050 h 917575"/>
              <a:gd name="csX3" fmla="*/ 355600 w 358775"/>
              <a:gd name="csY3" fmla="*/ 0 h 917575"/>
            </a:gdLst>
            <a:ahLst/>
            <a:cxnLst>
              <a:cxn ang="0">
                <a:pos x="csX0" y="csY0"/>
              </a:cxn>
              <a:cxn ang="0">
                <a:pos x="csX1" y="csY1"/>
              </a:cxn>
              <a:cxn ang="0">
                <a:pos x="csX2" y="csY2"/>
              </a:cxn>
              <a:cxn ang="0">
                <a:pos x="csX3" y="csY3"/>
              </a:cxn>
            </a:cxnLst>
            <a:rect l="l" t="t" r="r" b="b"/>
            <a:pathLst>
              <a:path w="358775" h="917575">
                <a:moveTo>
                  <a:pt x="0" y="917575"/>
                </a:moveTo>
                <a:lnTo>
                  <a:pt x="320675" y="793750"/>
                </a:lnTo>
                <a:lnTo>
                  <a:pt x="358775" y="781050"/>
                </a:lnTo>
                <a:cubicBezTo>
                  <a:pt x="357717" y="520700"/>
                  <a:pt x="356658" y="260350"/>
                  <a:pt x="355600" y="0"/>
                </a:cubicBezTo>
              </a:path>
            </a:pathLst>
          </a:custGeom>
          <a:ln>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fi-FI">
              <a:solidFill>
                <a:schemeClr val="tx1"/>
              </a:solidFill>
            </a:endParaRPr>
          </a:p>
        </p:txBody>
      </p:sp>
      <p:cxnSp>
        <p:nvCxnSpPr>
          <p:cNvPr id="186" name="Suora yhdysviiva 185">
            <a:extLst>
              <a:ext uri="{FF2B5EF4-FFF2-40B4-BE49-F238E27FC236}">
                <a16:creationId xmlns:a16="http://schemas.microsoft.com/office/drawing/2014/main" id="{C453EDB3-A3E6-8DF7-BFD3-D2D0747C32B9}"/>
              </a:ext>
            </a:extLst>
          </p:cNvPr>
          <p:cNvCxnSpPr>
            <a:cxnSpLocks/>
          </p:cNvCxnSpPr>
          <p:nvPr/>
        </p:nvCxnSpPr>
        <p:spPr>
          <a:xfrm flipV="1">
            <a:off x="3248974" y="2137474"/>
            <a:ext cx="0" cy="96138"/>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190" name="Suora yhdysviiva 189">
            <a:extLst>
              <a:ext uri="{FF2B5EF4-FFF2-40B4-BE49-F238E27FC236}">
                <a16:creationId xmlns:a16="http://schemas.microsoft.com/office/drawing/2014/main" id="{2F1F0985-101E-4BE4-883F-EA62F341C198}"/>
              </a:ext>
            </a:extLst>
          </p:cNvPr>
          <p:cNvCxnSpPr>
            <a:cxnSpLocks/>
          </p:cNvCxnSpPr>
          <p:nvPr/>
        </p:nvCxnSpPr>
        <p:spPr>
          <a:xfrm flipV="1">
            <a:off x="3977636" y="2137474"/>
            <a:ext cx="0" cy="383476"/>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192" name="Suora yhdysviiva 191">
            <a:extLst>
              <a:ext uri="{FF2B5EF4-FFF2-40B4-BE49-F238E27FC236}">
                <a16:creationId xmlns:a16="http://schemas.microsoft.com/office/drawing/2014/main" id="{FC9FCA46-1B20-51B6-9035-30AB37A7F60E}"/>
              </a:ext>
            </a:extLst>
          </p:cNvPr>
          <p:cNvCxnSpPr>
            <a:cxnSpLocks/>
          </p:cNvCxnSpPr>
          <p:nvPr/>
        </p:nvCxnSpPr>
        <p:spPr>
          <a:xfrm flipV="1">
            <a:off x="4333527" y="2038350"/>
            <a:ext cx="0" cy="630806"/>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194" name="Suora yhdysviiva 193">
            <a:extLst>
              <a:ext uri="{FF2B5EF4-FFF2-40B4-BE49-F238E27FC236}">
                <a16:creationId xmlns:a16="http://schemas.microsoft.com/office/drawing/2014/main" id="{B6767EC7-7444-AB34-0D5A-A4DA2F446849}"/>
              </a:ext>
            </a:extLst>
          </p:cNvPr>
          <p:cNvCxnSpPr>
            <a:cxnSpLocks/>
          </p:cNvCxnSpPr>
          <p:nvPr/>
        </p:nvCxnSpPr>
        <p:spPr>
          <a:xfrm flipV="1">
            <a:off x="5124450" y="2038350"/>
            <a:ext cx="0" cy="936127"/>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196" name="Suora yhdysviiva 195">
            <a:extLst>
              <a:ext uri="{FF2B5EF4-FFF2-40B4-BE49-F238E27FC236}">
                <a16:creationId xmlns:a16="http://schemas.microsoft.com/office/drawing/2014/main" id="{CC07DDCB-3975-98BC-7642-1BDB3C295684}"/>
              </a:ext>
            </a:extLst>
          </p:cNvPr>
          <p:cNvCxnSpPr>
            <a:cxnSpLocks/>
          </p:cNvCxnSpPr>
          <p:nvPr/>
        </p:nvCxnSpPr>
        <p:spPr>
          <a:xfrm flipV="1">
            <a:off x="5991192" y="2499012"/>
            <a:ext cx="4" cy="541338"/>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197" name="Suora yhdysviiva 196">
            <a:extLst>
              <a:ext uri="{FF2B5EF4-FFF2-40B4-BE49-F238E27FC236}">
                <a16:creationId xmlns:a16="http://schemas.microsoft.com/office/drawing/2014/main" id="{3D27DA32-E5E9-F558-4C0C-4E0363D68E59}"/>
              </a:ext>
            </a:extLst>
          </p:cNvPr>
          <p:cNvCxnSpPr>
            <a:cxnSpLocks/>
          </p:cNvCxnSpPr>
          <p:nvPr/>
        </p:nvCxnSpPr>
        <p:spPr>
          <a:xfrm flipV="1">
            <a:off x="5213907" y="2477418"/>
            <a:ext cx="0" cy="497059"/>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207" name="Suora yhdysviiva 206">
            <a:extLst>
              <a:ext uri="{FF2B5EF4-FFF2-40B4-BE49-F238E27FC236}">
                <a16:creationId xmlns:a16="http://schemas.microsoft.com/office/drawing/2014/main" id="{7A24211E-DB50-2161-9079-86B0EA51E93B}"/>
              </a:ext>
            </a:extLst>
          </p:cNvPr>
          <p:cNvCxnSpPr>
            <a:cxnSpLocks/>
          </p:cNvCxnSpPr>
          <p:nvPr/>
        </p:nvCxnSpPr>
        <p:spPr>
          <a:xfrm flipV="1">
            <a:off x="3538580" y="2233612"/>
            <a:ext cx="0" cy="141288"/>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209" name="Suora yhdysviiva 208">
            <a:extLst>
              <a:ext uri="{FF2B5EF4-FFF2-40B4-BE49-F238E27FC236}">
                <a16:creationId xmlns:a16="http://schemas.microsoft.com/office/drawing/2014/main" id="{0613A6E6-62BC-819A-0A61-73D207713F16}"/>
              </a:ext>
            </a:extLst>
          </p:cNvPr>
          <p:cNvCxnSpPr>
            <a:cxnSpLocks/>
          </p:cNvCxnSpPr>
          <p:nvPr/>
        </p:nvCxnSpPr>
        <p:spPr>
          <a:xfrm flipV="1">
            <a:off x="4663727" y="2162015"/>
            <a:ext cx="0" cy="630806"/>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210" name="Suora yhdysviiva 209">
            <a:extLst>
              <a:ext uri="{FF2B5EF4-FFF2-40B4-BE49-F238E27FC236}">
                <a16:creationId xmlns:a16="http://schemas.microsoft.com/office/drawing/2014/main" id="{FB5FAA20-48BA-0D8C-6A69-23AEC77E7CDE}"/>
              </a:ext>
            </a:extLst>
          </p:cNvPr>
          <p:cNvCxnSpPr>
            <a:cxnSpLocks/>
          </p:cNvCxnSpPr>
          <p:nvPr/>
        </p:nvCxnSpPr>
        <p:spPr>
          <a:xfrm flipV="1">
            <a:off x="5525057" y="2619056"/>
            <a:ext cx="0" cy="504572"/>
          </a:xfrm>
          <a:prstGeom prst="line">
            <a:avLst/>
          </a:prstGeom>
          <a:ln w="12700">
            <a:prstDash val="sysDot"/>
          </a:ln>
        </p:spPr>
        <p:style>
          <a:lnRef idx="2">
            <a:schemeClr val="dk1"/>
          </a:lnRef>
          <a:fillRef idx="0">
            <a:schemeClr val="dk1"/>
          </a:fillRef>
          <a:effectRef idx="1">
            <a:schemeClr val="dk1"/>
          </a:effectRef>
          <a:fontRef idx="minor">
            <a:schemeClr val="tx1"/>
          </a:fontRef>
        </p:style>
      </p:cxnSp>
      <p:sp>
        <p:nvSpPr>
          <p:cNvPr id="212" name="Tekstiruutu 211">
            <a:extLst>
              <a:ext uri="{FF2B5EF4-FFF2-40B4-BE49-F238E27FC236}">
                <a16:creationId xmlns:a16="http://schemas.microsoft.com/office/drawing/2014/main" id="{7498F2D8-53BE-64AD-01F3-9254362C4E9E}"/>
              </a:ext>
            </a:extLst>
          </p:cNvPr>
          <p:cNvSpPr txBox="1"/>
          <p:nvPr/>
        </p:nvSpPr>
        <p:spPr>
          <a:xfrm>
            <a:off x="6096000" y="894989"/>
            <a:ext cx="4794902" cy="1077218"/>
          </a:xfrm>
          <a:prstGeom prst="rect">
            <a:avLst/>
          </a:prstGeom>
          <a:noFill/>
        </p:spPr>
        <p:txBody>
          <a:bodyPr wrap="none" rtlCol="0">
            <a:spAutoFit/>
          </a:bodyPr>
          <a:lstStyle/>
          <a:p>
            <a:r>
              <a:rPr lang="fi-FI" sz="3200" dirty="0">
                <a:solidFill>
                  <a:srgbClr val="0042A5"/>
                </a:solidFill>
              </a:rPr>
              <a:t>Tarkasteltavat kuilujen</a:t>
            </a:r>
            <a:br>
              <a:rPr lang="fi-FI" sz="3200" dirty="0">
                <a:solidFill>
                  <a:srgbClr val="0042A5"/>
                </a:solidFill>
              </a:rPr>
            </a:br>
            <a:r>
              <a:rPr lang="fi-FI" sz="3200" dirty="0">
                <a:solidFill>
                  <a:srgbClr val="0042A5"/>
                </a:solidFill>
              </a:rPr>
              <a:t>               paikat</a:t>
            </a:r>
          </a:p>
        </p:txBody>
      </p:sp>
      <p:sp>
        <p:nvSpPr>
          <p:cNvPr id="217" name="Kaari 216">
            <a:extLst>
              <a:ext uri="{FF2B5EF4-FFF2-40B4-BE49-F238E27FC236}">
                <a16:creationId xmlns:a16="http://schemas.microsoft.com/office/drawing/2014/main" id="{692FDBB4-8786-E3B7-5099-1A1ED0C415CA}"/>
              </a:ext>
            </a:extLst>
          </p:cNvPr>
          <p:cNvSpPr/>
          <p:nvPr/>
        </p:nvSpPr>
        <p:spPr>
          <a:xfrm flipH="1">
            <a:off x="3550297" y="1207332"/>
            <a:ext cx="4799824" cy="1466731"/>
          </a:xfrm>
          <a:prstGeom prst="arc">
            <a:avLst>
              <a:gd name="adj1" fmla="val 15955642"/>
              <a:gd name="adj2" fmla="val 230228"/>
            </a:avLst>
          </a:prstGeom>
          <a:ln>
            <a:headEnd type="none" w="med" len="med"/>
            <a:tailEnd type="triangle" w="lg" len="lg"/>
          </a:ln>
        </p:spPr>
        <p:style>
          <a:lnRef idx="2">
            <a:schemeClr val="dk1"/>
          </a:lnRef>
          <a:fillRef idx="0">
            <a:schemeClr val="dk1"/>
          </a:fillRef>
          <a:effectRef idx="1">
            <a:schemeClr val="dk1"/>
          </a:effectRef>
          <a:fontRef idx="minor">
            <a:schemeClr val="tx1"/>
          </a:fontRef>
        </p:style>
        <p:txBody>
          <a:bodyPr rtlCol="0" anchor="ctr"/>
          <a:lstStyle/>
          <a:p>
            <a:pPr algn="ctr"/>
            <a:endParaRPr lang="fi-FI"/>
          </a:p>
        </p:txBody>
      </p:sp>
      <p:sp>
        <p:nvSpPr>
          <p:cNvPr id="218" name="Kaari 217">
            <a:extLst>
              <a:ext uri="{FF2B5EF4-FFF2-40B4-BE49-F238E27FC236}">
                <a16:creationId xmlns:a16="http://schemas.microsoft.com/office/drawing/2014/main" id="{88AC21FF-715F-A84A-54D5-9C1E0547F5F7}"/>
              </a:ext>
            </a:extLst>
          </p:cNvPr>
          <p:cNvSpPr/>
          <p:nvPr/>
        </p:nvSpPr>
        <p:spPr>
          <a:xfrm flipH="1">
            <a:off x="4690970" y="1229866"/>
            <a:ext cx="2835339" cy="1466731"/>
          </a:xfrm>
          <a:prstGeom prst="arc">
            <a:avLst>
              <a:gd name="adj1" fmla="val 15955642"/>
              <a:gd name="adj2" fmla="val 72516"/>
            </a:avLst>
          </a:prstGeom>
          <a:ln>
            <a:headEnd type="none" w="med" len="med"/>
            <a:tailEnd type="triangle" w="lg" len="lg"/>
          </a:ln>
        </p:spPr>
        <p:style>
          <a:lnRef idx="2">
            <a:schemeClr val="dk1"/>
          </a:lnRef>
          <a:fillRef idx="0">
            <a:schemeClr val="dk1"/>
          </a:fillRef>
          <a:effectRef idx="1">
            <a:schemeClr val="dk1"/>
          </a:effectRef>
          <a:fontRef idx="minor">
            <a:schemeClr val="tx1"/>
          </a:fontRef>
        </p:style>
        <p:txBody>
          <a:bodyPr rtlCol="0" anchor="ctr"/>
          <a:lstStyle/>
          <a:p>
            <a:pPr algn="ctr"/>
            <a:endParaRPr lang="fi-FI"/>
          </a:p>
        </p:txBody>
      </p:sp>
      <p:sp>
        <p:nvSpPr>
          <p:cNvPr id="219" name="Kaari 218">
            <a:extLst>
              <a:ext uri="{FF2B5EF4-FFF2-40B4-BE49-F238E27FC236}">
                <a16:creationId xmlns:a16="http://schemas.microsoft.com/office/drawing/2014/main" id="{16A7B573-5C98-046B-2746-0B2D4D5513B0}"/>
              </a:ext>
            </a:extLst>
          </p:cNvPr>
          <p:cNvSpPr/>
          <p:nvPr/>
        </p:nvSpPr>
        <p:spPr>
          <a:xfrm flipH="1">
            <a:off x="5550332" y="1227570"/>
            <a:ext cx="1014813" cy="1758836"/>
          </a:xfrm>
          <a:prstGeom prst="arc">
            <a:avLst>
              <a:gd name="adj1" fmla="val 15958105"/>
              <a:gd name="adj2" fmla="val 1567664"/>
            </a:avLst>
          </a:prstGeom>
          <a:ln>
            <a:headEnd type="none" w="med" len="med"/>
            <a:tailEnd type="triangle" w="lg" len="lg"/>
          </a:ln>
        </p:spPr>
        <p:style>
          <a:lnRef idx="2">
            <a:schemeClr val="dk1"/>
          </a:lnRef>
          <a:fillRef idx="0">
            <a:schemeClr val="dk1"/>
          </a:fillRef>
          <a:effectRef idx="1">
            <a:schemeClr val="dk1"/>
          </a:effectRef>
          <a:fontRef idx="minor">
            <a:schemeClr val="tx1"/>
          </a:fontRef>
        </p:style>
        <p:txBody>
          <a:bodyPr rtlCol="0" anchor="ctr"/>
          <a:lstStyle/>
          <a:p>
            <a:pPr algn="ctr"/>
            <a:endParaRPr lang="fi-FI"/>
          </a:p>
        </p:txBody>
      </p:sp>
    </p:spTree>
    <p:extLst>
      <p:ext uri="{BB962C8B-B14F-4D97-AF65-F5344CB8AC3E}">
        <p14:creationId xmlns:p14="http://schemas.microsoft.com/office/powerpoint/2010/main" val="2822445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617D4-55BB-2761-6485-3715BA893C6F}"/>
            </a:ext>
          </a:extLst>
        </p:cNvPr>
        <p:cNvGrpSpPr/>
        <p:nvPr/>
      </p:nvGrpSpPr>
      <p:grpSpPr>
        <a:xfrm>
          <a:off x="0" y="0"/>
          <a:ext cx="0" cy="0"/>
          <a:chOff x="0" y="0"/>
          <a:chExt cx="0" cy="0"/>
        </a:xfrm>
      </p:grpSpPr>
      <p:sp>
        <p:nvSpPr>
          <p:cNvPr id="2" name="Vapaamuotoinen: Muoto 1">
            <a:extLst>
              <a:ext uri="{FF2B5EF4-FFF2-40B4-BE49-F238E27FC236}">
                <a16:creationId xmlns:a16="http://schemas.microsoft.com/office/drawing/2014/main" id="{7E8A59D5-720F-BFDB-E079-E5A539542963}"/>
              </a:ext>
            </a:extLst>
          </p:cNvPr>
          <p:cNvSpPr/>
          <p:nvPr/>
        </p:nvSpPr>
        <p:spPr>
          <a:xfrm>
            <a:off x="2838450" y="1565910"/>
            <a:ext cx="4536720" cy="1612499"/>
          </a:xfrm>
          <a:custGeom>
            <a:avLst/>
            <a:gdLst>
              <a:gd name="csX0" fmla="*/ 0 w 2743200"/>
              <a:gd name="csY0" fmla="*/ 484095 h 941295"/>
              <a:gd name="csX1" fmla="*/ 1658471 w 2743200"/>
              <a:gd name="csY1" fmla="*/ 0 h 941295"/>
              <a:gd name="csX2" fmla="*/ 2743200 w 2743200"/>
              <a:gd name="csY2" fmla="*/ 367553 h 941295"/>
              <a:gd name="csX3" fmla="*/ 1021977 w 2743200"/>
              <a:gd name="csY3" fmla="*/ 941295 h 941295"/>
              <a:gd name="csX4" fmla="*/ 0 w 2743200"/>
              <a:gd name="csY4" fmla="*/ 484095 h 941295"/>
              <a:gd name="csX0" fmla="*/ 0 w 3238500"/>
              <a:gd name="csY0" fmla="*/ 263115 h 941295"/>
              <a:gd name="csX1" fmla="*/ 2153771 w 3238500"/>
              <a:gd name="csY1" fmla="*/ 0 h 941295"/>
              <a:gd name="csX2" fmla="*/ 3238500 w 3238500"/>
              <a:gd name="csY2" fmla="*/ 367553 h 941295"/>
              <a:gd name="csX3" fmla="*/ 1517277 w 3238500"/>
              <a:gd name="csY3" fmla="*/ 941295 h 941295"/>
              <a:gd name="csX4" fmla="*/ 0 w 3238500"/>
              <a:gd name="csY4" fmla="*/ 263115 h 941295"/>
              <a:gd name="csX0" fmla="*/ 0 w 3238500"/>
              <a:gd name="csY0" fmla="*/ 445995 h 1124175"/>
              <a:gd name="csX1" fmla="*/ 1650851 w 3238500"/>
              <a:gd name="csY1" fmla="*/ 0 h 1124175"/>
              <a:gd name="csX2" fmla="*/ 3238500 w 3238500"/>
              <a:gd name="csY2" fmla="*/ 550433 h 1124175"/>
              <a:gd name="csX3" fmla="*/ 1517277 w 3238500"/>
              <a:gd name="csY3" fmla="*/ 1124175 h 1124175"/>
              <a:gd name="csX4" fmla="*/ 0 w 3238500"/>
              <a:gd name="csY4" fmla="*/ 445995 h 1124175"/>
              <a:gd name="csX0" fmla="*/ 0 w 3238500"/>
              <a:gd name="csY0" fmla="*/ 556832 h 1124175"/>
              <a:gd name="csX1" fmla="*/ 1650851 w 3238500"/>
              <a:gd name="csY1" fmla="*/ 0 h 1124175"/>
              <a:gd name="csX2" fmla="*/ 3238500 w 3238500"/>
              <a:gd name="csY2" fmla="*/ 550433 h 1124175"/>
              <a:gd name="csX3" fmla="*/ 1517277 w 3238500"/>
              <a:gd name="csY3" fmla="*/ 1124175 h 1124175"/>
              <a:gd name="csX4" fmla="*/ 0 w 3238500"/>
              <a:gd name="csY4" fmla="*/ 556832 h 1124175"/>
              <a:gd name="csX0" fmla="*/ 0 w 3238500"/>
              <a:gd name="csY0" fmla="*/ 556832 h 1124175"/>
              <a:gd name="csX1" fmla="*/ 301980 w 3238500"/>
              <a:gd name="csY1" fmla="*/ 434966 h 1124175"/>
              <a:gd name="csX2" fmla="*/ 1650851 w 3238500"/>
              <a:gd name="csY2" fmla="*/ 0 h 1124175"/>
              <a:gd name="csX3" fmla="*/ 3238500 w 3238500"/>
              <a:gd name="csY3" fmla="*/ 550433 h 1124175"/>
              <a:gd name="csX4" fmla="*/ 1517277 w 3238500"/>
              <a:gd name="csY4" fmla="*/ 1124175 h 1124175"/>
              <a:gd name="csX5" fmla="*/ 0 w 3238500"/>
              <a:gd name="csY5" fmla="*/ 556832 h 1124175"/>
              <a:gd name="csX0" fmla="*/ 1298220 w 4536720"/>
              <a:gd name="csY0" fmla="*/ 556832 h 1124175"/>
              <a:gd name="csX1" fmla="*/ 0 w 4536720"/>
              <a:gd name="csY1" fmla="*/ 47616 h 1124175"/>
              <a:gd name="csX2" fmla="*/ 2949071 w 4536720"/>
              <a:gd name="csY2" fmla="*/ 0 h 1124175"/>
              <a:gd name="csX3" fmla="*/ 4536720 w 4536720"/>
              <a:gd name="csY3" fmla="*/ 550433 h 1124175"/>
              <a:gd name="csX4" fmla="*/ 2815497 w 4536720"/>
              <a:gd name="csY4" fmla="*/ 1124175 h 1124175"/>
              <a:gd name="csX5" fmla="*/ 1298220 w 4536720"/>
              <a:gd name="csY5" fmla="*/ 556832 h 1124175"/>
              <a:gd name="csX0" fmla="*/ 1298220 w 4536720"/>
              <a:gd name="csY0" fmla="*/ 556832 h 1124175"/>
              <a:gd name="csX1" fmla="*/ 0 w 4536720"/>
              <a:gd name="csY1" fmla="*/ 47616 h 1124175"/>
              <a:gd name="csX2" fmla="*/ 1606550 w 4536720"/>
              <a:gd name="csY2" fmla="*/ 28566 h 1124175"/>
              <a:gd name="csX3" fmla="*/ 2949071 w 4536720"/>
              <a:gd name="csY3" fmla="*/ 0 h 1124175"/>
              <a:gd name="csX4" fmla="*/ 4536720 w 4536720"/>
              <a:gd name="csY4" fmla="*/ 550433 h 1124175"/>
              <a:gd name="csX5" fmla="*/ 2815497 w 4536720"/>
              <a:gd name="csY5" fmla="*/ 1124175 h 1124175"/>
              <a:gd name="csX6" fmla="*/ 1298220 w 4536720"/>
              <a:gd name="csY6" fmla="*/ 556832 h 1124175"/>
              <a:gd name="csX0" fmla="*/ 1298220 w 4536720"/>
              <a:gd name="csY0" fmla="*/ 991816 h 1559159"/>
              <a:gd name="csX1" fmla="*/ 0 w 4536720"/>
              <a:gd name="csY1" fmla="*/ 482600 h 1559159"/>
              <a:gd name="csX2" fmla="*/ 1663700 w 4536720"/>
              <a:gd name="csY2" fmla="*/ 0 h 1559159"/>
              <a:gd name="csX3" fmla="*/ 2949071 w 4536720"/>
              <a:gd name="csY3" fmla="*/ 434984 h 1559159"/>
              <a:gd name="csX4" fmla="*/ 4536720 w 4536720"/>
              <a:gd name="csY4" fmla="*/ 985417 h 1559159"/>
              <a:gd name="csX5" fmla="*/ 2815497 w 4536720"/>
              <a:gd name="csY5" fmla="*/ 1559159 h 1559159"/>
              <a:gd name="csX6" fmla="*/ 1298220 w 4536720"/>
              <a:gd name="csY6" fmla="*/ 991816 h 155915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298220 w 4536720"/>
              <a:gd name="csY6" fmla="*/ 1045156 h 161249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536720" h="1612499">
                <a:moveTo>
                  <a:pt x="1298220" y="1045156"/>
                </a:moveTo>
                <a:lnTo>
                  <a:pt x="0" y="535940"/>
                </a:lnTo>
                <a:lnTo>
                  <a:pt x="1549400" y="0"/>
                </a:lnTo>
                <a:lnTo>
                  <a:pt x="2949071" y="488324"/>
                </a:lnTo>
                <a:lnTo>
                  <a:pt x="4536720" y="1038757"/>
                </a:lnTo>
                <a:lnTo>
                  <a:pt x="2815497" y="1612499"/>
                </a:lnTo>
                <a:lnTo>
                  <a:pt x="1298220" y="1045156"/>
                </a:lnTo>
                <a:close/>
              </a:path>
            </a:pathLst>
          </a:custGeom>
          <a:ln w="6350">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fi-FI" dirty="0">
              <a:ln w="0"/>
              <a:solidFill>
                <a:schemeClr val="tx1"/>
              </a:solidFill>
              <a:effectLst>
                <a:outerShdw blurRad="38100" dist="19050" dir="2700000" algn="tl" rotWithShape="0">
                  <a:schemeClr val="dk1">
                    <a:alpha val="40000"/>
                  </a:schemeClr>
                </a:outerShdw>
              </a:effectLst>
            </a:endParaRPr>
          </a:p>
        </p:txBody>
      </p:sp>
      <p:sp>
        <p:nvSpPr>
          <p:cNvPr id="3" name="Vapaamuotoinen: Muoto 2">
            <a:extLst>
              <a:ext uri="{FF2B5EF4-FFF2-40B4-BE49-F238E27FC236}">
                <a16:creationId xmlns:a16="http://schemas.microsoft.com/office/drawing/2014/main" id="{9390AA07-5C40-ADE9-CB85-DF30C151CFCB}"/>
              </a:ext>
            </a:extLst>
          </p:cNvPr>
          <p:cNvSpPr/>
          <p:nvPr/>
        </p:nvSpPr>
        <p:spPr>
          <a:xfrm>
            <a:off x="1897736" y="2683950"/>
            <a:ext cx="9723904" cy="3403506"/>
          </a:xfrm>
          <a:custGeom>
            <a:avLst/>
            <a:gdLst>
              <a:gd name="csX0" fmla="*/ 0 w 9923929"/>
              <a:gd name="csY0" fmla="*/ 2931459 h 3379694"/>
              <a:gd name="csX1" fmla="*/ 8821270 w 9923929"/>
              <a:gd name="csY1" fmla="*/ 0 h 3379694"/>
              <a:gd name="csX2" fmla="*/ 9923929 w 9923929"/>
              <a:gd name="csY2" fmla="*/ 233083 h 3379694"/>
              <a:gd name="csX3" fmla="*/ 941294 w 9923929"/>
              <a:gd name="csY3" fmla="*/ 3379694 h 3379694"/>
              <a:gd name="csX4" fmla="*/ 0 w 9923929"/>
              <a:gd name="csY4" fmla="*/ 2931459 h 3379694"/>
              <a:gd name="csX0" fmla="*/ 0 w 9723904"/>
              <a:gd name="csY0" fmla="*/ 2931459 h 3379694"/>
              <a:gd name="csX1" fmla="*/ 8821270 w 9723904"/>
              <a:gd name="csY1" fmla="*/ 0 h 3379694"/>
              <a:gd name="csX2" fmla="*/ 9723904 w 9723904"/>
              <a:gd name="csY2" fmla="*/ 299758 h 3379694"/>
              <a:gd name="csX3" fmla="*/ 941294 w 9723904"/>
              <a:gd name="csY3" fmla="*/ 3379694 h 3379694"/>
              <a:gd name="csX4" fmla="*/ 0 w 9723904"/>
              <a:gd name="csY4" fmla="*/ 2931459 h 3379694"/>
              <a:gd name="csX0" fmla="*/ 0 w 9723904"/>
              <a:gd name="csY0" fmla="*/ 2955271 h 3403506"/>
              <a:gd name="csX1" fmla="*/ 8883183 w 9723904"/>
              <a:gd name="csY1" fmla="*/ 0 h 3403506"/>
              <a:gd name="csX2" fmla="*/ 9723904 w 9723904"/>
              <a:gd name="csY2" fmla="*/ 323570 h 3403506"/>
              <a:gd name="csX3" fmla="*/ 941294 w 9723904"/>
              <a:gd name="csY3" fmla="*/ 3403506 h 3403506"/>
              <a:gd name="csX4" fmla="*/ 0 w 9723904"/>
              <a:gd name="csY4" fmla="*/ 2955271 h 3403506"/>
              <a:gd name="csX0" fmla="*/ 0 w 9723904"/>
              <a:gd name="csY0" fmla="*/ 2955271 h 3403506"/>
              <a:gd name="csX1" fmla="*/ 2941992 w 9723904"/>
              <a:gd name="csY1" fmla="*/ 197610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3368712 w 9723904"/>
              <a:gd name="csY2" fmla="*/ 182370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443132 w 9723904"/>
              <a:gd name="csY2" fmla="*/ 147318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245012 w 9723904"/>
              <a:gd name="csY2" fmla="*/ 154938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940212 w 9723904"/>
              <a:gd name="csY2" fmla="*/ 121410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345852 w 9723904"/>
              <a:gd name="csY2" fmla="*/ 16103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78112 w 9723904"/>
              <a:gd name="csY2" fmla="*/ 17246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68876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41167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260204 w 9723904"/>
              <a:gd name="csY2" fmla="*/ 175148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712395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723904" h="3403506">
                <a:moveTo>
                  <a:pt x="0" y="2955271"/>
                </a:moveTo>
                <a:lnTo>
                  <a:pt x="2797212" y="2029441"/>
                </a:lnTo>
                <a:lnTo>
                  <a:pt x="973571" y="1257871"/>
                </a:lnTo>
                <a:lnTo>
                  <a:pt x="2629302" y="712395"/>
                </a:lnTo>
                <a:lnTo>
                  <a:pt x="4443132" y="1473181"/>
                </a:lnTo>
                <a:lnTo>
                  <a:pt x="8883183" y="0"/>
                </a:lnTo>
                <a:lnTo>
                  <a:pt x="9723904" y="323570"/>
                </a:lnTo>
                <a:lnTo>
                  <a:pt x="941294" y="3403506"/>
                </a:lnTo>
                <a:lnTo>
                  <a:pt x="0" y="2955271"/>
                </a:lnTo>
                <a:close/>
              </a:path>
            </a:pathLst>
          </a:custGeom>
          <a:noFill/>
          <a:ln>
            <a:solidFill>
              <a:srgbClr val="FF0000"/>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4" name="Suora yhdysviiva 3">
            <a:extLst>
              <a:ext uri="{FF2B5EF4-FFF2-40B4-BE49-F238E27FC236}">
                <a16:creationId xmlns:a16="http://schemas.microsoft.com/office/drawing/2014/main" id="{0316AA7E-DB70-B5F1-4E19-241FA847A084}"/>
              </a:ext>
            </a:extLst>
          </p:cNvPr>
          <p:cNvCxnSpPr>
            <a:cxnSpLocks/>
          </p:cNvCxnSpPr>
          <p:nvPr/>
        </p:nvCxnSpPr>
        <p:spPr>
          <a:xfrm>
            <a:off x="2841510" y="2113386"/>
            <a:ext cx="29597" cy="1818059"/>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5" name="Suora yhdysviiva 4">
            <a:extLst>
              <a:ext uri="{FF2B5EF4-FFF2-40B4-BE49-F238E27FC236}">
                <a16:creationId xmlns:a16="http://schemas.microsoft.com/office/drawing/2014/main" id="{AD19B669-99A2-1036-3D50-763516BB8C48}"/>
              </a:ext>
            </a:extLst>
          </p:cNvPr>
          <p:cNvCxnSpPr>
            <a:cxnSpLocks/>
          </p:cNvCxnSpPr>
          <p:nvPr/>
        </p:nvCxnSpPr>
        <p:spPr>
          <a:xfrm flipH="1">
            <a:off x="5617961" y="3178409"/>
            <a:ext cx="27021" cy="1926991"/>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6" name="Suora yhdysviiva 5">
            <a:extLst>
              <a:ext uri="{FF2B5EF4-FFF2-40B4-BE49-F238E27FC236}">
                <a16:creationId xmlns:a16="http://schemas.microsoft.com/office/drawing/2014/main" id="{E92943F2-0D1E-400B-1563-FD9C3BFF6F06}"/>
              </a:ext>
            </a:extLst>
          </p:cNvPr>
          <p:cNvCxnSpPr>
            <a:cxnSpLocks/>
          </p:cNvCxnSpPr>
          <p:nvPr/>
        </p:nvCxnSpPr>
        <p:spPr>
          <a:xfrm flipH="1">
            <a:off x="7300913" y="2600933"/>
            <a:ext cx="74258" cy="1909155"/>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7" name="Suora yhdysviiva 6">
            <a:extLst>
              <a:ext uri="{FF2B5EF4-FFF2-40B4-BE49-F238E27FC236}">
                <a16:creationId xmlns:a16="http://schemas.microsoft.com/office/drawing/2014/main" id="{D440A710-CB75-6369-EA1A-BD11FF08946F}"/>
              </a:ext>
            </a:extLst>
          </p:cNvPr>
          <p:cNvCxnSpPr>
            <a:cxnSpLocks/>
            <a:endCxn id="3" idx="3"/>
          </p:cNvCxnSpPr>
          <p:nvPr/>
        </p:nvCxnSpPr>
        <p:spPr>
          <a:xfrm>
            <a:off x="4527038" y="2769869"/>
            <a:ext cx="0" cy="626476"/>
          </a:xfrm>
          <a:prstGeom prst="line">
            <a:avLst/>
          </a:prstGeom>
          <a:ln w="12700">
            <a:prstDash val="dash"/>
          </a:ln>
        </p:spPr>
        <p:style>
          <a:lnRef idx="2">
            <a:schemeClr val="dk1"/>
          </a:lnRef>
          <a:fillRef idx="0">
            <a:schemeClr val="dk1"/>
          </a:fillRef>
          <a:effectRef idx="1">
            <a:schemeClr val="dk1"/>
          </a:effectRef>
          <a:fontRef idx="minor">
            <a:schemeClr val="tx1"/>
          </a:fontRef>
        </p:style>
      </p:cxnSp>
      <p:grpSp>
        <p:nvGrpSpPr>
          <p:cNvPr id="9" name="Ryhmä 8">
            <a:extLst>
              <a:ext uri="{FF2B5EF4-FFF2-40B4-BE49-F238E27FC236}">
                <a16:creationId xmlns:a16="http://schemas.microsoft.com/office/drawing/2014/main" id="{2594CF26-A616-02F1-CF04-30BCEC6FCCA5}"/>
              </a:ext>
            </a:extLst>
          </p:cNvPr>
          <p:cNvGrpSpPr/>
          <p:nvPr/>
        </p:nvGrpSpPr>
        <p:grpSpPr>
          <a:xfrm>
            <a:off x="2167763" y="2789803"/>
            <a:ext cx="8861479" cy="2983345"/>
            <a:chOff x="341745" y="2179782"/>
            <a:chExt cx="8861479" cy="2983345"/>
          </a:xfrm>
        </p:grpSpPr>
        <p:cxnSp>
          <p:nvCxnSpPr>
            <p:cNvPr id="10" name="Suora yhdysviiva 9">
              <a:extLst>
                <a:ext uri="{FF2B5EF4-FFF2-40B4-BE49-F238E27FC236}">
                  <a16:creationId xmlns:a16="http://schemas.microsoft.com/office/drawing/2014/main" id="{C26B7011-F727-41F1-E156-EA9D8E631587}"/>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11" name="Suora yhdysviiva 10">
              <a:extLst>
                <a:ext uri="{FF2B5EF4-FFF2-40B4-BE49-F238E27FC236}">
                  <a16:creationId xmlns:a16="http://schemas.microsoft.com/office/drawing/2014/main" id="{C4AD5166-9AC8-BE44-7896-5633256568E4}"/>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 name="Suora yhdysviiva 11">
              <a:extLst>
                <a:ext uri="{FF2B5EF4-FFF2-40B4-BE49-F238E27FC236}">
                  <a16:creationId xmlns:a16="http://schemas.microsoft.com/office/drawing/2014/main" id="{F15B7F18-F864-7350-51BA-03DD9008FE78}"/>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 name="Suora yhdysviiva 12">
              <a:extLst>
                <a:ext uri="{FF2B5EF4-FFF2-40B4-BE49-F238E27FC236}">
                  <a16:creationId xmlns:a16="http://schemas.microsoft.com/office/drawing/2014/main" id="{CF851345-AD22-09FA-A7D8-447A58CFFE01}"/>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 name="Suora yhdysviiva 13">
              <a:extLst>
                <a:ext uri="{FF2B5EF4-FFF2-40B4-BE49-F238E27FC236}">
                  <a16:creationId xmlns:a16="http://schemas.microsoft.com/office/drawing/2014/main" id="{4B004493-7924-7660-ED2F-B64002831A21}"/>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 name="Suora yhdysviiva 14">
              <a:extLst>
                <a:ext uri="{FF2B5EF4-FFF2-40B4-BE49-F238E27FC236}">
                  <a16:creationId xmlns:a16="http://schemas.microsoft.com/office/drawing/2014/main" id="{CEDCACFD-5E0B-0232-0917-EFAB17A62896}"/>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 name="Suora yhdysviiva 15">
              <a:extLst>
                <a:ext uri="{FF2B5EF4-FFF2-40B4-BE49-F238E27FC236}">
                  <a16:creationId xmlns:a16="http://schemas.microsoft.com/office/drawing/2014/main" id="{1D97F769-6783-75BB-5581-F539C2EBD50F}"/>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7" name="Suora yhdysviiva 16">
              <a:extLst>
                <a:ext uri="{FF2B5EF4-FFF2-40B4-BE49-F238E27FC236}">
                  <a16:creationId xmlns:a16="http://schemas.microsoft.com/office/drawing/2014/main" id="{8C925216-7A9B-103E-F2CC-25BD70B5D056}"/>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8" name="Suora yhdysviiva 17">
              <a:extLst>
                <a:ext uri="{FF2B5EF4-FFF2-40B4-BE49-F238E27FC236}">
                  <a16:creationId xmlns:a16="http://schemas.microsoft.com/office/drawing/2014/main" id="{CBB8A6F0-8635-CD73-605B-2E0BA43319EA}"/>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9" name="Suora yhdysviiva 18">
              <a:extLst>
                <a:ext uri="{FF2B5EF4-FFF2-40B4-BE49-F238E27FC236}">
                  <a16:creationId xmlns:a16="http://schemas.microsoft.com/office/drawing/2014/main" id="{85FCAB09-59BB-66CC-E95E-C612CAF51269}"/>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0" name="Suora yhdysviiva 19">
              <a:extLst>
                <a:ext uri="{FF2B5EF4-FFF2-40B4-BE49-F238E27FC236}">
                  <a16:creationId xmlns:a16="http://schemas.microsoft.com/office/drawing/2014/main" id="{75B7B95C-73B2-4F78-8EED-32C16E1175B9}"/>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1" name="Suora yhdysviiva 20">
              <a:extLst>
                <a:ext uri="{FF2B5EF4-FFF2-40B4-BE49-F238E27FC236}">
                  <a16:creationId xmlns:a16="http://schemas.microsoft.com/office/drawing/2014/main" id="{BD6AEC18-3B32-0127-11A9-3610949ECA7F}"/>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2" name="Suora yhdysviiva 21">
              <a:extLst>
                <a:ext uri="{FF2B5EF4-FFF2-40B4-BE49-F238E27FC236}">
                  <a16:creationId xmlns:a16="http://schemas.microsoft.com/office/drawing/2014/main" id="{3A4E4BF2-D568-9162-E9AD-ADCB29081E28}"/>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3" name="Suora yhdysviiva 22">
              <a:extLst>
                <a:ext uri="{FF2B5EF4-FFF2-40B4-BE49-F238E27FC236}">
                  <a16:creationId xmlns:a16="http://schemas.microsoft.com/office/drawing/2014/main" id="{F0BA4148-0C1E-A6C6-EC30-6BE05D3F6EEB}"/>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4" name="Suora yhdysviiva 23">
              <a:extLst>
                <a:ext uri="{FF2B5EF4-FFF2-40B4-BE49-F238E27FC236}">
                  <a16:creationId xmlns:a16="http://schemas.microsoft.com/office/drawing/2014/main" id="{FF50FB61-04D9-ABF6-067F-54EE45D92B17}"/>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5" name="Suora yhdysviiva 24">
              <a:extLst>
                <a:ext uri="{FF2B5EF4-FFF2-40B4-BE49-F238E27FC236}">
                  <a16:creationId xmlns:a16="http://schemas.microsoft.com/office/drawing/2014/main" id="{32CFD006-4387-9A3D-6826-3FBF6BD7DC82}"/>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6" name="Suora yhdysviiva 25">
              <a:extLst>
                <a:ext uri="{FF2B5EF4-FFF2-40B4-BE49-F238E27FC236}">
                  <a16:creationId xmlns:a16="http://schemas.microsoft.com/office/drawing/2014/main" id="{43722D6B-2645-DDAA-3117-2B443A179566}"/>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7" name="Suora yhdysviiva 26">
              <a:extLst>
                <a:ext uri="{FF2B5EF4-FFF2-40B4-BE49-F238E27FC236}">
                  <a16:creationId xmlns:a16="http://schemas.microsoft.com/office/drawing/2014/main" id="{97E47EB4-4D61-1A23-D556-30A384EB40B3}"/>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8" name="Suora yhdysviiva 27">
              <a:extLst>
                <a:ext uri="{FF2B5EF4-FFF2-40B4-BE49-F238E27FC236}">
                  <a16:creationId xmlns:a16="http://schemas.microsoft.com/office/drawing/2014/main" id="{818679B7-A97F-AABD-521E-41D8EB7186FF}"/>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9" name="Suora yhdysviiva 28">
              <a:extLst>
                <a:ext uri="{FF2B5EF4-FFF2-40B4-BE49-F238E27FC236}">
                  <a16:creationId xmlns:a16="http://schemas.microsoft.com/office/drawing/2014/main" id="{B6DCC644-3C48-EAC9-9989-A85AFA67DA56}"/>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0" name="Suora yhdysviiva 29">
              <a:extLst>
                <a:ext uri="{FF2B5EF4-FFF2-40B4-BE49-F238E27FC236}">
                  <a16:creationId xmlns:a16="http://schemas.microsoft.com/office/drawing/2014/main" id="{6B9AF296-E5AE-69FD-6841-9EEEC25F28F6}"/>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1" name="Suora yhdysviiva 30">
              <a:extLst>
                <a:ext uri="{FF2B5EF4-FFF2-40B4-BE49-F238E27FC236}">
                  <a16:creationId xmlns:a16="http://schemas.microsoft.com/office/drawing/2014/main" id="{9439AD70-BF35-E2C3-B99E-C174366DB55E}"/>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2" name="Suora yhdysviiva 31">
              <a:extLst>
                <a:ext uri="{FF2B5EF4-FFF2-40B4-BE49-F238E27FC236}">
                  <a16:creationId xmlns:a16="http://schemas.microsoft.com/office/drawing/2014/main" id="{6ED16260-DFFF-58A4-8C08-DFC437381DBB}"/>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3" name="Suora yhdysviiva 32">
              <a:extLst>
                <a:ext uri="{FF2B5EF4-FFF2-40B4-BE49-F238E27FC236}">
                  <a16:creationId xmlns:a16="http://schemas.microsoft.com/office/drawing/2014/main" id="{3A8A4D0E-24E5-8C3E-84D3-63F282671B42}"/>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4" name="Suora yhdysviiva 33">
              <a:extLst>
                <a:ext uri="{FF2B5EF4-FFF2-40B4-BE49-F238E27FC236}">
                  <a16:creationId xmlns:a16="http://schemas.microsoft.com/office/drawing/2014/main" id="{1F72FDAB-A26D-1F19-A121-F6978154B36A}"/>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5" name="Suora yhdysviiva 34">
              <a:extLst>
                <a:ext uri="{FF2B5EF4-FFF2-40B4-BE49-F238E27FC236}">
                  <a16:creationId xmlns:a16="http://schemas.microsoft.com/office/drawing/2014/main" id="{A134A12A-2A77-C6D0-670F-870C4D96E1E6}"/>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6" name="Suora yhdysviiva 35">
              <a:extLst>
                <a:ext uri="{FF2B5EF4-FFF2-40B4-BE49-F238E27FC236}">
                  <a16:creationId xmlns:a16="http://schemas.microsoft.com/office/drawing/2014/main" id="{02466983-0001-7B1D-1979-926DBDACCCF3}"/>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7" name="Suora yhdysviiva 36">
              <a:extLst>
                <a:ext uri="{FF2B5EF4-FFF2-40B4-BE49-F238E27FC236}">
                  <a16:creationId xmlns:a16="http://schemas.microsoft.com/office/drawing/2014/main" id="{B5A3C089-F2EA-5114-E39E-2B684D7F986C}"/>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8" name="Suora yhdysviiva 37">
              <a:extLst>
                <a:ext uri="{FF2B5EF4-FFF2-40B4-BE49-F238E27FC236}">
                  <a16:creationId xmlns:a16="http://schemas.microsoft.com/office/drawing/2014/main" id="{FAC2D5F0-4052-1591-F830-06BF797B252C}"/>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9" name="Suora yhdysviiva 38">
              <a:extLst>
                <a:ext uri="{FF2B5EF4-FFF2-40B4-BE49-F238E27FC236}">
                  <a16:creationId xmlns:a16="http://schemas.microsoft.com/office/drawing/2014/main" id="{283B86FD-163C-C64D-127A-77A085F53285}"/>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0" name="Suora yhdysviiva 39">
              <a:extLst>
                <a:ext uri="{FF2B5EF4-FFF2-40B4-BE49-F238E27FC236}">
                  <a16:creationId xmlns:a16="http://schemas.microsoft.com/office/drawing/2014/main" id="{AEBF6449-BCA9-D10D-5EF1-82F144380568}"/>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1" name="Suora yhdysviiva 40">
              <a:extLst>
                <a:ext uri="{FF2B5EF4-FFF2-40B4-BE49-F238E27FC236}">
                  <a16:creationId xmlns:a16="http://schemas.microsoft.com/office/drawing/2014/main" id="{3BB1B5F6-26F4-2BDB-D2EF-E81653E784DE}"/>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2" name="Suora yhdysviiva 41">
              <a:extLst>
                <a:ext uri="{FF2B5EF4-FFF2-40B4-BE49-F238E27FC236}">
                  <a16:creationId xmlns:a16="http://schemas.microsoft.com/office/drawing/2014/main" id="{A19B15D4-DFDB-CEE0-DC54-46BB090B68AD}"/>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3" name="Suora yhdysviiva 42">
              <a:extLst>
                <a:ext uri="{FF2B5EF4-FFF2-40B4-BE49-F238E27FC236}">
                  <a16:creationId xmlns:a16="http://schemas.microsoft.com/office/drawing/2014/main" id="{936D097F-7DAE-6EB4-504D-A9DD17AA0E72}"/>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4" name="Suora yhdysviiva 43">
              <a:extLst>
                <a:ext uri="{FF2B5EF4-FFF2-40B4-BE49-F238E27FC236}">
                  <a16:creationId xmlns:a16="http://schemas.microsoft.com/office/drawing/2014/main" id="{6A9FD5E0-FF23-EE3B-7362-EE13D80E38B0}"/>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5" name="Suora yhdysviiva 44">
              <a:extLst>
                <a:ext uri="{FF2B5EF4-FFF2-40B4-BE49-F238E27FC236}">
                  <a16:creationId xmlns:a16="http://schemas.microsoft.com/office/drawing/2014/main" id="{D64AB373-908D-64DB-2701-A2B4C9BF85E5}"/>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6" name="Suora yhdysviiva 45">
              <a:extLst>
                <a:ext uri="{FF2B5EF4-FFF2-40B4-BE49-F238E27FC236}">
                  <a16:creationId xmlns:a16="http://schemas.microsoft.com/office/drawing/2014/main" id="{4E3667AB-75AD-4073-7CA8-951D0F2AE935}"/>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7" name="Suora yhdysviiva 46">
              <a:extLst>
                <a:ext uri="{FF2B5EF4-FFF2-40B4-BE49-F238E27FC236}">
                  <a16:creationId xmlns:a16="http://schemas.microsoft.com/office/drawing/2014/main" id="{CE248396-8840-6607-DC55-2B9ABB7FCEE4}"/>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8" name="Suora yhdysviiva 47">
              <a:extLst>
                <a:ext uri="{FF2B5EF4-FFF2-40B4-BE49-F238E27FC236}">
                  <a16:creationId xmlns:a16="http://schemas.microsoft.com/office/drawing/2014/main" id="{353E88E3-4218-8F2A-BA46-7A0E9E828024}"/>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9" name="Suora yhdysviiva 48">
              <a:extLst>
                <a:ext uri="{FF2B5EF4-FFF2-40B4-BE49-F238E27FC236}">
                  <a16:creationId xmlns:a16="http://schemas.microsoft.com/office/drawing/2014/main" id="{3C7CAAE5-CC70-D441-5CA5-74760C03A6B9}"/>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0" name="Suora yhdysviiva 49">
              <a:extLst>
                <a:ext uri="{FF2B5EF4-FFF2-40B4-BE49-F238E27FC236}">
                  <a16:creationId xmlns:a16="http://schemas.microsoft.com/office/drawing/2014/main" id="{41C82AD5-9AC0-5157-3582-75857764DB8F}"/>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1" name="Suora yhdysviiva 50">
              <a:extLst>
                <a:ext uri="{FF2B5EF4-FFF2-40B4-BE49-F238E27FC236}">
                  <a16:creationId xmlns:a16="http://schemas.microsoft.com/office/drawing/2014/main" id="{18B0ABEA-3ADB-999A-A2C8-12D4EC7E9DDC}"/>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2" name="Suora yhdysviiva 51">
              <a:extLst>
                <a:ext uri="{FF2B5EF4-FFF2-40B4-BE49-F238E27FC236}">
                  <a16:creationId xmlns:a16="http://schemas.microsoft.com/office/drawing/2014/main" id="{F57EE37F-58FB-C4DD-FEB9-8438524A6C70}"/>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3" name="Suora yhdysviiva 52">
              <a:extLst>
                <a:ext uri="{FF2B5EF4-FFF2-40B4-BE49-F238E27FC236}">
                  <a16:creationId xmlns:a16="http://schemas.microsoft.com/office/drawing/2014/main" id="{D2EC2520-65C2-4D04-A7B4-174807816502}"/>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4" name="Suora yhdysviiva 53">
              <a:extLst>
                <a:ext uri="{FF2B5EF4-FFF2-40B4-BE49-F238E27FC236}">
                  <a16:creationId xmlns:a16="http://schemas.microsoft.com/office/drawing/2014/main" id="{68D3395A-2A41-02F1-77BE-E6451D3C84D4}"/>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5" name="Suora yhdysviiva 54">
              <a:extLst>
                <a:ext uri="{FF2B5EF4-FFF2-40B4-BE49-F238E27FC236}">
                  <a16:creationId xmlns:a16="http://schemas.microsoft.com/office/drawing/2014/main" id="{9CE2E889-3155-3C7B-06EF-E82B75548886}"/>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6" name="Suora yhdysviiva 55">
              <a:extLst>
                <a:ext uri="{FF2B5EF4-FFF2-40B4-BE49-F238E27FC236}">
                  <a16:creationId xmlns:a16="http://schemas.microsoft.com/office/drawing/2014/main" id="{9ACEED65-0533-8AD5-BBFB-60BE619AB96A}"/>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7" name="Suora yhdysviiva 56">
              <a:extLst>
                <a:ext uri="{FF2B5EF4-FFF2-40B4-BE49-F238E27FC236}">
                  <a16:creationId xmlns:a16="http://schemas.microsoft.com/office/drawing/2014/main" id="{BA81EA6B-9AC5-37A8-A985-84C710A4FABF}"/>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8" name="Suora yhdysviiva 57">
              <a:extLst>
                <a:ext uri="{FF2B5EF4-FFF2-40B4-BE49-F238E27FC236}">
                  <a16:creationId xmlns:a16="http://schemas.microsoft.com/office/drawing/2014/main" id="{72493C82-1B7F-DEF6-C6B7-3C5A1CAB9454}"/>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9" name="Suora yhdysviiva 58">
              <a:extLst>
                <a:ext uri="{FF2B5EF4-FFF2-40B4-BE49-F238E27FC236}">
                  <a16:creationId xmlns:a16="http://schemas.microsoft.com/office/drawing/2014/main" id="{C2C4E0CD-F683-F83D-8EDD-19D564832F1F}"/>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0" name="Suora yhdysviiva 59">
              <a:extLst>
                <a:ext uri="{FF2B5EF4-FFF2-40B4-BE49-F238E27FC236}">
                  <a16:creationId xmlns:a16="http://schemas.microsoft.com/office/drawing/2014/main" id="{04C6033F-4F40-90C9-D2E5-E482756D7664}"/>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1" name="Suora yhdysviiva 60">
              <a:extLst>
                <a:ext uri="{FF2B5EF4-FFF2-40B4-BE49-F238E27FC236}">
                  <a16:creationId xmlns:a16="http://schemas.microsoft.com/office/drawing/2014/main" id="{5CCBA9EC-D806-EE67-2A11-B7AA9D159D8F}"/>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2" name="Suora yhdysviiva 61">
              <a:extLst>
                <a:ext uri="{FF2B5EF4-FFF2-40B4-BE49-F238E27FC236}">
                  <a16:creationId xmlns:a16="http://schemas.microsoft.com/office/drawing/2014/main" id="{585EE1EC-0EB8-4EE7-8867-AF553E633531}"/>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3" name="Suora yhdysviiva 62">
              <a:extLst>
                <a:ext uri="{FF2B5EF4-FFF2-40B4-BE49-F238E27FC236}">
                  <a16:creationId xmlns:a16="http://schemas.microsoft.com/office/drawing/2014/main" id="{75ABB1AD-5ECB-824A-0FE6-A67C8071EFC5}"/>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4" name="Suora yhdysviiva 63">
              <a:extLst>
                <a:ext uri="{FF2B5EF4-FFF2-40B4-BE49-F238E27FC236}">
                  <a16:creationId xmlns:a16="http://schemas.microsoft.com/office/drawing/2014/main" id="{D9E2B6E0-2063-002B-7697-4CF4B9EA050E}"/>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5" name="Suora yhdysviiva 64">
              <a:extLst>
                <a:ext uri="{FF2B5EF4-FFF2-40B4-BE49-F238E27FC236}">
                  <a16:creationId xmlns:a16="http://schemas.microsoft.com/office/drawing/2014/main" id="{08A95C08-73BE-4238-4ECE-10CD9435A583}"/>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6" name="Suora yhdysviiva 65">
              <a:extLst>
                <a:ext uri="{FF2B5EF4-FFF2-40B4-BE49-F238E27FC236}">
                  <a16:creationId xmlns:a16="http://schemas.microsoft.com/office/drawing/2014/main" id="{234CAFF6-D610-395C-D7E3-5BA498E1E605}"/>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7" name="Suora yhdysviiva 66">
              <a:extLst>
                <a:ext uri="{FF2B5EF4-FFF2-40B4-BE49-F238E27FC236}">
                  <a16:creationId xmlns:a16="http://schemas.microsoft.com/office/drawing/2014/main" id="{2B429668-0CD9-AC16-2B7C-3D4C23329041}"/>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8" name="Suora yhdysviiva 67">
              <a:extLst>
                <a:ext uri="{FF2B5EF4-FFF2-40B4-BE49-F238E27FC236}">
                  <a16:creationId xmlns:a16="http://schemas.microsoft.com/office/drawing/2014/main" id="{B5C56B8E-3862-39F6-CEC9-0F2768ABE771}"/>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9" name="Suora yhdysviiva 68">
              <a:extLst>
                <a:ext uri="{FF2B5EF4-FFF2-40B4-BE49-F238E27FC236}">
                  <a16:creationId xmlns:a16="http://schemas.microsoft.com/office/drawing/2014/main" id="{A4BF85DC-1251-F922-6FBA-BEAEF54E130B}"/>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0" name="Suora yhdysviiva 69">
              <a:extLst>
                <a:ext uri="{FF2B5EF4-FFF2-40B4-BE49-F238E27FC236}">
                  <a16:creationId xmlns:a16="http://schemas.microsoft.com/office/drawing/2014/main" id="{BAAD26C7-1339-2C09-9E78-6E11E6ED07AC}"/>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1" name="Suora yhdysviiva 70">
              <a:extLst>
                <a:ext uri="{FF2B5EF4-FFF2-40B4-BE49-F238E27FC236}">
                  <a16:creationId xmlns:a16="http://schemas.microsoft.com/office/drawing/2014/main" id="{23C9572A-760B-6041-710F-7B9DAA8B2B14}"/>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2" name="Suora yhdysviiva 71">
              <a:extLst>
                <a:ext uri="{FF2B5EF4-FFF2-40B4-BE49-F238E27FC236}">
                  <a16:creationId xmlns:a16="http://schemas.microsoft.com/office/drawing/2014/main" id="{4E245499-8472-6804-28D2-CBDDF5BBA856}"/>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3" name="Suora yhdysviiva 72">
              <a:extLst>
                <a:ext uri="{FF2B5EF4-FFF2-40B4-BE49-F238E27FC236}">
                  <a16:creationId xmlns:a16="http://schemas.microsoft.com/office/drawing/2014/main" id="{FE9CC398-A0F1-E7AB-16DD-41C74553CDF9}"/>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4" name="Suora yhdysviiva 73">
              <a:extLst>
                <a:ext uri="{FF2B5EF4-FFF2-40B4-BE49-F238E27FC236}">
                  <a16:creationId xmlns:a16="http://schemas.microsoft.com/office/drawing/2014/main" id="{A21EF77D-8AFE-F58E-9837-DFBC310A7B31}"/>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5" name="Suora yhdysviiva 74">
              <a:extLst>
                <a:ext uri="{FF2B5EF4-FFF2-40B4-BE49-F238E27FC236}">
                  <a16:creationId xmlns:a16="http://schemas.microsoft.com/office/drawing/2014/main" id="{3B405B5A-1B47-9A1A-138B-2AFF1D3FF16C}"/>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6" name="Suora yhdysviiva 75">
              <a:extLst>
                <a:ext uri="{FF2B5EF4-FFF2-40B4-BE49-F238E27FC236}">
                  <a16:creationId xmlns:a16="http://schemas.microsoft.com/office/drawing/2014/main" id="{B22ED2C5-662B-B15D-2180-23C03ABF73FA}"/>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7" name="Suora yhdysviiva 76">
              <a:extLst>
                <a:ext uri="{FF2B5EF4-FFF2-40B4-BE49-F238E27FC236}">
                  <a16:creationId xmlns:a16="http://schemas.microsoft.com/office/drawing/2014/main" id="{DC350AC9-776C-7903-3D92-E6FD242DB4C7}"/>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8" name="Suora yhdysviiva 77">
              <a:extLst>
                <a:ext uri="{FF2B5EF4-FFF2-40B4-BE49-F238E27FC236}">
                  <a16:creationId xmlns:a16="http://schemas.microsoft.com/office/drawing/2014/main" id="{659BE1DF-6B02-E755-BAF9-4F3F50D9459F}"/>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9" name="Suora yhdysviiva 78">
              <a:extLst>
                <a:ext uri="{FF2B5EF4-FFF2-40B4-BE49-F238E27FC236}">
                  <a16:creationId xmlns:a16="http://schemas.microsoft.com/office/drawing/2014/main" id="{29278661-9DF3-BFC2-DE07-CC43E8FA016A}"/>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0" name="Suora yhdysviiva 79">
              <a:extLst>
                <a:ext uri="{FF2B5EF4-FFF2-40B4-BE49-F238E27FC236}">
                  <a16:creationId xmlns:a16="http://schemas.microsoft.com/office/drawing/2014/main" id="{77387514-A312-4AA8-1260-543B5BE68F29}"/>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1" name="Suora yhdysviiva 80">
              <a:extLst>
                <a:ext uri="{FF2B5EF4-FFF2-40B4-BE49-F238E27FC236}">
                  <a16:creationId xmlns:a16="http://schemas.microsoft.com/office/drawing/2014/main" id="{C52F4F70-22F4-E53F-58B3-1B3EC8975E8D}"/>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2" name="Suora yhdysviiva 81">
              <a:extLst>
                <a:ext uri="{FF2B5EF4-FFF2-40B4-BE49-F238E27FC236}">
                  <a16:creationId xmlns:a16="http://schemas.microsoft.com/office/drawing/2014/main" id="{7E9D7FBD-5490-384B-47E1-C2B05B532847}"/>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3" name="Suora yhdysviiva 82">
              <a:extLst>
                <a:ext uri="{FF2B5EF4-FFF2-40B4-BE49-F238E27FC236}">
                  <a16:creationId xmlns:a16="http://schemas.microsoft.com/office/drawing/2014/main" id="{14843A4D-DBB2-3D93-C977-99803D0F71EF}"/>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4" name="Suora yhdysviiva 83">
              <a:extLst>
                <a:ext uri="{FF2B5EF4-FFF2-40B4-BE49-F238E27FC236}">
                  <a16:creationId xmlns:a16="http://schemas.microsoft.com/office/drawing/2014/main" id="{436E093A-46C5-9CD0-BB2C-396ADDB59EF4}"/>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5" name="Suora yhdysviiva 84">
              <a:extLst>
                <a:ext uri="{FF2B5EF4-FFF2-40B4-BE49-F238E27FC236}">
                  <a16:creationId xmlns:a16="http://schemas.microsoft.com/office/drawing/2014/main" id="{914DB7B5-2223-5B98-F0A2-92CBA71938B6}"/>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grpSp>
        <p:nvGrpSpPr>
          <p:cNvPr id="86" name="Ryhmä 85">
            <a:extLst>
              <a:ext uri="{FF2B5EF4-FFF2-40B4-BE49-F238E27FC236}">
                <a16:creationId xmlns:a16="http://schemas.microsoft.com/office/drawing/2014/main" id="{0C136F57-66F1-DAA3-DBB2-1BBF05474C06}"/>
              </a:ext>
            </a:extLst>
          </p:cNvPr>
          <p:cNvGrpSpPr/>
          <p:nvPr/>
        </p:nvGrpSpPr>
        <p:grpSpPr>
          <a:xfrm>
            <a:off x="2443988" y="2905874"/>
            <a:ext cx="8861479" cy="2983345"/>
            <a:chOff x="341745" y="2179782"/>
            <a:chExt cx="8861479" cy="2983345"/>
          </a:xfrm>
        </p:grpSpPr>
        <p:cxnSp>
          <p:nvCxnSpPr>
            <p:cNvPr id="87" name="Suora yhdysviiva 86">
              <a:extLst>
                <a:ext uri="{FF2B5EF4-FFF2-40B4-BE49-F238E27FC236}">
                  <a16:creationId xmlns:a16="http://schemas.microsoft.com/office/drawing/2014/main" id="{3AE5B33D-B1F1-3E63-C0C8-7D0A45C3EF1C}"/>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88" name="Suora yhdysviiva 87">
              <a:extLst>
                <a:ext uri="{FF2B5EF4-FFF2-40B4-BE49-F238E27FC236}">
                  <a16:creationId xmlns:a16="http://schemas.microsoft.com/office/drawing/2014/main" id="{EF0A8E08-8A96-BA20-C306-E17DEBC2C8D9}"/>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9" name="Suora yhdysviiva 88">
              <a:extLst>
                <a:ext uri="{FF2B5EF4-FFF2-40B4-BE49-F238E27FC236}">
                  <a16:creationId xmlns:a16="http://schemas.microsoft.com/office/drawing/2014/main" id="{8C891A4F-F7CE-5D34-9C4F-7D3B9D371CFB}"/>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0" name="Suora yhdysviiva 89">
              <a:extLst>
                <a:ext uri="{FF2B5EF4-FFF2-40B4-BE49-F238E27FC236}">
                  <a16:creationId xmlns:a16="http://schemas.microsoft.com/office/drawing/2014/main" id="{CC97068B-F62E-F311-FF64-35BA72C434FD}"/>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1" name="Suora yhdysviiva 90">
              <a:extLst>
                <a:ext uri="{FF2B5EF4-FFF2-40B4-BE49-F238E27FC236}">
                  <a16:creationId xmlns:a16="http://schemas.microsoft.com/office/drawing/2014/main" id="{C1BA647D-090F-97F5-F778-D8AECE9587D2}"/>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2" name="Suora yhdysviiva 91">
              <a:extLst>
                <a:ext uri="{FF2B5EF4-FFF2-40B4-BE49-F238E27FC236}">
                  <a16:creationId xmlns:a16="http://schemas.microsoft.com/office/drawing/2014/main" id="{0AF3EA07-DCBD-00E4-E377-7AEC53A03E29}"/>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3" name="Suora yhdysviiva 92">
              <a:extLst>
                <a:ext uri="{FF2B5EF4-FFF2-40B4-BE49-F238E27FC236}">
                  <a16:creationId xmlns:a16="http://schemas.microsoft.com/office/drawing/2014/main" id="{AC7D419D-58C0-C478-05CE-80862EAE843E}"/>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4" name="Suora yhdysviiva 93">
              <a:extLst>
                <a:ext uri="{FF2B5EF4-FFF2-40B4-BE49-F238E27FC236}">
                  <a16:creationId xmlns:a16="http://schemas.microsoft.com/office/drawing/2014/main" id="{6B39408E-C600-1604-2F13-E850DAEA238E}"/>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5" name="Suora yhdysviiva 94">
              <a:extLst>
                <a:ext uri="{FF2B5EF4-FFF2-40B4-BE49-F238E27FC236}">
                  <a16:creationId xmlns:a16="http://schemas.microsoft.com/office/drawing/2014/main" id="{75C95A70-353D-0F79-EA02-17C197AFA576}"/>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6" name="Suora yhdysviiva 95">
              <a:extLst>
                <a:ext uri="{FF2B5EF4-FFF2-40B4-BE49-F238E27FC236}">
                  <a16:creationId xmlns:a16="http://schemas.microsoft.com/office/drawing/2014/main" id="{2D5B6DBC-46EE-F099-0CF0-37AC50E7817C}"/>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7" name="Suora yhdysviiva 96">
              <a:extLst>
                <a:ext uri="{FF2B5EF4-FFF2-40B4-BE49-F238E27FC236}">
                  <a16:creationId xmlns:a16="http://schemas.microsoft.com/office/drawing/2014/main" id="{3BFC263F-A94F-A562-C8B8-4774894D6E6A}"/>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8" name="Suora yhdysviiva 97">
              <a:extLst>
                <a:ext uri="{FF2B5EF4-FFF2-40B4-BE49-F238E27FC236}">
                  <a16:creationId xmlns:a16="http://schemas.microsoft.com/office/drawing/2014/main" id="{DDB6B08E-84BD-F5F4-0565-3E083653F291}"/>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9" name="Suora yhdysviiva 98">
              <a:extLst>
                <a:ext uri="{FF2B5EF4-FFF2-40B4-BE49-F238E27FC236}">
                  <a16:creationId xmlns:a16="http://schemas.microsoft.com/office/drawing/2014/main" id="{783BCD87-4462-B63A-D1A1-9CC3EB4E9D24}"/>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0" name="Suora yhdysviiva 99">
              <a:extLst>
                <a:ext uri="{FF2B5EF4-FFF2-40B4-BE49-F238E27FC236}">
                  <a16:creationId xmlns:a16="http://schemas.microsoft.com/office/drawing/2014/main" id="{97BAED8C-B8CE-74FC-ED49-AB762231DE57}"/>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1" name="Suora yhdysviiva 100">
              <a:extLst>
                <a:ext uri="{FF2B5EF4-FFF2-40B4-BE49-F238E27FC236}">
                  <a16:creationId xmlns:a16="http://schemas.microsoft.com/office/drawing/2014/main" id="{14BB30A5-438B-9B43-CE6D-592AEF10A794}"/>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2" name="Suora yhdysviiva 101">
              <a:extLst>
                <a:ext uri="{FF2B5EF4-FFF2-40B4-BE49-F238E27FC236}">
                  <a16:creationId xmlns:a16="http://schemas.microsoft.com/office/drawing/2014/main" id="{B8F273DE-4143-E4B8-BF55-0C44143BA09C}"/>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3" name="Suora yhdysviiva 102">
              <a:extLst>
                <a:ext uri="{FF2B5EF4-FFF2-40B4-BE49-F238E27FC236}">
                  <a16:creationId xmlns:a16="http://schemas.microsoft.com/office/drawing/2014/main" id="{3ED88035-4888-5E0E-3157-0C67157B4E66}"/>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4" name="Suora yhdysviiva 103">
              <a:extLst>
                <a:ext uri="{FF2B5EF4-FFF2-40B4-BE49-F238E27FC236}">
                  <a16:creationId xmlns:a16="http://schemas.microsoft.com/office/drawing/2014/main" id="{7725707B-AADD-0589-8E42-706AEA6581C8}"/>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5" name="Suora yhdysviiva 104">
              <a:extLst>
                <a:ext uri="{FF2B5EF4-FFF2-40B4-BE49-F238E27FC236}">
                  <a16:creationId xmlns:a16="http://schemas.microsoft.com/office/drawing/2014/main" id="{6507C120-10A1-17F0-E5AA-5049D9BFC9D6}"/>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6" name="Suora yhdysviiva 105">
              <a:extLst>
                <a:ext uri="{FF2B5EF4-FFF2-40B4-BE49-F238E27FC236}">
                  <a16:creationId xmlns:a16="http://schemas.microsoft.com/office/drawing/2014/main" id="{7108B23A-8377-C93E-2EAD-A32F2EE497C2}"/>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7" name="Suora yhdysviiva 106">
              <a:extLst>
                <a:ext uri="{FF2B5EF4-FFF2-40B4-BE49-F238E27FC236}">
                  <a16:creationId xmlns:a16="http://schemas.microsoft.com/office/drawing/2014/main" id="{1E6A44B0-7387-10F3-0040-A84B2A952034}"/>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8" name="Suora yhdysviiva 107">
              <a:extLst>
                <a:ext uri="{FF2B5EF4-FFF2-40B4-BE49-F238E27FC236}">
                  <a16:creationId xmlns:a16="http://schemas.microsoft.com/office/drawing/2014/main" id="{EE0C5F81-250D-094A-6D67-B1A09F5F7D18}"/>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9" name="Suora yhdysviiva 108">
              <a:extLst>
                <a:ext uri="{FF2B5EF4-FFF2-40B4-BE49-F238E27FC236}">
                  <a16:creationId xmlns:a16="http://schemas.microsoft.com/office/drawing/2014/main" id="{11AAC123-79B8-7C51-BC55-AB8E7C58941F}"/>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0" name="Suora yhdysviiva 109">
              <a:extLst>
                <a:ext uri="{FF2B5EF4-FFF2-40B4-BE49-F238E27FC236}">
                  <a16:creationId xmlns:a16="http://schemas.microsoft.com/office/drawing/2014/main" id="{69099446-D638-84A7-D824-870EDA62533E}"/>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1" name="Suora yhdysviiva 110">
              <a:extLst>
                <a:ext uri="{FF2B5EF4-FFF2-40B4-BE49-F238E27FC236}">
                  <a16:creationId xmlns:a16="http://schemas.microsoft.com/office/drawing/2014/main" id="{6467152D-2FF5-DAC7-9965-A490137D6A7F}"/>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2" name="Suora yhdysviiva 111">
              <a:extLst>
                <a:ext uri="{FF2B5EF4-FFF2-40B4-BE49-F238E27FC236}">
                  <a16:creationId xmlns:a16="http://schemas.microsoft.com/office/drawing/2014/main" id="{B9AEB2F7-6483-557F-CD9B-405C19402F14}"/>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3" name="Suora yhdysviiva 112">
              <a:extLst>
                <a:ext uri="{FF2B5EF4-FFF2-40B4-BE49-F238E27FC236}">
                  <a16:creationId xmlns:a16="http://schemas.microsoft.com/office/drawing/2014/main" id="{7D0FE424-2AB2-6BDC-F727-5D06FABF09F2}"/>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4" name="Suora yhdysviiva 113">
              <a:extLst>
                <a:ext uri="{FF2B5EF4-FFF2-40B4-BE49-F238E27FC236}">
                  <a16:creationId xmlns:a16="http://schemas.microsoft.com/office/drawing/2014/main" id="{C62C98FA-2059-6186-87EA-C6BA2CEE447F}"/>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5" name="Suora yhdysviiva 114">
              <a:extLst>
                <a:ext uri="{FF2B5EF4-FFF2-40B4-BE49-F238E27FC236}">
                  <a16:creationId xmlns:a16="http://schemas.microsoft.com/office/drawing/2014/main" id="{C2F0FDE8-0D5A-7EAC-536E-EB4118CBF89D}"/>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6" name="Suora yhdysviiva 115">
              <a:extLst>
                <a:ext uri="{FF2B5EF4-FFF2-40B4-BE49-F238E27FC236}">
                  <a16:creationId xmlns:a16="http://schemas.microsoft.com/office/drawing/2014/main" id="{33A4E3C3-3E16-588D-D3A9-31CBC03139E6}"/>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7" name="Suora yhdysviiva 116">
              <a:extLst>
                <a:ext uri="{FF2B5EF4-FFF2-40B4-BE49-F238E27FC236}">
                  <a16:creationId xmlns:a16="http://schemas.microsoft.com/office/drawing/2014/main" id="{6C93CFC4-DA81-E63A-0A2F-C1CB9D836AD8}"/>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8" name="Suora yhdysviiva 117">
              <a:extLst>
                <a:ext uri="{FF2B5EF4-FFF2-40B4-BE49-F238E27FC236}">
                  <a16:creationId xmlns:a16="http://schemas.microsoft.com/office/drawing/2014/main" id="{EC613E5E-E0AE-8822-3E39-93D54F37F9B0}"/>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9" name="Suora yhdysviiva 118">
              <a:extLst>
                <a:ext uri="{FF2B5EF4-FFF2-40B4-BE49-F238E27FC236}">
                  <a16:creationId xmlns:a16="http://schemas.microsoft.com/office/drawing/2014/main" id="{0BEC28A0-B6CB-6E5E-EB4A-762052950CF3}"/>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0" name="Suora yhdysviiva 119">
              <a:extLst>
                <a:ext uri="{FF2B5EF4-FFF2-40B4-BE49-F238E27FC236}">
                  <a16:creationId xmlns:a16="http://schemas.microsoft.com/office/drawing/2014/main" id="{A78BDA94-ABEE-E4C9-32D3-D82072D7C627}"/>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1" name="Suora yhdysviiva 120">
              <a:extLst>
                <a:ext uri="{FF2B5EF4-FFF2-40B4-BE49-F238E27FC236}">
                  <a16:creationId xmlns:a16="http://schemas.microsoft.com/office/drawing/2014/main" id="{5AF77C05-69AE-FE1C-6A2E-B5DB84CBEF69}"/>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2" name="Suora yhdysviiva 121">
              <a:extLst>
                <a:ext uri="{FF2B5EF4-FFF2-40B4-BE49-F238E27FC236}">
                  <a16:creationId xmlns:a16="http://schemas.microsoft.com/office/drawing/2014/main" id="{DB51E883-6058-A0D4-541E-9443201B316F}"/>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3" name="Suora yhdysviiva 122">
              <a:extLst>
                <a:ext uri="{FF2B5EF4-FFF2-40B4-BE49-F238E27FC236}">
                  <a16:creationId xmlns:a16="http://schemas.microsoft.com/office/drawing/2014/main" id="{CC033240-F2CD-6585-E069-FEAA7A83B4BE}"/>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4" name="Suora yhdysviiva 123">
              <a:extLst>
                <a:ext uri="{FF2B5EF4-FFF2-40B4-BE49-F238E27FC236}">
                  <a16:creationId xmlns:a16="http://schemas.microsoft.com/office/drawing/2014/main" id="{CF4E2F45-3C60-E10D-8901-5854D487B981}"/>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5" name="Suora yhdysviiva 124">
              <a:extLst>
                <a:ext uri="{FF2B5EF4-FFF2-40B4-BE49-F238E27FC236}">
                  <a16:creationId xmlns:a16="http://schemas.microsoft.com/office/drawing/2014/main" id="{45155D0D-403A-F2B6-4920-B2B3D185B920}"/>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6" name="Suora yhdysviiva 125">
              <a:extLst>
                <a:ext uri="{FF2B5EF4-FFF2-40B4-BE49-F238E27FC236}">
                  <a16:creationId xmlns:a16="http://schemas.microsoft.com/office/drawing/2014/main" id="{0E2C8FE7-3418-2C9F-C10F-5194CB65232F}"/>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7" name="Suora yhdysviiva 126">
              <a:extLst>
                <a:ext uri="{FF2B5EF4-FFF2-40B4-BE49-F238E27FC236}">
                  <a16:creationId xmlns:a16="http://schemas.microsoft.com/office/drawing/2014/main" id="{074B8169-C26E-DF55-69E7-9244FD063E15}"/>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8" name="Suora yhdysviiva 127">
              <a:extLst>
                <a:ext uri="{FF2B5EF4-FFF2-40B4-BE49-F238E27FC236}">
                  <a16:creationId xmlns:a16="http://schemas.microsoft.com/office/drawing/2014/main" id="{E86D9E5C-EDC1-5BC4-3DAF-E81BEBD420BE}"/>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9" name="Suora yhdysviiva 128">
              <a:extLst>
                <a:ext uri="{FF2B5EF4-FFF2-40B4-BE49-F238E27FC236}">
                  <a16:creationId xmlns:a16="http://schemas.microsoft.com/office/drawing/2014/main" id="{A90C0F35-119A-8C65-50B8-394130C1DCEB}"/>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0" name="Suora yhdysviiva 129">
              <a:extLst>
                <a:ext uri="{FF2B5EF4-FFF2-40B4-BE49-F238E27FC236}">
                  <a16:creationId xmlns:a16="http://schemas.microsoft.com/office/drawing/2014/main" id="{EF1B123C-F3A0-06D7-6AB2-01786EC1D0E6}"/>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1" name="Suora yhdysviiva 130">
              <a:extLst>
                <a:ext uri="{FF2B5EF4-FFF2-40B4-BE49-F238E27FC236}">
                  <a16:creationId xmlns:a16="http://schemas.microsoft.com/office/drawing/2014/main" id="{6B18C455-E13F-0199-C239-1ED0BEB1B9B3}"/>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2" name="Suora yhdysviiva 131">
              <a:extLst>
                <a:ext uri="{FF2B5EF4-FFF2-40B4-BE49-F238E27FC236}">
                  <a16:creationId xmlns:a16="http://schemas.microsoft.com/office/drawing/2014/main" id="{C1C3CD70-83F0-9433-4FA7-686F60095588}"/>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3" name="Suora yhdysviiva 132">
              <a:extLst>
                <a:ext uri="{FF2B5EF4-FFF2-40B4-BE49-F238E27FC236}">
                  <a16:creationId xmlns:a16="http://schemas.microsoft.com/office/drawing/2014/main" id="{2B735DC5-868A-B961-D5E5-B9FCAB92D32A}"/>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4" name="Suora yhdysviiva 133">
              <a:extLst>
                <a:ext uri="{FF2B5EF4-FFF2-40B4-BE49-F238E27FC236}">
                  <a16:creationId xmlns:a16="http://schemas.microsoft.com/office/drawing/2014/main" id="{136D8D56-8AB3-E9E0-64CD-A1EB9F542424}"/>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5" name="Suora yhdysviiva 134">
              <a:extLst>
                <a:ext uri="{FF2B5EF4-FFF2-40B4-BE49-F238E27FC236}">
                  <a16:creationId xmlns:a16="http://schemas.microsoft.com/office/drawing/2014/main" id="{9A3ABB35-71B3-39A7-24FD-EDA4F1A20E0B}"/>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6" name="Suora yhdysviiva 135">
              <a:extLst>
                <a:ext uri="{FF2B5EF4-FFF2-40B4-BE49-F238E27FC236}">
                  <a16:creationId xmlns:a16="http://schemas.microsoft.com/office/drawing/2014/main" id="{F4565269-5889-0062-755F-32013F8B6120}"/>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7" name="Suora yhdysviiva 136">
              <a:extLst>
                <a:ext uri="{FF2B5EF4-FFF2-40B4-BE49-F238E27FC236}">
                  <a16:creationId xmlns:a16="http://schemas.microsoft.com/office/drawing/2014/main" id="{A1590D71-1F7E-1775-D398-9F8D77514C39}"/>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8" name="Suora yhdysviiva 137">
              <a:extLst>
                <a:ext uri="{FF2B5EF4-FFF2-40B4-BE49-F238E27FC236}">
                  <a16:creationId xmlns:a16="http://schemas.microsoft.com/office/drawing/2014/main" id="{86C4485B-CC49-63D6-DF1C-436DA21DBF65}"/>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9" name="Suora yhdysviiva 138">
              <a:extLst>
                <a:ext uri="{FF2B5EF4-FFF2-40B4-BE49-F238E27FC236}">
                  <a16:creationId xmlns:a16="http://schemas.microsoft.com/office/drawing/2014/main" id="{5D159290-F5F9-78A2-2DD6-BFBBC95700EF}"/>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0" name="Suora yhdysviiva 139">
              <a:extLst>
                <a:ext uri="{FF2B5EF4-FFF2-40B4-BE49-F238E27FC236}">
                  <a16:creationId xmlns:a16="http://schemas.microsoft.com/office/drawing/2014/main" id="{2A49C326-2032-32C5-5398-8E1EF955A3C8}"/>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1" name="Suora yhdysviiva 140">
              <a:extLst>
                <a:ext uri="{FF2B5EF4-FFF2-40B4-BE49-F238E27FC236}">
                  <a16:creationId xmlns:a16="http://schemas.microsoft.com/office/drawing/2014/main" id="{A58065AF-0678-DD4C-9DB6-DD76C4B6CA13}"/>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2" name="Suora yhdysviiva 141">
              <a:extLst>
                <a:ext uri="{FF2B5EF4-FFF2-40B4-BE49-F238E27FC236}">
                  <a16:creationId xmlns:a16="http://schemas.microsoft.com/office/drawing/2014/main" id="{3CF9A8BC-C23D-3A6D-AA9F-1992D8F8B66A}"/>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3" name="Suora yhdysviiva 142">
              <a:extLst>
                <a:ext uri="{FF2B5EF4-FFF2-40B4-BE49-F238E27FC236}">
                  <a16:creationId xmlns:a16="http://schemas.microsoft.com/office/drawing/2014/main" id="{CA9AA683-8425-D950-ED26-6BBB3FEDC623}"/>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4" name="Suora yhdysviiva 143">
              <a:extLst>
                <a:ext uri="{FF2B5EF4-FFF2-40B4-BE49-F238E27FC236}">
                  <a16:creationId xmlns:a16="http://schemas.microsoft.com/office/drawing/2014/main" id="{C5E62114-CA81-5772-ADDE-8197330BE79E}"/>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5" name="Suora yhdysviiva 144">
              <a:extLst>
                <a:ext uri="{FF2B5EF4-FFF2-40B4-BE49-F238E27FC236}">
                  <a16:creationId xmlns:a16="http://schemas.microsoft.com/office/drawing/2014/main" id="{A78FA043-8B52-3C44-6216-79AB5FCE8CB8}"/>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6" name="Suora yhdysviiva 145">
              <a:extLst>
                <a:ext uri="{FF2B5EF4-FFF2-40B4-BE49-F238E27FC236}">
                  <a16:creationId xmlns:a16="http://schemas.microsoft.com/office/drawing/2014/main" id="{92E6329A-9E04-8D1F-67E1-258F70F1608A}"/>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7" name="Suora yhdysviiva 146">
              <a:extLst>
                <a:ext uri="{FF2B5EF4-FFF2-40B4-BE49-F238E27FC236}">
                  <a16:creationId xmlns:a16="http://schemas.microsoft.com/office/drawing/2014/main" id="{620AF9D5-D902-9859-B7F7-28FB0D40C88B}"/>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8" name="Suora yhdysviiva 147">
              <a:extLst>
                <a:ext uri="{FF2B5EF4-FFF2-40B4-BE49-F238E27FC236}">
                  <a16:creationId xmlns:a16="http://schemas.microsoft.com/office/drawing/2014/main" id="{FFF35F8F-3203-6204-825A-DC4BDEAC01CC}"/>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9" name="Suora yhdysviiva 148">
              <a:extLst>
                <a:ext uri="{FF2B5EF4-FFF2-40B4-BE49-F238E27FC236}">
                  <a16:creationId xmlns:a16="http://schemas.microsoft.com/office/drawing/2014/main" id="{F04E2AAC-D5D5-561C-CF06-D9DD60ECED75}"/>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0" name="Suora yhdysviiva 149">
              <a:extLst>
                <a:ext uri="{FF2B5EF4-FFF2-40B4-BE49-F238E27FC236}">
                  <a16:creationId xmlns:a16="http://schemas.microsoft.com/office/drawing/2014/main" id="{E16775E7-80B0-82D9-F844-254D5B6B1464}"/>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1" name="Suora yhdysviiva 150">
              <a:extLst>
                <a:ext uri="{FF2B5EF4-FFF2-40B4-BE49-F238E27FC236}">
                  <a16:creationId xmlns:a16="http://schemas.microsoft.com/office/drawing/2014/main" id="{FABC6BB3-D9C9-8740-B7ED-D885D7179D87}"/>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2" name="Suora yhdysviiva 151">
              <a:extLst>
                <a:ext uri="{FF2B5EF4-FFF2-40B4-BE49-F238E27FC236}">
                  <a16:creationId xmlns:a16="http://schemas.microsoft.com/office/drawing/2014/main" id="{C8019AAE-CF88-90A3-10A2-42A7EC2DBF7E}"/>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3" name="Suora yhdysviiva 152">
              <a:extLst>
                <a:ext uri="{FF2B5EF4-FFF2-40B4-BE49-F238E27FC236}">
                  <a16:creationId xmlns:a16="http://schemas.microsoft.com/office/drawing/2014/main" id="{A039161C-DBEE-C2FF-6544-8C20F6A679C6}"/>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4" name="Suora yhdysviiva 153">
              <a:extLst>
                <a:ext uri="{FF2B5EF4-FFF2-40B4-BE49-F238E27FC236}">
                  <a16:creationId xmlns:a16="http://schemas.microsoft.com/office/drawing/2014/main" id="{10865535-A829-95E3-B979-2476E866FA38}"/>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5" name="Suora yhdysviiva 154">
              <a:extLst>
                <a:ext uri="{FF2B5EF4-FFF2-40B4-BE49-F238E27FC236}">
                  <a16:creationId xmlns:a16="http://schemas.microsoft.com/office/drawing/2014/main" id="{7682283E-976D-4501-4C2F-47C62AC8D896}"/>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6" name="Suora yhdysviiva 155">
              <a:extLst>
                <a:ext uri="{FF2B5EF4-FFF2-40B4-BE49-F238E27FC236}">
                  <a16:creationId xmlns:a16="http://schemas.microsoft.com/office/drawing/2014/main" id="{1539B56C-E719-B4B4-9B8F-0B5912911B91}"/>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7" name="Suora yhdysviiva 156">
              <a:extLst>
                <a:ext uri="{FF2B5EF4-FFF2-40B4-BE49-F238E27FC236}">
                  <a16:creationId xmlns:a16="http://schemas.microsoft.com/office/drawing/2014/main" id="{2E32EDC8-570C-8FBB-B26E-19BA084961BC}"/>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8" name="Suora yhdysviiva 157">
              <a:extLst>
                <a:ext uri="{FF2B5EF4-FFF2-40B4-BE49-F238E27FC236}">
                  <a16:creationId xmlns:a16="http://schemas.microsoft.com/office/drawing/2014/main" id="{128EAD93-9649-76A3-A33C-D67C19509123}"/>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9" name="Suora yhdysviiva 158">
              <a:extLst>
                <a:ext uri="{FF2B5EF4-FFF2-40B4-BE49-F238E27FC236}">
                  <a16:creationId xmlns:a16="http://schemas.microsoft.com/office/drawing/2014/main" id="{C6856B04-0C48-92CB-5334-E4DCC33C2CCC}"/>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0" name="Suora yhdysviiva 159">
              <a:extLst>
                <a:ext uri="{FF2B5EF4-FFF2-40B4-BE49-F238E27FC236}">
                  <a16:creationId xmlns:a16="http://schemas.microsoft.com/office/drawing/2014/main" id="{BE35347B-6113-24C5-402A-57FD8D672CE5}"/>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1" name="Suora yhdysviiva 160">
              <a:extLst>
                <a:ext uri="{FF2B5EF4-FFF2-40B4-BE49-F238E27FC236}">
                  <a16:creationId xmlns:a16="http://schemas.microsoft.com/office/drawing/2014/main" id="{F2F53A1C-817C-95E9-56CC-BB58F4404C85}"/>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2" name="Suora yhdysviiva 161">
              <a:extLst>
                <a:ext uri="{FF2B5EF4-FFF2-40B4-BE49-F238E27FC236}">
                  <a16:creationId xmlns:a16="http://schemas.microsoft.com/office/drawing/2014/main" id="{2744FFE3-1118-4447-3090-D0C80D04DBF5}"/>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sp>
        <p:nvSpPr>
          <p:cNvPr id="163" name="Tekstiruutu 162">
            <a:extLst>
              <a:ext uri="{FF2B5EF4-FFF2-40B4-BE49-F238E27FC236}">
                <a16:creationId xmlns:a16="http://schemas.microsoft.com/office/drawing/2014/main" id="{8105E00B-E60D-6FE8-2BA5-1C1BCDDF9509}"/>
              </a:ext>
            </a:extLst>
          </p:cNvPr>
          <p:cNvSpPr txBox="1"/>
          <p:nvPr/>
        </p:nvSpPr>
        <p:spPr>
          <a:xfrm rot="20439951">
            <a:off x="8318497" y="3559677"/>
            <a:ext cx="3289683" cy="369332"/>
          </a:xfrm>
          <a:prstGeom prst="rect">
            <a:avLst/>
          </a:prstGeom>
          <a:noFill/>
        </p:spPr>
        <p:txBody>
          <a:bodyPr wrap="none" rtlCol="0">
            <a:spAutoFit/>
          </a:bodyPr>
          <a:lstStyle/>
          <a:p>
            <a:r>
              <a:rPr lang="fi-FI" dirty="0"/>
              <a:t>Maanalainen asemakaava</a:t>
            </a:r>
          </a:p>
        </p:txBody>
      </p:sp>
      <p:sp>
        <p:nvSpPr>
          <p:cNvPr id="164" name="Tekstiruutu 163">
            <a:extLst>
              <a:ext uri="{FF2B5EF4-FFF2-40B4-BE49-F238E27FC236}">
                <a16:creationId xmlns:a16="http://schemas.microsoft.com/office/drawing/2014/main" id="{081BE0E0-1C1F-EE72-0752-3E30876C7026}"/>
              </a:ext>
            </a:extLst>
          </p:cNvPr>
          <p:cNvSpPr txBox="1"/>
          <p:nvPr/>
        </p:nvSpPr>
        <p:spPr>
          <a:xfrm rot="20439951">
            <a:off x="-25539" y="2095669"/>
            <a:ext cx="3501280" cy="369332"/>
          </a:xfrm>
          <a:prstGeom prst="rect">
            <a:avLst/>
          </a:prstGeom>
          <a:noFill/>
        </p:spPr>
        <p:txBody>
          <a:bodyPr wrap="none" rtlCol="0">
            <a:spAutoFit/>
          </a:bodyPr>
          <a:lstStyle/>
          <a:p>
            <a:r>
              <a:rPr lang="fi-FI" dirty="0"/>
              <a:t>Maanpäällinen asemakaava</a:t>
            </a:r>
          </a:p>
        </p:txBody>
      </p:sp>
      <p:sp>
        <p:nvSpPr>
          <p:cNvPr id="166" name="Vapaamuotoinen: Muoto 165">
            <a:extLst>
              <a:ext uri="{FF2B5EF4-FFF2-40B4-BE49-F238E27FC236}">
                <a16:creationId xmlns:a16="http://schemas.microsoft.com/office/drawing/2014/main" id="{BC85B9B1-3150-60B9-A8C7-A06CE7367876}"/>
              </a:ext>
            </a:extLst>
          </p:cNvPr>
          <p:cNvSpPr/>
          <p:nvPr/>
        </p:nvSpPr>
        <p:spPr>
          <a:xfrm>
            <a:off x="5213907" y="2974477"/>
            <a:ext cx="785444" cy="1493868"/>
          </a:xfrm>
          <a:custGeom>
            <a:avLst/>
            <a:gdLst>
              <a:gd name="csX0" fmla="*/ 0 w 728662"/>
              <a:gd name="csY0" fmla="*/ 0 h 1695450"/>
              <a:gd name="csX1" fmla="*/ 0 w 728662"/>
              <a:gd name="csY1" fmla="*/ 1533525 h 1695450"/>
              <a:gd name="csX2" fmla="*/ 247650 w 728662"/>
              <a:gd name="csY2" fmla="*/ 1695450 h 1695450"/>
              <a:gd name="csX3" fmla="*/ 728662 w 728662"/>
              <a:gd name="csY3" fmla="*/ 1509712 h 1695450"/>
              <a:gd name="csX4" fmla="*/ 728662 w 728662"/>
              <a:gd name="csY4" fmla="*/ 266700 h 1695450"/>
              <a:gd name="csX0" fmla="*/ 0 w 728662"/>
              <a:gd name="csY0" fmla="*/ 0 h 1695450"/>
              <a:gd name="csX1" fmla="*/ 0 w 728662"/>
              <a:gd name="csY1" fmla="*/ 1586865 h 1695450"/>
              <a:gd name="csX2" fmla="*/ 247650 w 728662"/>
              <a:gd name="csY2" fmla="*/ 1695450 h 1695450"/>
              <a:gd name="csX3" fmla="*/ 728662 w 728662"/>
              <a:gd name="csY3" fmla="*/ 1509712 h 1695450"/>
              <a:gd name="csX4" fmla="*/ 728662 w 728662"/>
              <a:gd name="csY4" fmla="*/ 266700 h 1695450"/>
              <a:gd name="csX0" fmla="*/ 0 w 728662"/>
              <a:gd name="csY0" fmla="*/ 0 h 1679820"/>
              <a:gd name="csX1" fmla="*/ 0 w 728662"/>
              <a:gd name="csY1" fmla="*/ 1586865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5481 w 728662"/>
              <a:gd name="csY4" fmla="*/ 125961 h 1679820"/>
              <a:gd name="csX0" fmla="*/ 0 w 728662"/>
              <a:gd name="csY0" fmla="*/ 0 h 1679820"/>
              <a:gd name="csX1" fmla="*/ 3181 w 728662"/>
              <a:gd name="csY1" fmla="*/ 1534436 h 1679820"/>
              <a:gd name="csX2" fmla="*/ 301725 w 728662"/>
              <a:gd name="csY2" fmla="*/ 1679820 h 1679820"/>
              <a:gd name="csX3" fmla="*/ 728662 w 728662"/>
              <a:gd name="csY3" fmla="*/ 1509712 h 1679820"/>
              <a:gd name="csX4" fmla="*/ 725481 w 728662"/>
              <a:gd name="csY4" fmla="*/ 125961 h 1679820"/>
            </a:gdLst>
            <a:ahLst/>
            <a:cxnLst>
              <a:cxn ang="0">
                <a:pos x="csX0" y="csY0"/>
              </a:cxn>
              <a:cxn ang="0">
                <a:pos x="csX1" y="csY1"/>
              </a:cxn>
              <a:cxn ang="0">
                <a:pos x="csX2" y="csY2"/>
              </a:cxn>
              <a:cxn ang="0">
                <a:pos x="csX3" y="csY3"/>
              </a:cxn>
              <a:cxn ang="0">
                <a:pos x="csX4" y="csY4"/>
              </a:cxn>
            </a:cxnLst>
            <a:rect l="l" t="t" r="r" b="b"/>
            <a:pathLst>
              <a:path w="728662" h="1679820">
                <a:moveTo>
                  <a:pt x="0" y="0"/>
                </a:moveTo>
                <a:cubicBezTo>
                  <a:pt x="2121" y="517493"/>
                  <a:pt x="1060" y="1016943"/>
                  <a:pt x="3181" y="1534436"/>
                </a:cubicBezTo>
                <a:lnTo>
                  <a:pt x="301725" y="1679820"/>
                </a:lnTo>
                <a:lnTo>
                  <a:pt x="728662" y="1509712"/>
                </a:lnTo>
                <a:cubicBezTo>
                  <a:pt x="727602" y="1048462"/>
                  <a:pt x="726541" y="587211"/>
                  <a:pt x="725481" y="125961"/>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cxnSp>
        <p:nvCxnSpPr>
          <p:cNvPr id="167" name="Suora yhdysviiva 166">
            <a:extLst>
              <a:ext uri="{FF2B5EF4-FFF2-40B4-BE49-F238E27FC236}">
                <a16:creationId xmlns:a16="http://schemas.microsoft.com/office/drawing/2014/main" id="{FE7182E2-A395-EAB9-39C3-64D1C5031357}"/>
              </a:ext>
            </a:extLst>
          </p:cNvPr>
          <p:cNvCxnSpPr>
            <a:cxnSpLocks/>
          </p:cNvCxnSpPr>
          <p:nvPr/>
        </p:nvCxnSpPr>
        <p:spPr>
          <a:xfrm flipV="1">
            <a:off x="5525057" y="3136900"/>
            <a:ext cx="0" cy="1333741"/>
          </a:xfrm>
          <a:prstGeom prst="line">
            <a:avLst/>
          </a:prstGeom>
          <a:ln w="12700"/>
        </p:spPr>
        <p:style>
          <a:lnRef idx="2">
            <a:schemeClr val="dk1"/>
          </a:lnRef>
          <a:fillRef idx="0">
            <a:schemeClr val="dk1"/>
          </a:fillRef>
          <a:effectRef idx="1">
            <a:schemeClr val="dk1"/>
          </a:effectRef>
          <a:fontRef idx="minor">
            <a:schemeClr val="tx1"/>
          </a:fontRef>
        </p:style>
      </p:cxnSp>
      <p:sp>
        <p:nvSpPr>
          <p:cNvPr id="8" name="Vapaamuotoinen: Muoto 7">
            <a:extLst>
              <a:ext uri="{FF2B5EF4-FFF2-40B4-BE49-F238E27FC236}">
                <a16:creationId xmlns:a16="http://schemas.microsoft.com/office/drawing/2014/main" id="{C1E8F340-986C-1D71-3927-B62962B4E134}"/>
              </a:ext>
            </a:extLst>
          </p:cNvPr>
          <p:cNvSpPr/>
          <p:nvPr/>
        </p:nvSpPr>
        <p:spPr>
          <a:xfrm>
            <a:off x="4581332" y="2067507"/>
            <a:ext cx="2304190" cy="796992"/>
          </a:xfrm>
          <a:custGeom>
            <a:avLst/>
            <a:gdLst>
              <a:gd name="csX0" fmla="*/ 0 w 2743200"/>
              <a:gd name="csY0" fmla="*/ 484095 h 941295"/>
              <a:gd name="csX1" fmla="*/ 1658471 w 2743200"/>
              <a:gd name="csY1" fmla="*/ 0 h 941295"/>
              <a:gd name="csX2" fmla="*/ 2743200 w 2743200"/>
              <a:gd name="csY2" fmla="*/ 367553 h 941295"/>
              <a:gd name="csX3" fmla="*/ 1021977 w 2743200"/>
              <a:gd name="csY3" fmla="*/ 941295 h 941295"/>
              <a:gd name="csX4" fmla="*/ 0 w 2743200"/>
              <a:gd name="csY4" fmla="*/ 484095 h 941295"/>
              <a:gd name="csX0" fmla="*/ 0 w 3238500"/>
              <a:gd name="csY0" fmla="*/ 263115 h 941295"/>
              <a:gd name="csX1" fmla="*/ 2153771 w 3238500"/>
              <a:gd name="csY1" fmla="*/ 0 h 941295"/>
              <a:gd name="csX2" fmla="*/ 3238500 w 3238500"/>
              <a:gd name="csY2" fmla="*/ 367553 h 941295"/>
              <a:gd name="csX3" fmla="*/ 1517277 w 3238500"/>
              <a:gd name="csY3" fmla="*/ 941295 h 941295"/>
              <a:gd name="csX4" fmla="*/ 0 w 3238500"/>
              <a:gd name="csY4" fmla="*/ 263115 h 941295"/>
              <a:gd name="csX0" fmla="*/ 0 w 3238500"/>
              <a:gd name="csY0" fmla="*/ 445995 h 1124175"/>
              <a:gd name="csX1" fmla="*/ 1650851 w 3238500"/>
              <a:gd name="csY1" fmla="*/ 0 h 1124175"/>
              <a:gd name="csX2" fmla="*/ 3238500 w 3238500"/>
              <a:gd name="csY2" fmla="*/ 550433 h 1124175"/>
              <a:gd name="csX3" fmla="*/ 1517277 w 3238500"/>
              <a:gd name="csY3" fmla="*/ 1124175 h 1124175"/>
              <a:gd name="csX4" fmla="*/ 0 w 3238500"/>
              <a:gd name="csY4" fmla="*/ 445995 h 1124175"/>
              <a:gd name="csX0" fmla="*/ 0 w 3238500"/>
              <a:gd name="csY0" fmla="*/ 556832 h 1124175"/>
              <a:gd name="csX1" fmla="*/ 1650851 w 3238500"/>
              <a:gd name="csY1" fmla="*/ 0 h 1124175"/>
              <a:gd name="csX2" fmla="*/ 3238500 w 3238500"/>
              <a:gd name="csY2" fmla="*/ 550433 h 1124175"/>
              <a:gd name="csX3" fmla="*/ 1517277 w 3238500"/>
              <a:gd name="csY3" fmla="*/ 1124175 h 1124175"/>
              <a:gd name="csX4" fmla="*/ 0 w 3238500"/>
              <a:gd name="csY4" fmla="*/ 556832 h 1124175"/>
              <a:gd name="csX0" fmla="*/ 0 w 3238500"/>
              <a:gd name="csY0" fmla="*/ 556832 h 1124175"/>
              <a:gd name="csX1" fmla="*/ 301980 w 3238500"/>
              <a:gd name="csY1" fmla="*/ 434966 h 1124175"/>
              <a:gd name="csX2" fmla="*/ 1650851 w 3238500"/>
              <a:gd name="csY2" fmla="*/ 0 h 1124175"/>
              <a:gd name="csX3" fmla="*/ 3238500 w 3238500"/>
              <a:gd name="csY3" fmla="*/ 550433 h 1124175"/>
              <a:gd name="csX4" fmla="*/ 1517277 w 3238500"/>
              <a:gd name="csY4" fmla="*/ 1124175 h 1124175"/>
              <a:gd name="csX5" fmla="*/ 0 w 3238500"/>
              <a:gd name="csY5" fmla="*/ 556832 h 1124175"/>
              <a:gd name="csX0" fmla="*/ 1298220 w 4536720"/>
              <a:gd name="csY0" fmla="*/ 556832 h 1124175"/>
              <a:gd name="csX1" fmla="*/ 0 w 4536720"/>
              <a:gd name="csY1" fmla="*/ 47616 h 1124175"/>
              <a:gd name="csX2" fmla="*/ 2949071 w 4536720"/>
              <a:gd name="csY2" fmla="*/ 0 h 1124175"/>
              <a:gd name="csX3" fmla="*/ 4536720 w 4536720"/>
              <a:gd name="csY3" fmla="*/ 550433 h 1124175"/>
              <a:gd name="csX4" fmla="*/ 2815497 w 4536720"/>
              <a:gd name="csY4" fmla="*/ 1124175 h 1124175"/>
              <a:gd name="csX5" fmla="*/ 1298220 w 4536720"/>
              <a:gd name="csY5" fmla="*/ 556832 h 1124175"/>
              <a:gd name="csX0" fmla="*/ 1298220 w 4536720"/>
              <a:gd name="csY0" fmla="*/ 556832 h 1124175"/>
              <a:gd name="csX1" fmla="*/ 0 w 4536720"/>
              <a:gd name="csY1" fmla="*/ 47616 h 1124175"/>
              <a:gd name="csX2" fmla="*/ 1606550 w 4536720"/>
              <a:gd name="csY2" fmla="*/ 28566 h 1124175"/>
              <a:gd name="csX3" fmla="*/ 2949071 w 4536720"/>
              <a:gd name="csY3" fmla="*/ 0 h 1124175"/>
              <a:gd name="csX4" fmla="*/ 4536720 w 4536720"/>
              <a:gd name="csY4" fmla="*/ 550433 h 1124175"/>
              <a:gd name="csX5" fmla="*/ 2815497 w 4536720"/>
              <a:gd name="csY5" fmla="*/ 1124175 h 1124175"/>
              <a:gd name="csX6" fmla="*/ 1298220 w 4536720"/>
              <a:gd name="csY6" fmla="*/ 556832 h 1124175"/>
              <a:gd name="csX0" fmla="*/ 1298220 w 4536720"/>
              <a:gd name="csY0" fmla="*/ 991816 h 1559159"/>
              <a:gd name="csX1" fmla="*/ 0 w 4536720"/>
              <a:gd name="csY1" fmla="*/ 482600 h 1559159"/>
              <a:gd name="csX2" fmla="*/ 1663700 w 4536720"/>
              <a:gd name="csY2" fmla="*/ 0 h 1559159"/>
              <a:gd name="csX3" fmla="*/ 2949071 w 4536720"/>
              <a:gd name="csY3" fmla="*/ 434984 h 1559159"/>
              <a:gd name="csX4" fmla="*/ 4536720 w 4536720"/>
              <a:gd name="csY4" fmla="*/ 985417 h 1559159"/>
              <a:gd name="csX5" fmla="*/ 2815497 w 4536720"/>
              <a:gd name="csY5" fmla="*/ 1559159 h 1559159"/>
              <a:gd name="csX6" fmla="*/ 1298220 w 4536720"/>
              <a:gd name="csY6" fmla="*/ 991816 h 155915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298220 w 4536720"/>
              <a:gd name="csY6" fmla="*/ 1045156 h 161249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845001 w 4536720"/>
              <a:gd name="csY6" fmla="*/ 1256382 h 1612499"/>
              <a:gd name="csX7" fmla="*/ 1298220 w 4536720"/>
              <a:gd name="csY7"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949071 w 4536720"/>
              <a:gd name="csY4" fmla="*/ 488324 h 1612499"/>
              <a:gd name="csX5" fmla="*/ 4536720 w 4536720"/>
              <a:gd name="csY5" fmla="*/ 1038757 h 1612499"/>
              <a:gd name="csX6" fmla="*/ 2815497 w 4536720"/>
              <a:gd name="csY6" fmla="*/ 1612499 h 1612499"/>
              <a:gd name="csX7" fmla="*/ 1845001 w 4536720"/>
              <a:gd name="csY7" fmla="*/ 1256382 h 1612499"/>
              <a:gd name="csX8" fmla="*/ 1298220 w 4536720"/>
              <a:gd name="csY8"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949071 w 4536720"/>
              <a:gd name="csY4" fmla="*/ 488324 h 1612499"/>
              <a:gd name="csX5" fmla="*/ 3590674 w 4536720"/>
              <a:gd name="csY5" fmla="*/ 711436 h 1612499"/>
              <a:gd name="csX6" fmla="*/ 4536720 w 4536720"/>
              <a:gd name="csY6" fmla="*/ 1038757 h 1612499"/>
              <a:gd name="csX7" fmla="*/ 2815497 w 4536720"/>
              <a:gd name="csY7" fmla="*/ 1612499 h 1612499"/>
              <a:gd name="csX8" fmla="*/ 1845001 w 4536720"/>
              <a:gd name="csY8" fmla="*/ 1256382 h 1612499"/>
              <a:gd name="csX9" fmla="*/ 1298220 w 4536720"/>
              <a:gd name="csY9"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657801 w 4536720"/>
              <a:gd name="csY4" fmla="*/ 388163 h 1612499"/>
              <a:gd name="csX5" fmla="*/ 2949071 w 4536720"/>
              <a:gd name="csY5" fmla="*/ 488324 h 1612499"/>
              <a:gd name="csX6" fmla="*/ 3590674 w 4536720"/>
              <a:gd name="csY6" fmla="*/ 711436 h 1612499"/>
              <a:gd name="csX7" fmla="*/ 4536720 w 4536720"/>
              <a:gd name="csY7" fmla="*/ 1038757 h 1612499"/>
              <a:gd name="csX8" fmla="*/ 2815497 w 4536720"/>
              <a:gd name="csY8" fmla="*/ 1612499 h 1612499"/>
              <a:gd name="csX9" fmla="*/ 1845001 w 4536720"/>
              <a:gd name="csY9" fmla="*/ 1256382 h 1612499"/>
              <a:gd name="csX10" fmla="*/ 1298220 w 4536720"/>
              <a:gd name="csY10" fmla="*/ 1045156 h 1612499"/>
              <a:gd name="csX0" fmla="*/ 1298220 w 4536720"/>
              <a:gd name="csY0" fmla="*/ 656993 h 1224336"/>
              <a:gd name="csX1" fmla="*/ 1041437 w 4536720"/>
              <a:gd name="csY1" fmla="*/ 535710 h 1224336"/>
              <a:gd name="csX2" fmla="*/ 0 w 4536720"/>
              <a:gd name="csY2" fmla="*/ 147777 h 1224336"/>
              <a:gd name="csX3" fmla="*/ 2657801 w 4536720"/>
              <a:gd name="csY3" fmla="*/ 0 h 1224336"/>
              <a:gd name="csX4" fmla="*/ 2949071 w 4536720"/>
              <a:gd name="csY4" fmla="*/ 100161 h 1224336"/>
              <a:gd name="csX5" fmla="*/ 3590674 w 4536720"/>
              <a:gd name="csY5" fmla="*/ 323273 h 1224336"/>
              <a:gd name="csX6" fmla="*/ 4536720 w 4536720"/>
              <a:gd name="csY6" fmla="*/ 650594 h 1224336"/>
              <a:gd name="csX7" fmla="*/ 2815497 w 4536720"/>
              <a:gd name="csY7" fmla="*/ 1224336 h 1224336"/>
              <a:gd name="csX8" fmla="*/ 1845001 w 4536720"/>
              <a:gd name="csY8" fmla="*/ 868219 h 1224336"/>
              <a:gd name="csX9" fmla="*/ 1298220 w 4536720"/>
              <a:gd name="csY9" fmla="*/ 656993 h 1224336"/>
              <a:gd name="csX0" fmla="*/ 256783 w 3495283"/>
              <a:gd name="csY0" fmla="*/ 656993 h 1224336"/>
              <a:gd name="csX1" fmla="*/ 0 w 3495283"/>
              <a:gd name="csY1" fmla="*/ 535710 h 1224336"/>
              <a:gd name="csX2" fmla="*/ 1616364 w 3495283"/>
              <a:gd name="csY2" fmla="*/ 0 h 1224336"/>
              <a:gd name="csX3" fmla="*/ 1907634 w 3495283"/>
              <a:gd name="csY3" fmla="*/ 100161 h 1224336"/>
              <a:gd name="csX4" fmla="*/ 2549237 w 3495283"/>
              <a:gd name="csY4" fmla="*/ 323273 h 1224336"/>
              <a:gd name="csX5" fmla="*/ 3495283 w 3495283"/>
              <a:gd name="csY5" fmla="*/ 650594 h 1224336"/>
              <a:gd name="csX6" fmla="*/ 1774060 w 3495283"/>
              <a:gd name="csY6" fmla="*/ 1224336 h 1224336"/>
              <a:gd name="csX7" fmla="*/ 803564 w 3495283"/>
              <a:gd name="csY7" fmla="*/ 868219 h 1224336"/>
              <a:gd name="csX8" fmla="*/ 256783 w 3495283"/>
              <a:gd name="csY8" fmla="*/ 656993 h 1224336"/>
              <a:gd name="csX0" fmla="*/ 256783 w 3495283"/>
              <a:gd name="csY0" fmla="*/ 656993 h 868219"/>
              <a:gd name="csX1" fmla="*/ 0 w 3495283"/>
              <a:gd name="csY1" fmla="*/ 535710 h 868219"/>
              <a:gd name="csX2" fmla="*/ 1616364 w 3495283"/>
              <a:gd name="csY2" fmla="*/ 0 h 868219"/>
              <a:gd name="csX3" fmla="*/ 1907634 w 3495283"/>
              <a:gd name="csY3" fmla="*/ 100161 h 868219"/>
              <a:gd name="csX4" fmla="*/ 2549237 w 3495283"/>
              <a:gd name="csY4" fmla="*/ 323273 h 868219"/>
              <a:gd name="csX5" fmla="*/ 3495283 w 3495283"/>
              <a:gd name="csY5" fmla="*/ 650594 h 868219"/>
              <a:gd name="csX6" fmla="*/ 803564 w 3495283"/>
              <a:gd name="csY6" fmla="*/ 868219 h 868219"/>
              <a:gd name="csX7" fmla="*/ 256783 w 3495283"/>
              <a:gd name="csY7" fmla="*/ 656993 h 868219"/>
              <a:gd name="csX0" fmla="*/ 256783 w 2549237"/>
              <a:gd name="csY0" fmla="*/ 656993 h 868219"/>
              <a:gd name="csX1" fmla="*/ 0 w 2549237"/>
              <a:gd name="csY1" fmla="*/ 535710 h 868219"/>
              <a:gd name="csX2" fmla="*/ 1616364 w 2549237"/>
              <a:gd name="csY2" fmla="*/ 0 h 868219"/>
              <a:gd name="csX3" fmla="*/ 1907634 w 2549237"/>
              <a:gd name="csY3" fmla="*/ 100161 h 868219"/>
              <a:gd name="csX4" fmla="*/ 2549237 w 2549237"/>
              <a:gd name="csY4" fmla="*/ 323273 h 868219"/>
              <a:gd name="csX5" fmla="*/ 803564 w 2549237"/>
              <a:gd name="csY5" fmla="*/ 868219 h 868219"/>
              <a:gd name="csX6" fmla="*/ 256783 w 2549237"/>
              <a:gd name="csY6" fmla="*/ 656993 h 868219"/>
              <a:gd name="csX0" fmla="*/ 256783 w 2549237"/>
              <a:gd name="csY0" fmla="*/ 656993 h 868219"/>
              <a:gd name="csX1" fmla="*/ 0 w 2549237"/>
              <a:gd name="csY1" fmla="*/ 535710 h 868219"/>
              <a:gd name="csX2" fmla="*/ 1616364 w 2549237"/>
              <a:gd name="csY2" fmla="*/ 0 h 868219"/>
              <a:gd name="csX3" fmla="*/ 1907634 w 2549237"/>
              <a:gd name="csY3" fmla="*/ 100161 h 868219"/>
              <a:gd name="csX4" fmla="*/ 2549237 w 2549237"/>
              <a:gd name="csY4" fmla="*/ 323273 h 868219"/>
              <a:gd name="csX5" fmla="*/ 1224761 w 2549237"/>
              <a:gd name="csY5" fmla="*/ 719871 h 868219"/>
              <a:gd name="csX6" fmla="*/ 803564 w 2549237"/>
              <a:gd name="csY6" fmla="*/ 868219 h 868219"/>
              <a:gd name="csX7" fmla="*/ 256783 w 2549237"/>
              <a:gd name="csY7" fmla="*/ 656993 h 868219"/>
              <a:gd name="csX0" fmla="*/ 256783 w 2549237"/>
              <a:gd name="csY0" fmla="*/ 656993 h 868219"/>
              <a:gd name="csX1" fmla="*/ 0 w 2549237"/>
              <a:gd name="csY1" fmla="*/ 535710 h 868219"/>
              <a:gd name="csX2" fmla="*/ 496973 w 2549237"/>
              <a:gd name="csY2" fmla="*/ 346647 h 868219"/>
              <a:gd name="csX3" fmla="*/ 1616364 w 2549237"/>
              <a:gd name="csY3" fmla="*/ 0 h 868219"/>
              <a:gd name="csX4" fmla="*/ 1907634 w 2549237"/>
              <a:gd name="csY4" fmla="*/ 100161 h 868219"/>
              <a:gd name="csX5" fmla="*/ 2549237 w 2549237"/>
              <a:gd name="csY5" fmla="*/ 323273 h 868219"/>
              <a:gd name="csX6" fmla="*/ 1224761 w 2549237"/>
              <a:gd name="csY6" fmla="*/ 719871 h 868219"/>
              <a:gd name="csX7" fmla="*/ 803564 w 2549237"/>
              <a:gd name="csY7" fmla="*/ 868219 h 868219"/>
              <a:gd name="csX8" fmla="*/ 256783 w 2549237"/>
              <a:gd name="csY8" fmla="*/ 656993 h 868219"/>
              <a:gd name="csX0" fmla="*/ 0 w 2292454"/>
              <a:gd name="csY0" fmla="*/ 656993 h 868219"/>
              <a:gd name="csX1" fmla="*/ 240190 w 2292454"/>
              <a:gd name="csY1" fmla="*/ 346647 h 868219"/>
              <a:gd name="csX2" fmla="*/ 1359581 w 2292454"/>
              <a:gd name="csY2" fmla="*/ 0 h 868219"/>
              <a:gd name="csX3" fmla="*/ 1650851 w 2292454"/>
              <a:gd name="csY3" fmla="*/ 100161 h 868219"/>
              <a:gd name="csX4" fmla="*/ 2292454 w 2292454"/>
              <a:gd name="csY4" fmla="*/ 323273 h 868219"/>
              <a:gd name="csX5" fmla="*/ 967978 w 2292454"/>
              <a:gd name="csY5" fmla="*/ 719871 h 868219"/>
              <a:gd name="csX6" fmla="*/ 546781 w 2292454"/>
              <a:gd name="csY6" fmla="*/ 868219 h 868219"/>
              <a:gd name="csX7" fmla="*/ 0 w 2292454"/>
              <a:gd name="csY7" fmla="*/ 656993 h 868219"/>
              <a:gd name="csX0" fmla="*/ 306591 w 2052264"/>
              <a:gd name="csY0" fmla="*/ 868219 h 868219"/>
              <a:gd name="csX1" fmla="*/ 0 w 2052264"/>
              <a:gd name="csY1" fmla="*/ 346647 h 868219"/>
              <a:gd name="csX2" fmla="*/ 1119391 w 2052264"/>
              <a:gd name="csY2" fmla="*/ 0 h 868219"/>
              <a:gd name="csX3" fmla="*/ 1410661 w 2052264"/>
              <a:gd name="csY3" fmla="*/ 100161 h 868219"/>
              <a:gd name="csX4" fmla="*/ 2052264 w 2052264"/>
              <a:gd name="csY4" fmla="*/ 323273 h 868219"/>
              <a:gd name="csX5" fmla="*/ 727788 w 2052264"/>
              <a:gd name="csY5" fmla="*/ 719871 h 868219"/>
              <a:gd name="csX6" fmla="*/ 306591 w 2052264"/>
              <a:gd name="csY6" fmla="*/ 868219 h 868219"/>
              <a:gd name="csX0" fmla="*/ 727788 w 2052264"/>
              <a:gd name="csY0" fmla="*/ 719871 h 719871"/>
              <a:gd name="csX1" fmla="*/ 0 w 2052264"/>
              <a:gd name="csY1" fmla="*/ 346647 h 719871"/>
              <a:gd name="csX2" fmla="*/ 1119391 w 2052264"/>
              <a:gd name="csY2" fmla="*/ 0 h 719871"/>
              <a:gd name="csX3" fmla="*/ 1410661 w 2052264"/>
              <a:gd name="csY3" fmla="*/ 100161 h 719871"/>
              <a:gd name="csX4" fmla="*/ 2052264 w 2052264"/>
              <a:gd name="csY4" fmla="*/ 323273 h 719871"/>
              <a:gd name="csX5" fmla="*/ 727788 w 2052264"/>
              <a:gd name="csY5" fmla="*/ 719871 h 719871"/>
              <a:gd name="csX0" fmla="*/ 905069 w 2052264"/>
              <a:gd name="csY0" fmla="*/ 673218 h 673218"/>
              <a:gd name="csX1" fmla="*/ 0 w 2052264"/>
              <a:gd name="csY1" fmla="*/ 346647 h 673218"/>
              <a:gd name="csX2" fmla="*/ 1119391 w 2052264"/>
              <a:gd name="csY2" fmla="*/ 0 h 673218"/>
              <a:gd name="csX3" fmla="*/ 1410661 w 2052264"/>
              <a:gd name="csY3" fmla="*/ 100161 h 673218"/>
              <a:gd name="csX4" fmla="*/ 2052264 w 2052264"/>
              <a:gd name="csY4" fmla="*/ 323273 h 673218"/>
              <a:gd name="csX5" fmla="*/ 905069 w 2052264"/>
              <a:gd name="csY5" fmla="*/ 673218 h 673218"/>
              <a:gd name="csX0" fmla="*/ 905069 w 2248207"/>
              <a:gd name="csY0" fmla="*/ 673218 h 673218"/>
              <a:gd name="csX1" fmla="*/ 0 w 2248207"/>
              <a:gd name="csY1" fmla="*/ 346647 h 673218"/>
              <a:gd name="csX2" fmla="*/ 1119391 w 2248207"/>
              <a:gd name="csY2" fmla="*/ 0 h 673218"/>
              <a:gd name="csX3" fmla="*/ 1410661 w 2248207"/>
              <a:gd name="csY3" fmla="*/ 100161 h 673218"/>
              <a:gd name="csX4" fmla="*/ 2248207 w 2248207"/>
              <a:gd name="csY4" fmla="*/ 388587 h 673218"/>
              <a:gd name="csX5" fmla="*/ 905069 w 2248207"/>
              <a:gd name="csY5" fmla="*/ 673218 h 673218"/>
              <a:gd name="csX0" fmla="*/ 1054359 w 2248207"/>
              <a:gd name="csY0" fmla="*/ 729202 h 729202"/>
              <a:gd name="csX1" fmla="*/ 0 w 2248207"/>
              <a:gd name="csY1" fmla="*/ 346647 h 729202"/>
              <a:gd name="csX2" fmla="*/ 1119391 w 2248207"/>
              <a:gd name="csY2" fmla="*/ 0 h 729202"/>
              <a:gd name="csX3" fmla="*/ 1410661 w 2248207"/>
              <a:gd name="csY3" fmla="*/ 100161 h 729202"/>
              <a:gd name="csX4" fmla="*/ 2248207 w 2248207"/>
              <a:gd name="csY4" fmla="*/ 388587 h 729202"/>
              <a:gd name="csX5" fmla="*/ 1054359 w 2248207"/>
              <a:gd name="csY5" fmla="*/ 729202 h 729202"/>
              <a:gd name="csX0" fmla="*/ 1054359 w 2490802"/>
              <a:gd name="csY0" fmla="*/ 729202 h 729202"/>
              <a:gd name="csX1" fmla="*/ 0 w 2490802"/>
              <a:gd name="csY1" fmla="*/ 346647 h 729202"/>
              <a:gd name="csX2" fmla="*/ 1119391 w 2490802"/>
              <a:gd name="csY2" fmla="*/ 0 h 729202"/>
              <a:gd name="csX3" fmla="*/ 1410661 w 2490802"/>
              <a:gd name="csY3" fmla="*/ 100161 h 729202"/>
              <a:gd name="csX4" fmla="*/ 2490802 w 2490802"/>
              <a:gd name="csY4" fmla="*/ 481893 h 729202"/>
              <a:gd name="csX5" fmla="*/ 1054359 w 2490802"/>
              <a:gd name="csY5" fmla="*/ 729202 h 729202"/>
              <a:gd name="csX0" fmla="*/ 1343608 w 2490802"/>
              <a:gd name="csY0" fmla="*/ 841169 h 841169"/>
              <a:gd name="csX1" fmla="*/ 0 w 2490802"/>
              <a:gd name="csY1" fmla="*/ 346647 h 841169"/>
              <a:gd name="csX2" fmla="*/ 1119391 w 2490802"/>
              <a:gd name="csY2" fmla="*/ 0 h 841169"/>
              <a:gd name="csX3" fmla="*/ 1410661 w 2490802"/>
              <a:gd name="csY3" fmla="*/ 100161 h 841169"/>
              <a:gd name="csX4" fmla="*/ 2490802 w 2490802"/>
              <a:gd name="csY4" fmla="*/ 481893 h 841169"/>
              <a:gd name="csX5" fmla="*/ 1343608 w 2490802"/>
              <a:gd name="csY5" fmla="*/ 841169 h 841169"/>
              <a:gd name="csX0" fmla="*/ 1156996 w 2304190"/>
              <a:gd name="csY0" fmla="*/ 841169 h 841169"/>
              <a:gd name="csX1" fmla="*/ 0 w 2304190"/>
              <a:gd name="csY1" fmla="*/ 495937 h 841169"/>
              <a:gd name="csX2" fmla="*/ 932779 w 2304190"/>
              <a:gd name="csY2" fmla="*/ 0 h 841169"/>
              <a:gd name="csX3" fmla="*/ 1224049 w 2304190"/>
              <a:gd name="csY3" fmla="*/ 100161 h 841169"/>
              <a:gd name="csX4" fmla="*/ 2304190 w 2304190"/>
              <a:gd name="csY4" fmla="*/ 481893 h 841169"/>
              <a:gd name="csX5" fmla="*/ 1156996 w 2304190"/>
              <a:gd name="csY5" fmla="*/ 841169 h 841169"/>
              <a:gd name="csX0" fmla="*/ 979714 w 2304190"/>
              <a:gd name="csY0" fmla="*/ 897153 h 897153"/>
              <a:gd name="csX1" fmla="*/ 0 w 2304190"/>
              <a:gd name="csY1" fmla="*/ 495937 h 897153"/>
              <a:gd name="csX2" fmla="*/ 932779 w 2304190"/>
              <a:gd name="csY2" fmla="*/ 0 h 897153"/>
              <a:gd name="csX3" fmla="*/ 1224049 w 2304190"/>
              <a:gd name="csY3" fmla="*/ 100161 h 897153"/>
              <a:gd name="csX4" fmla="*/ 2304190 w 2304190"/>
              <a:gd name="csY4" fmla="*/ 481893 h 897153"/>
              <a:gd name="csX5" fmla="*/ 979714 w 2304190"/>
              <a:gd name="csY5" fmla="*/ 897153 h 897153"/>
              <a:gd name="csX0" fmla="*/ 979714 w 2304190"/>
              <a:gd name="csY0" fmla="*/ 796992 h 796992"/>
              <a:gd name="csX1" fmla="*/ 0 w 2304190"/>
              <a:gd name="csY1" fmla="*/ 395776 h 796992"/>
              <a:gd name="csX2" fmla="*/ 1224049 w 2304190"/>
              <a:gd name="csY2" fmla="*/ 0 h 796992"/>
              <a:gd name="csX3" fmla="*/ 2304190 w 2304190"/>
              <a:gd name="csY3" fmla="*/ 381732 h 796992"/>
              <a:gd name="csX4" fmla="*/ 979714 w 2304190"/>
              <a:gd name="csY4" fmla="*/ 796992 h 796992"/>
            </a:gdLst>
            <a:ahLst/>
            <a:cxnLst>
              <a:cxn ang="0">
                <a:pos x="csX0" y="csY0"/>
              </a:cxn>
              <a:cxn ang="0">
                <a:pos x="csX1" y="csY1"/>
              </a:cxn>
              <a:cxn ang="0">
                <a:pos x="csX2" y="csY2"/>
              </a:cxn>
              <a:cxn ang="0">
                <a:pos x="csX3" y="csY3"/>
              </a:cxn>
              <a:cxn ang="0">
                <a:pos x="csX4" y="csY4"/>
              </a:cxn>
            </a:cxnLst>
            <a:rect l="l" t="t" r="r" b="b"/>
            <a:pathLst>
              <a:path w="2304190" h="796992">
                <a:moveTo>
                  <a:pt x="979714" y="796992"/>
                </a:moveTo>
                <a:lnTo>
                  <a:pt x="0" y="395776"/>
                </a:lnTo>
                <a:lnTo>
                  <a:pt x="1224049" y="0"/>
                </a:lnTo>
                <a:lnTo>
                  <a:pt x="2304190" y="381732"/>
                </a:lnTo>
                <a:lnTo>
                  <a:pt x="979714" y="796992"/>
                </a:lnTo>
                <a:close/>
              </a:path>
            </a:pathLst>
          </a:custGeom>
          <a:solidFill>
            <a:schemeClr val="accent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ln w="0"/>
              <a:solidFill>
                <a:schemeClr val="tx1"/>
              </a:solidFill>
              <a:effectLst>
                <a:outerShdw blurRad="38100" dist="19050" dir="2700000" algn="tl" rotWithShape="0">
                  <a:schemeClr val="dk1">
                    <a:alpha val="40000"/>
                  </a:schemeClr>
                </a:outerShdw>
              </a:effectLst>
            </a:endParaRPr>
          </a:p>
        </p:txBody>
      </p:sp>
      <p:sp>
        <p:nvSpPr>
          <p:cNvPr id="176" name="Vapaamuotoinen: Muoto 175">
            <a:extLst>
              <a:ext uri="{FF2B5EF4-FFF2-40B4-BE49-F238E27FC236}">
                <a16:creationId xmlns:a16="http://schemas.microsoft.com/office/drawing/2014/main" id="{866BC2A1-612A-A0F5-BADC-33CE901F266F}"/>
              </a:ext>
            </a:extLst>
          </p:cNvPr>
          <p:cNvSpPr/>
          <p:nvPr/>
        </p:nvSpPr>
        <p:spPr>
          <a:xfrm>
            <a:off x="5221240" y="2358313"/>
            <a:ext cx="744046" cy="238209"/>
          </a:xfrm>
          <a:custGeom>
            <a:avLst/>
            <a:gdLst>
              <a:gd name="csX0" fmla="*/ 0 w 639271"/>
              <a:gd name="csY0" fmla="*/ 121380 h 202301"/>
              <a:gd name="csX1" fmla="*/ 388418 w 639271"/>
              <a:gd name="csY1" fmla="*/ 0 h 202301"/>
              <a:gd name="csX2" fmla="*/ 639271 w 639271"/>
              <a:gd name="csY2" fmla="*/ 80920 h 202301"/>
              <a:gd name="csX3" fmla="*/ 267038 w 639271"/>
              <a:gd name="csY3" fmla="*/ 202301 h 202301"/>
              <a:gd name="csX4" fmla="*/ 0 w 639271"/>
              <a:gd name="csY4" fmla="*/ 121380 h 202301"/>
              <a:gd name="csX0" fmla="*/ 0 w 691658"/>
              <a:gd name="csY0" fmla="*/ 101553 h 202301"/>
              <a:gd name="csX1" fmla="*/ 440805 w 691658"/>
              <a:gd name="csY1" fmla="*/ 0 h 202301"/>
              <a:gd name="csX2" fmla="*/ 691658 w 691658"/>
              <a:gd name="csY2" fmla="*/ 80920 h 202301"/>
              <a:gd name="csX3" fmla="*/ 319425 w 691658"/>
              <a:gd name="csY3" fmla="*/ 202301 h 202301"/>
              <a:gd name="csX4" fmla="*/ 0 w 691658"/>
              <a:gd name="csY4" fmla="*/ 101553 h 202301"/>
              <a:gd name="csX0" fmla="*/ 0 w 744046"/>
              <a:gd name="csY0" fmla="*/ 101553 h 202301"/>
              <a:gd name="csX1" fmla="*/ 440805 w 744046"/>
              <a:gd name="csY1" fmla="*/ 0 h 202301"/>
              <a:gd name="csX2" fmla="*/ 744046 w 744046"/>
              <a:gd name="csY2" fmla="*/ 100746 h 202301"/>
              <a:gd name="csX3" fmla="*/ 319425 w 744046"/>
              <a:gd name="csY3" fmla="*/ 202301 h 202301"/>
              <a:gd name="csX4" fmla="*/ 0 w 744046"/>
              <a:gd name="csY4" fmla="*/ 101553 h 202301"/>
              <a:gd name="csX0" fmla="*/ 0 w 744046"/>
              <a:gd name="csY0" fmla="*/ 109484 h 210232"/>
              <a:gd name="csX1" fmla="*/ 421755 w 744046"/>
              <a:gd name="csY1" fmla="*/ 0 h 210232"/>
              <a:gd name="csX2" fmla="*/ 744046 w 744046"/>
              <a:gd name="csY2" fmla="*/ 108677 h 210232"/>
              <a:gd name="csX3" fmla="*/ 319425 w 744046"/>
              <a:gd name="csY3" fmla="*/ 210232 h 210232"/>
              <a:gd name="csX4" fmla="*/ 0 w 744046"/>
              <a:gd name="csY4" fmla="*/ 109484 h 210232"/>
              <a:gd name="csX0" fmla="*/ 0 w 744046"/>
              <a:gd name="csY0" fmla="*/ 109484 h 210232"/>
              <a:gd name="csX1" fmla="*/ 42175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109484 h 210232"/>
              <a:gd name="csX1" fmla="*/ 44080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97588 h 198336"/>
              <a:gd name="csX1" fmla="*/ 402705 w 744046"/>
              <a:gd name="csY1" fmla="*/ 0 h 198336"/>
              <a:gd name="csX2" fmla="*/ 744046 w 744046"/>
              <a:gd name="csY2" fmla="*/ 96781 h 198336"/>
              <a:gd name="csX3" fmla="*/ 314662 w 744046"/>
              <a:gd name="csY3" fmla="*/ 198336 h 198336"/>
              <a:gd name="csX4" fmla="*/ 0 w 744046"/>
              <a:gd name="csY4" fmla="*/ 97588 h 198336"/>
            </a:gdLst>
            <a:ahLst/>
            <a:cxnLst>
              <a:cxn ang="0">
                <a:pos x="csX0" y="csY0"/>
              </a:cxn>
              <a:cxn ang="0">
                <a:pos x="csX1" y="csY1"/>
              </a:cxn>
              <a:cxn ang="0">
                <a:pos x="csX2" y="csY2"/>
              </a:cxn>
              <a:cxn ang="0">
                <a:pos x="csX3" y="csY3"/>
              </a:cxn>
              <a:cxn ang="0">
                <a:pos x="csX4" y="csY4"/>
              </a:cxn>
            </a:cxnLst>
            <a:rect l="l" t="t" r="r" b="b"/>
            <a:pathLst>
              <a:path w="744046" h="198336">
                <a:moveTo>
                  <a:pt x="0" y="97588"/>
                </a:moveTo>
                <a:lnTo>
                  <a:pt x="402705" y="0"/>
                </a:lnTo>
                <a:lnTo>
                  <a:pt x="744046" y="96781"/>
                </a:lnTo>
                <a:lnTo>
                  <a:pt x="314662" y="198336"/>
                </a:lnTo>
                <a:lnTo>
                  <a:pt x="0" y="97588"/>
                </a:lnTo>
                <a:close/>
              </a:path>
            </a:pathLst>
          </a:custGeom>
          <a:solidFill>
            <a:schemeClr val="bg1"/>
          </a:solidFill>
          <a:ln w="381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96" name="Suora yhdysviiva 195">
            <a:extLst>
              <a:ext uri="{FF2B5EF4-FFF2-40B4-BE49-F238E27FC236}">
                <a16:creationId xmlns:a16="http://schemas.microsoft.com/office/drawing/2014/main" id="{68681686-68B6-39F2-773D-5BD0F9C105EC}"/>
              </a:ext>
            </a:extLst>
          </p:cNvPr>
          <p:cNvCxnSpPr>
            <a:cxnSpLocks/>
          </p:cNvCxnSpPr>
          <p:nvPr/>
        </p:nvCxnSpPr>
        <p:spPr>
          <a:xfrm flipV="1">
            <a:off x="5991192" y="2499012"/>
            <a:ext cx="4" cy="541338"/>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197" name="Suora yhdysviiva 196">
            <a:extLst>
              <a:ext uri="{FF2B5EF4-FFF2-40B4-BE49-F238E27FC236}">
                <a16:creationId xmlns:a16="http://schemas.microsoft.com/office/drawing/2014/main" id="{59CC289D-85B3-61D8-4A35-7CB2266B56EC}"/>
              </a:ext>
            </a:extLst>
          </p:cNvPr>
          <p:cNvCxnSpPr>
            <a:cxnSpLocks/>
          </p:cNvCxnSpPr>
          <p:nvPr/>
        </p:nvCxnSpPr>
        <p:spPr>
          <a:xfrm flipV="1">
            <a:off x="5213907" y="2477418"/>
            <a:ext cx="0" cy="497059"/>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210" name="Suora yhdysviiva 209">
            <a:extLst>
              <a:ext uri="{FF2B5EF4-FFF2-40B4-BE49-F238E27FC236}">
                <a16:creationId xmlns:a16="http://schemas.microsoft.com/office/drawing/2014/main" id="{731A3439-57C3-E174-041A-4A9F7C289F29}"/>
              </a:ext>
            </a:extLst>
          </p:cNvPr>
          <p:cNvCxnSpPr>
            <a:cxnSpLocks/>
          </p:cNvCxnSpPr>
          <p:nvPr/>
        </p:nvCxnSpPr>
        <p:spPr>
          <a:xfrm flipV="1">
            <a:off x="5525057" y="2619056"/>
            <a:ext cx="0" cy="504572"/>
          </a:xfrm>
          <a:prstGeom prst="line">
            <a:avLst/>
          </a:prstGeom>
          <a:ln w="12700">
            <a:prstDash val="sysDot"/>
          </a:ln>
        </p:spPr>
        <p:style>
          <a:lnRef idx="2">
            <a:schemeClr val="dk1"/>
          </a:lnRef>
          <a:fillRef idx="0">
            <a:schemeClr val="dk1"/>
          </a:fillRef>
          <a:effectRef idx="1">
            <a:schemeClr val="dk1"/>
          </a:effectRef>
          <a:fontRef idx="minor">
            <a:schemeClr val="tx1"/>
          </a:fontRef>
        </p:style>
      </p:cxnSp>
      <p:sp>
        <p:nvSpPr>
          <p:cNvPr id="219" name="Kaari 218">
            <a:extLst>
              <a:ext uri="{FF2B5EF4-FFF2-40B4-BE49-F238E27FC236}">
                <a16:creationId xmlns:a16="http://schemas.microsoft.com/office/drawing/2014/main" id="{0ED83385-73EC-DAFC-DF71-F43CD11A1050}"/>
              </a:ext>
            </a:extLst>
          </p:cNvPr>
          <p:cNvSpPr/>
          <p:nvPr/>
        </p:nvSpPr>
        <p:spPr>
          <a:xfrm flipH="1">
            <a:off x="5550332" y="1227570"/>
            <a:ext cx="1014813" cy="1758836"/>
          </a:xfrm>
          <a:prstGeom prst="arc">
            <a:avLst>
              <a:gd name="adj1" fmla="val 15958105"/>
              <a:gd name="adj2" fmla="val 1567664"/>
            </a:avLst>
          </a:prstGeom>
          <a:ln>
            <a:headEnd type="none" w="med" len="med"/>
            <a:tailEnd type="triangle" w="lg" len="lg"/>
          </a:ln>
        </p:spPr>
        <p:style>
          <a:lnRef idx="2">
            <a:schemeClr val="dk1"/>
          </a:lnRef>
          <a:fillRef idx="0">
            <a:schemeClr val="dk1"/>
          </a:fillRef>
          <a:effectRef idx="1">
            <a:schemeClr val="dk1"/>
          </a:effectRef>
          <a:fontRef idx="minor">
            <a:schemeClr val="tx1"/>
          </a:fontRef>
        </p:style>
        <p:txBody>
          <a:bodyPr rtlCol="0" anchor="ctr"/>
          <a:lstStyle/>
          <a:p>
            <a:pPr algn="ctr"/>
            <a:endParaRPr lang="fi-FI"/>
          </a:p>
        </p:txBody>
      </p:sp>
      <p:sp>
        <p:nvSpPr>
          <p:cNvPr id="170" name="Tekstiruutu 169">
            <a:extLst>
              <a:ext uri="{FF2B5EF4-FFF2-40B4-BE49-F238E27FC236}">
                <a16:creationId xmlns:a16="http://schemas.microsoft.com/office/drawing/2014/main" id="{FB10226B-C02D-FE0B-DD5C-DE1CE667BDD8}"/>
              </a:ext>
            </a:extLst>
          </p:cNvPr>
          <p:cNvSpPr txBox="1"/>
          <p:nvPr/>
        </p:nvSpPr>
        <p:spPr>
          <a:xfrm>
            <a:off x="6096000" y="894989"/>
            <a:ext cx="4794902" cy="1077218"/>
          </a:xfrm>
          <a:prstGeom prst="rect">
            <a:avLst/>
          </a:prstGeom>
          <a:noFill/>
        </p:spPr>
        <p:txBody>
          <a:bodyPr wrap="none" rtlCol="0">
            <a:spAutoFit/>
          </a:bodyPr>
          <a:lstStyle/>
          <a:p>
            <a:r>
              <a:rPr lang="fi-FI" sz="3200" dirty="0">
                <a:solidFill>
                  <a:srgbClr val="0042A5"/>
                </a:solidFill>
              </a:rPr>
              <a:t>Tarkasteltavat kuilujen</a:t>
            </a:r>
            <a:br>
              <a:rPr lang="fi-FI" sz="3200" dirty="0">
                <a:solidFill>
                  <a:srgbClr val="0042A5"/>
                </a:solidFill>
              </a:rPr>
            </a:br>
            <a:r>
              <a:rPr lang="fi-FI" sz="3200" dirty="0">
                <a:solidFill>
                  <a:srgbClr val="0042A5"/>
                </a:solidFill>
              </a:rPr>
              <a:t>               paikat</a:t>
            </a:r>
          </a:p>
        </p:txBody>
      </p:sp>
    </p:spTree>
    <p:extLst>
      <p:ext uri="{BB962C8B-B14F-4D97-AF65-F5344CB8AC3E}">
        <p14:creationId xmlns:p14="http://schemas.microsoft.com/office/powerpoint/2010/main" val="4693313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4544C-FEBB-D204-3214-A223491B319B}"/>
            </a:ext>
          </a:extLst>
        </p:cNvPr>
        <p:cNvGrpSpPr/>
        <p:nvPr/>
      </p:nvGrpSpPr>
      <p:grpSpPr>
        <a:xfrm>
          <a:off x="0" y="0"/>
          <a:ext cx="0" cy="0"/>
          <a:chOff x="0" y="0"/>
          <a:chExt cx="0" cy="0"/>
        </a:xfrm>
      </p:grpSpPr>
      <p:sp>
        <p:nvSpPr>
          <p:cNvPr id="2" name="Vapaamuotoinen: Muoto 1">
            <a:extLst>
              <a:ext uri="{FF2B5EF4-FFF2-40B4-BE49-F238E27FC236}">
                <a16:creationId xmlns:a16="http://schemas.microsoft.com/office/drawing/2014/main" id="{719CE9D5-D90C-FE66-AAE0-9142625587AC}"/>
              </a:ext>
            </a:extLst>
          </p:cNvPr>
          <p:cNvSpPr/>
          <p:nvPr/>
        </p:nvSpPr>
        <p:spPr>
          <a:xfrm>
            <a:off x="2838450" y="1565910"/>
            <a:ext cx="4536720" cy="1612499"/>
          </a:xfrm>
          <a:custGeom>
            <a:avLst/>
            <a:gdLst>
              <a:gd name="csX0" fmla="*/ 0 w 2743200"/>
              <a:gd name="csY0" fmla="*/ 484095 h 941295"/>
              <a:gd name="csX1" fmla="*/ 1658471 w 2743200"/>
              <a:gd name="csY1" fmla="*/ 0 h 941295"/>
              <a:gd name="csX2" fmla="*/ 2743200 w 2743200"/>
              <a:gd name="csY2" fmla="*/ 367553 h 941295"/>
              <a:gd name="csX3" fmla="*/ 1021977 w 2743200"/>
              <a:gd name="csY3" fmla="*/ 941295 h 941295"/>
              <a:gd name="csX4" fmla="*/ 0 w 2743200"/>
              <a:gd name="csY4" fmla="*/ 484095 h 941295"/>
              <a:gd name="csX0" fmla="*/ 0 w 3238500"/>
              <a:gd name="csY0" fmla="*/ 263115 h 941295"/>
              <a:gd name="csX1" fmla="*/ 2153771 w 3238500"/>
              <a:gd name="csY1" fmla="*/ 0 h 941295"/>
              <a:gd name="csX2" fmla="*/ 3238500 w 3238500"/>
              <a:gd name="csY2" fmla="*/ 367553 h 941295"/>
              <a:gd name="csX3" fmla="*/ 1517277 w 3238500"/>
              <a:gd name="csY3" fmla="*/ 941295 h 941295"/>
              <a:gd name="csX4" fmla="*/ 0 w 3238500"/>
              <a:gd name="csY4" fmla="*/ 263115 h 941295"/>
              <a:gd name="csX0" fmla="*/ 0 w 3238500"/>
              <a:gd name="csY0" fmla="*/ 445995 h 1124175"/>
              <a:gd name="csX1" fmla="*/ 1650851 w 3238500"/>
              <a:gd name="csY1" fmla="*/ 0 h 1124175"/>
              <a:gd name="csX2" fmla="*/ 3238500 w 3238500"/>
              <a:gd name="csY2" fmla="*/ 550433 h 1124175"/>
              <a:gd name="csX3" fmla="*/ 1517277 w 3238500"/>
              <a:gd name="csY3" fmla="*/ 1124175 h 1124175"/>
              <a:gd name="csX4" fmla="*/ 0 w 3238500"/>
              <a:gd name="csY4" fmla="*/ 445995 h 1124175"/>
              <a:gd name="csX0" fmla="*/ 0 w 3238500"/>
              <a:gd name="csY0" fmla="*/ 556832 h 1124175"/>
              <a:gd name="csX1" fmla="*/ 1650851 w 3238500"/>
              <a:gd name="csY1" fmla="*/ 0 h 1124175"/>
              <a:gd name="csX2" fmla="*/ 3238500 w 3238500"/>
              <a:gd name="csY2" fmla="*/ 550433 h 1124175"/>
              <a:gd name="csX3" fmla="*/ 1517277 w 3238500"/>
              <a:gd name="csY3" fmla="*/ 1124175 h 1124175"/>
              <a:gd name="csX4" fmla="*/ 0 w 3238500"/>
              <a:gd name="csY4" fmla="*/ 556832 h 1124175"/>
              <a:gd name="csX0" fmla="*/ 0 w 3238500"/>
              <a:gd name="csY0" fmla="*/ 556832 h 1124175"/>
              <a:gd name="csX1" fmla="*/ 301980 w 3238500"/>
              <a:gd name="csY1" fmla="*/ 434966 h 1124175"/>
              <a:gd name="csX2" fmla="*/ 1650851 w 3238500"/>
              <a:gd name="csY2" fmla="*/ 0 h 1124175"/>
              <a:gd name="csX3" fmla="*/ 3238500 w 3238500"/>
              <a:gd name="csY3" fmla="*/ 550433 h 1124175"/>
              <a:gd name="csX4" fmla="*/ 1517277 w 3238500"/>
              <a:gd name="csY4" fmla="*/ 1124175 h 1124175"/>
              <a:gd name="csX5" fmla="*/ 0 w 3238500"/>
              <a:gd name="csY5" fmla="*/ 556832 h 1124175"/>
              <a:gd name="csX0" fmla="*/ 1298220 w 4536720"/>
              <a:gd name="csY0" fmla="*/ 556832 h 1124175"/>
              <a:gd name="csX1" fmla="*/ 0 w 4536720"/>
              <a:gd name="csY1" fmla="*/ 47616 h 1124175"/>
              <a:gd name="csX2" fmla="*/ 2949071 w 4536720"/>
              <a:gd name="csY2" fmla="*/ 0 h 1124175"/>
              <a:gd name="csX3" fmla="*/ 4536720 w 4536720"/>
              <a:gd name="csY3" fmla="*/ 550433 h 1124175"/>
              <a:gd name="csX4" fmla="*/ 2815497 w 4536720"/>
              <a:gd name="csY4" fmla="*/ 1124175 h 1124175"/>
              <a:gd name="csX5" fmla="*/ 1298220 w 4536720"/>
              <a:gd name="csY5" fmla="*/ 556832 h 1124175"/>
              <a:gd name="csX0" fmla="*/ 1298220 w 4536720"/>
              <a:gd name="csY0" fmla="*/ 556832 h 1124175"/>
              <a:gd name="csX1" fmla="*/ 0 w 4536720"/>
              <a:gd name="csY1" fmla="*/ 47616 h 1124175"/>
              <a:gd name="csX2" fmla="*/ 1606550 w 4536720"/>
              <a:gd name="csY2" fmla="*/ 28566 h 1124175"/>
              <a:gd name="csX3" fmla="*/ 2949071 w 4536720"/>
              <a:gd name="csY3" fmla="*/ 0 h 1124175"/>
              <a:gd name="csX4" fmla="*/ 4536720 w 4536720"/>
              <a:gd name="csY4" fmla="*/ 550433 h 1124175"/>
              <a:gd name="csX5" fmla="*/ 2815497 w 4536720"/>
              <a:gd name="csY5" fmla="*/ 1124175 h 1124175"/>
              <a:gd name="csX6" fmla="*/ 1298220 w 4536720"/>
              <a:gd name="csY6" fmla="*/ 556832 h 1124175"/>
              <a:gd name="csX0" fmla="*/ 1298220 w 4536720"/>
              <a:gd name="csY0" fmla="*/ 991816 h 1559159"/>
              <a:gd name="csX1" fmla="*/ 0 w 4536720"/>
              <a:gd name="csY1" fmla="*/ 482600 h 1559159"/>
              <a:gd name="csX2" fmla="*/ 1663700 w 4536720"/>
              <a:gd name="csY2" fmla="*/ 0 h 1559159"/>
              <a:gd name="csX3" fmla="*/ 2949071 w 4536720"/>
              <a:gd name="csY3" fmla="*/ 434984 h 1559159"/>
              <a:gd name="csX4" fmla="*/ 4536720 w 4536720"/>
              <a:gd name="csY4" fmla="*/ 985417 h 1559159"/>
              <a:gd name="csX5" fmla="*/ 2815497 w 4536720"/>
              <a:gd name="csY5" fmla="*/ 1559159 h 1559159"/>
              <a:gd name="csX6" fmla="*/ 1298220 w 4536720"/>
              <a:gd name="csY6" fmla="*/ 991816 h 155915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298220 w 4536720"/>
              <a:gd name="csY6" fmla="*/ 1045156 h 161249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536720" h="1612499">
                <a:moveTo>
                  <a:pt x="1298220" y="1045156"/>
                </a:moveTo>
                <a:lnTo>
                  <a:pt x="0" y="535940"/>
                </a:lnTo>
                <a:lnTo>
                  <a:pt x="1549400" y="0"/>
                </a:lnTo>
                <a:lnTo>
                  <a:pt x="2949071" y="488324"/>
                </a:lnTo>
                <a:lnTo>
                  <a:pt x="4536720" y="1038757"/>
                </a:lnTo>
                <a:lnTo>
                  <a:pt x="2815497" y="1612499"/>
                </a:lnTo>
                <a:lnTo>
                  <a:pt x="1298220" y="1045156"/>
                </a:lnTo>
                <a:close/>
              </a:path>
            </a:pathLst>
          </a:custGeom>
          <a:ln w="6350">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fi-FI" dirty="0">
              <a:ln w="0"/>
              <a:solidFill>
                <a:schemeClr val="tx1"/>
              </a:solidFill>
              <a:effectLst>
                <a:outerShdw blurRad="38100" dist="19050" dir="2700000" algn="tl" rotWithShape="0">
                  <a:schemeClr val="dk1">
                    <a:alpha val="40000"/>
                  </a:schemeClr>
                </a:outerShdw>
              </a:effectLst>
            </a:endParaRPr>
          </a:p>
        </p:txBody>
      </p:sp>
      <p:sp>
        <p:nvSpPr>
          <p:cNvPr id="3" name="Vapaamuotoinen: Muoto 2">
            <a:extLst>
              <a:ext uri="{FF2B5EF4-FFF2-40B4-BE49-F238E27FC236}">
                <a16:creationId xmlns:a16="http://schemas.microsoft.com/office/drawing/2014/main" id="{988CC153-7B9A-95F1-A2DB-7FBF760EB9A2}"/>
              </a:ext>
            </a:extLst>
          </p:cNvPr>
          <p:cNvSpPr/>
          <p:nvPr/>
        </p:nvSpPr>
        <p:spPr>
          <a:xfrm>
            <a:off x="1897736" y="2683950"/>
            <a:ext cx="9723904" cy="3403506"/>
          </a:xfrm>
          <a:custGeom>
            <a:avLst/>
            <a:gdLst>
              <a:gd name="csX0" fmla="*/ 0 w 9923929"/>
              <a:gd name="csY0" fmla="*/ 2931459 h 3379694"/>
              <a:gd name="csX1" fmla="*/ 8821270 w 9923929"/>
              <a:gd name="csY1" fmla="*/ 0 h 3379694"/>
              <a:gd name="csX2" fmla="*/ 9923929 w 9923929"/>
              <a:gd name="csY2" fmla="*/ 233083 h 3379694"/>
              <a:gd name="csX3" fmla="*/ 941294 w 9923929"/>
              <a:gd name="csY3" fmla="*/ 3379694 h 3379694"/>
              <a:gd name="csX4" fmla="*/ 0 w 9923929"/>
              <a:gd name="csY4" fmla="*/ 2931459 h 3379694"/>
              <a:gd name="csX0" fmla="*/ 0 w 9723904"/>
              <a:gd name="csY0" fmla="*/ 2931459 h 3379694"/>
              <a:gd name="csX1" fmla="*/ 8821270 w 9723904"/>
              <a:gd name="csY1" fmla="*/ 0 h 3379694"/>
              <a:gd name="csX2" fmla="*/ 9723904 w 9723904"/>
              <a:gd name="csY2" fmla="*/ 299758 h 3379694"/>
              <a:gd name="csX3" fmla="*/ 941294 w 9723904"/>
              <a:gd name="csY3" fmla="*/ 3379694 h 3379694"/>
              <a:gd name="csX4" fmla="*/ 0 w 9723904"/>
              <a:gd name="csY4" fmla="*/ 2931459 h 3379694"/>
              <a:gd name="csX0" fmla="*/ 0 w 9723904"/>
              <a:gd name="csY0" fmla="*/ 2955271 h 3403506"/>
              <a:gd name="csX1" fmla="*/ 8883183 w 9723904"/>
              <a:gd name="csY1" fmla="*/ 0 h 3403506"/>
              <a:gd name="csX2" fmla="*/ 9723904 w 9723904"/>
              <a:gd name="csY2" fmla="*/ 323570 h 3403506"/>
              <a:gd name="csX3" fmla="*/ 941294 w 9723904"/>
              <a:gd name="csY3" fmla="*/ 3403506 h 3403506"/>
              <a:gd name="csX4" fmla="*/ 0 w 9723904"/>
              <a:gd name="csY4" fmla="*/ 2955271 h 3403506"/>
              <a:gd name="csX0" fmla="*/ 0 w 9723904"/>
              <a:gd name="csY0" fmla="*/ 2955271 h 3403506"/>
              <a:gd name="csX1" fmla="*/ 2941992 w 9723904"/>
              <a:gd name="csY1" fmla="*/ 197610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3368712 w 9723904"/>
              <a:gd name="csY2" fmla="*/ 182370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443132 w 9723904"/>
              <a:gd name="csY2" fmla="*/ 147318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245012 w 9723904"/>
              <a:gd name="csY2" fmla="*/ 154938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940212 w 9723904"/>
              <a:gd name="csY2" fmla="*/ 121410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345852 w 9723904"/>
              <a:gd name="csY2" fmla="*/ 16103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78112 w 9723904"/>
              <a:gd name="csY2" fmla="*/ 17246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68876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41167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260204 w 9723904"/>
              <a:gd name="csY2" fmla="*/ 175148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712395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723904" h="3403506">
                <a:moveTo>
                  <a:pt x="0" y="2955271"/>
                </a:moveTo>
                <a:lnTo>
                  <a:pt x="2797212" y="2029441"/>
                </a:lnTo>
                <a:lnTo>
                  <a:pt x="973571" y="1257871"/>
                </a:lnTo>
                <a:lnTo>
                  <a:pt x="2629302" y="712395"/>
                </a:lnTo>
                <a:lnTo>
                  <a:pt x="4443132" y="1473181"/>
                </a:lnTo>
                <a:lnTo>
                  <a:pt x="8883183" y="0"/>
                </a:lnTo>
                <a:lnTo>
                  <a:pt x="9723904" y="323570"/>
                </a:lnTo>
                <a:lnTo>
                  <a:pt x="941294" y="3403506"/>
                </a:lnTo>
                <a:lnTo>
                  <a:pt x="0" y="2955271"/>
                </a:lnTo>
                <a:close/>
              </a:path>
            </a:pathLst>
          </a:custGeom>
          <a:noFill/>
          <a:ln>
            <a:solidFill>
              <a:srgbClr val="FF0000"/>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4" name="Suora yhdysviiva 3">
            <a:extLst>
              <a:ext uri="{FF2B5EF4-FFF2-40B4-BE49-F238E27FC236}">
                <a16:creationId xmlns:a16="http://schemas.microsoft.com/office/drawing/2014/main" id="{2A633331-D043-8AA1-516F-4C52FB3AA33D}"/>
              </a:ext>
            </a:extLst>
          </p:cNvPr>
          <p:cNvCxnSpPr>
            <a:cxnSpLocks/>
          </p:cNvCxnSpPr>
          <p:nvPr/>
        </p:nvCxnSpPr>
        <p:spPr>
          <a:xfrm>
            <a:off x="2841510" y="2113386"/>
            <a:ext cx="29597" cy="1818059"/>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5" name="Suora yhdysviiva 4">
            <a:extLst>
              <a:ext uri="{FF2B5EF4-FFF2-40B4-BE49-F238E27FC236}">
                <a16:creationId xmlns:a16="http://schemas.microsoft.com/office/drawing/2014/main" id="{B79CF977-F491-4918-DBA0-0CC91FECF9DC}"/>
              </a:ext>
            </a:extLst>
          </p:cNvPr>
          <p:cNvCxnSpPr>
            <a:cxnSpLocks/>
          </p:cNvCxnSpPr>
          <p:nvPr/>
        </p:nvCxnSpPr>
        <p:spPr>
          <a:xfrm flipH="1">
            <a:off x="5617961" y="3178409"/>
            <a:ext cx="27021" cy="1926991"/>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6" name="Suora yhdysviiva 5">
            <a:extLst>
              <a:ext uri="{FF2B5EF4-FFF2-40B4-BE49-F238E27FC236}">
                <a16:creationId xmlns:a16="http://schemas.microsoft.com/office/drawing/2014/main" id="{A4C7969A-694F-6DE8-8191-721F7F865D37}"/>
              </a:ext>
            </a:extLst>
          </p:cNvPr>
          <p:cNvCxnSpPr>
            <a:cxnSpLocks/>
          </p:cNvCxnSpPr>
          <p:nvPr/>
        </p:nvCxnSpPr>
        <p:spPr>
          <a:xfrm flipH="1">
            <a:off x="7300913" y="2600933"/>
            <a:ext cx="74258" cy="1909155"/>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7" name="Suora yhdysviiva 6">
            <a:extLst>
              <a:ext uri="{FF2B5EF4-FFF2-40B4-BE49-F238E27FC236}">
                <a16:creationId xmlns:a16="http://schemas.microsoft.com/office/drawing/2014/main" id="{715716AF-68EC-51F2-0702-B23444A02977}"/>
              </a:ext>
            </a:extLst>
          </p:cNvPr>
          <p:cNvCxnSpPr>
            <a:cxnSpLocks/>
            <a:endCxn id="3" idx="3"/>
          </p:cNvCxnSpPr>
          <p:nvPr/>
        </p:nvCxnSpPr>
        <p:spPr>
          <a:xfrm>
            <a:off x="4527038" y="2769869"/>
            <a:ext cx="0" cy="626476"/>
          </a:xfrm>
          <a:prstGeom prst="line">
            <a:avLst/>
          </a:prstGeom>
          <a:ln w="12700">
            <a:prstDash val="dash"/>
          </a:ln>
        </p:spPr>
        <p:style>
          <a:lnRef idx="2">
            <a:schemeClr val="dk1"/>
          </a:lnRef>
          <a:fillRef idx="0">
            <a:schemeClr val="dk1"/>
          </a:fillRef>
          <a:effectRef idx="1">
            <a:schemeClr val="dk1"/>
          </a:effectRef>
          <a:fontRef idx="minor">
            <a:schemeClr val="tx1"/>
          </a:fontRef>
        </p:style>
      </p:cxnSp>
      <p:grpSp>
        <p:nvGrpSpPr>
          <p:cNvPr id="9" name="Ryhmä 8">
            <a:extLst>
              <a:ext uri="{FF2B5EF4-FFF2-40B4-BE49-F238E27FC236}">
                <a16:creationId xmlns:a16="http://schemas.microsoft.com/office/drawing/2014/main" id="{84B53D89-2AF8-B43E-77CD-DDE69BC61C67}"/>
              </a:ext>
            </a:extLst>
          </p:cNvPr>
          <p:cNvGrpSpPr/>
          <p:nvPr/>
        </p:nvGrpSpPr>
        <p:grpSpPr>
          <a:xfrm>
            <a:off x="2167763" y="2789803"/>
            <a:ext cx="8861479" cy="2983345"/>
            <a:chOff x="341745" y="2179782"/>
            <a:chExt cx="8861479" cy="2983345"/>
          </a:xfrm>
        </p:grpSpPr>
        <p:cxnSp>
          <p:nvCxnSpPr>
            <p:cNvPr id="10" name="Suora yhdysviiva 9">
              <a:extLst>
                <a:ext uri="{FF2B5EF4-FFF2-40B4-BE49-F238E27FC236}">
                  <a16:creationId xmlns:a16="http://schemas.microsoft.com/office/drawing/2014/main" id="{50481AA0-3063-F975-F920-3F7C9C1BE155}"/>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11" name="Suora yhdysviiva 10">
              <a:extLst>
                <a:ext uri="{FF2B5EF4-FFF2-40B4-BE49-F238E27FC236}">
                  <a16:creationId xmlns:a16="http://schemas.microsoft.com/office/drawing/2014/main" id="{FDB76725-3BFF-76E4-9EA9-5459FA7C65CA}"/>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 name="Suora yhdysviiva 11">
              <a:extLst>
                <a:ext uri="{FF2B5EF4-FFF2-40B4-BE49-F238E27FC236}">
                  <a16:creationId xmlns:a16="http://schemas.microsoft.com/office/drawing/2014/main" id="{77CBBA46-9D2F-50F3-E4D8-D5D1C8996583}"/>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 name="Suora yhdysviiva 12">
              <a:extLst>
                <a:ext uri="{FF2B5EF4-FFF2-40B4-BE49-F238E27FC236}">
                  <a16:creationId xmlns:a16="http://schemas.microsoft.com/office/drawing/2014/main" id="{E2401ED3-43D4-7482-1092-3296724E4C14}"/>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 name="Suora yhdysviiva 13">
              <a:extLst>
                <a:ext uri="{FF2B5EF4-FFF2-40B4-BE49-F238E27FC236}">
                  <a16:creationId xmlns:a16="http://schemas.microsoft.com/office/drawing/2014/main" id="{8CEB1C65-DF94-8076-EE73-4A878A2EBD7C}"/>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 name="Suora yhdysviiva 14">
              <a:extLst>
                <a:ext uri="{FF2B5EF4-FFF2-40B4-BE49-F238E27FC236}">
                  <a16:creationId xmlns:a16="http://schemas.microsoft.com/office/drawing/2014/main" id="{27F33267-019F-6926-32C1-740E5EBC3030}"/>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 name="Suora yhdysviiva 15">
              <a:extLst>
                <a:ext uri="{FF2B5EF4-FFF2-40B4-BE49-F238E27FC236}">
                  <a16:creationId xmlns:a16="http://schemas.microsoft.com/office/drawing/2014/main" id="{E94BDD41-6970-B3E3-77FD-30E24F973422}"/>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7" name="Suora yhdysviiva 16">
              <a:extLst>
                <a:ext uri="{FF2B5EF4-FFF2-40B4-BE49-F238E27FC236}">
                  <a16:creationId xmlns:a16="http://schemas.microsoft.com/office/drawing/2014/main" id="{4F850A1E-13BC-1E79-FBC0-A10E70A6227A}"/>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8" name="Suora yhdysviiva 17">
              <a:extLst>
                <a:ext uri="{FF2B5EF4-FFF2-40B4-BE49-F238E27FC236}">
                  <a16:creationId xmlns:a16="http://schemas.microsoft.com/office/drawing/2014/main" id="{1BB76670-38F8-BA7B-E89C-B30E25A54B95}"/>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9" name="Suora yhdysviiva 18">
              <a:extLst>
                <a:ext uri="{FF2B5EF4-FFF2-40B4-BE49-F238E27FC236}">
                  <a16:creationId xmlns:a16="http://schemas.microsoft.com/office/drawing/2014/main" id="{F0E3C4F7-1555-9AA0-CD88-66376ADEAE66}"/>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0" name="Suora yhdysviiva 19">
              <a:extLst>
                <a:ext uri="{FF2B5EF4-FFF2-40B4-BE49-F238E27FC236}">
                  <a16:creationId xmlns:a16="http://schemas.microsoft.com/office/drawing/2014/main" id="{AF962C2A-711C-C990-6B2C-EAC18A5DD2FC}"/>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1" name="Suora yhdysviiva 20">
              <a:extLst>
                <a:ext uri="{FF2B5EF4-FFF2-40B4-BE49-F238E27FC236}">
                  <a16:creationId xmlns:a16="http://schemas.microsoft.com/office/drawing/2014/main" id="{C15809C9-BFB1-B9F1-ADC1-93C13DB5D06D}"/>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2" name="Suora yhdysviiva 21">
              <a:extLst>
                <a:ext uri="{FF2B5EF4-FFF2-40B4-BE49-F238E27FC236}">
                  <a16:creationId xmlns:a16="http://schemas.microsoft.com/office/drawing/2014/main" id="{C8039737-99E7-103B-24E4-21D6928AAE43}"/>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3" name="Suora yhdysviiva 22">
              <a:extLst>
                <a:ext uri="{FF2B5EF4-FFF2-40B4-BE49-F238E27FC236}">
                  <a16:creationId xmlns:a16="http://schemas.microsoft.com/office/drawing/2014/main" id="{A1196ED9-EBF6-987B-C403-B43CEA478D57}"/>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4" name="Suora yhdysviiva 23">
              <a:extLst>
                <a:ext uri="{FF2B5EF4-FFF2-40B4-BE49-F238E27FC236}">
                  <a16:creationId xmlns:a16="http://schemas.microsoft.com/office/drawing/2014/main" id="{9291ED92-5E5B-D442-C754-973BCAC03D6D}"/>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5" name="Suora yhdysviiva 24">
              <a:extLst>
                <a:ext uri="{FF2B5EF4-FFF2-40B4-BE49-F238E27FC236}">
                  <a16:creationId xmlns:a16="http://schemas.microsoft.com/office/drawing/2014/main" id="{0226F202-D8AD-8C79-922E-7FC01BD59186}"/>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6" name="Suora yhdysviiva 25">
              <a:extLst>
                <a:ext uri="{FF2B5EF4-FFF2-40B4-BE49-F238E27FC236}">
                  <a16:creationId xmlns:a16="http://schemas.microsoft.com/office/drawing/2014/main" id="{6C71D847-D235-46DF-8EC5-57B169F4E17B}"/>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7" name="Suora yhdysviiva 26">
              <a:extLst>
                <a:ext uri="{FF2B5EF4-FFF2-40B4-BE49-F238E27FC236}">
                  <a16:creationId xmlns:a16="http://schemas.microsoft.com/office/drawing/2014/main" id="{78927678-9D14-A09B-9A20-5638E4F3114B}"/>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8" name="Suora yhdysviiva 27">
              <a:extLst>
                <a:ext uri="{FF2B5EF4-FFF2-40B4-BE49-F238E27FC236}">
                  <a16:creationId xmlns:a16="http://schemas.microsoft.com/office/drawing/2014/main" id="{15266CFB-781F-55DE-A981-407527773EB1}"/>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9" name="Suora yhdysviiva 28">
              <a:extLst>
                <a:ext uri="{FF2B5EF4-FFF2-40B4-BE49-F238E27FC236}">
                  <a16:creationId xmlns:a16="http://schemas.microsoft.com/office/drawing/2014/main" id="{F386756C-E5A8-E8B0-F7AE-66C5FE7F7A6B}"/>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0" name="Suora yhdysviiva 29">
              <a:extLst>
                <a:ext uri="{FF2B5EF4-FFF2-40B4-BE49-F238E27FC236}">
                  <a16:creationId xmlns:a16="http://schemas.microsoft.com/office/drawing/2014/main" id="{E0D00221-BCA1-3B94-D1A7-CF195F4A91C8}"/>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1" name="Suora yhdysviiva 30">
              <a:extLst>
                <a:ext uri="{FF2B5EF4-FFF2-40B4-BE49-F238E27FC236}">
                  <a16:creationId xmlns:a16="http://schemas.microsoft.com/office/drawing/2014/main" id="{FEA4527E-E262-85EE-F54F-F002B05EF6EF}"/>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2" name="Suora yhdysviiva 31">
              <a:extLst>
                <a:ext uri="{FF2B5EF4-FFF2-40B4-BE49-F238E27FC236}">
                  <a16:creationId xmlns:a16="http://schemas.microsoft.com/office/drawing/2014/main" id="{3DDF5698-090E-5A52-A21D-D566F98E2EE5}"/>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3" name="Suora yhdysviiva 32">
              <a:extLst>
                <a:ext uri="{FF2B5EF4-FFF2-40B4-BE49-F238E27FC236}">
                  <a16:creationId xmlns:a16="http://schemas.microsoft.com/office/drawing/2014/main" id="{2D9F70A2-A447-3D91-C873-74757D5742B6}"/>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4" name="Suora yhdysviiva 33">
              <a:extLst>
                <a:ext uri="{FF2B5EF4-FFF2-40B4-BE49-F238E27FC236}">
                  <a16:creationId xmlns:a16="http://schemas.microsoft.com/office/drawing/2014/main" id="{24DD3725-2B3A-CFD9-FD61-2685D0559383}"/>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5" name="Suora yhdysviiva 34">
              <a:extLst>
                <a:ext uri="{FF2B5EF4-FFF2-40B4-BE49-F238E27FC236}">
                  <a16:creationId xmlns:a16="http://schemas.microsoft.com/office/drawing/2014/main" id="{81E1BF8A-ACA1-0B7C-E902-4CE67E93C775}"/>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6" name="Suora yhdysviiva 35">
              <a:extLst>
                <a:ext uri="{FF2B5EF4-FFF2-40B4-BE49-F238E27FC236}">
                  <a16:creationId xmlns:a16="http://schemas.microsoft.com/office/drawing/2014/main" id="{E464D04B-6439-4D94-1150-11C3200C6642}"/>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7" name="Suora yhdysviiva 36">
              <a:extLst>
                <a:ext uri="{FF2B5EF4-FFF2-40B4-BE49-F238E27FC236}">
                  <a16:creationId xmlns:a16="http://schemas.microsoft.com/office/drawing/2014/main" id="{A3E88FB5-E251-047C-AFBF-4611836D1AD3}"/>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8" name="Suora yhdysviiva 37">
              <a:extLst>
                <a:ext uri="{FF2B5EF4-FFF2-40B4-BE49-F238E27FC236}">
                  <a16:creationId xmlns:a16="http://schemas.microsoft.com/office/drawing/2014/main" id="{A946B4E8-40E2-6D43-4D6F-EA221BD4F76F}"/>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9" name="Suora yhdysviiva 38">
              <a:extLst>
                <a:ext uri="{FF2B5EF4-FFF2-40B4-BE49-F238E27FC236}">
                  <a16:creationId xmlns:a16="http://schemas.microsoft.com/office/drawing/2014/main" id="{20C6BE37-7BDD-058E-B7B2-EA037E938547}"/>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0" name="Suora yhdysviiva 39">
              <a:extLst>
                <a:ext uri="{FF2B5EF4-FFF2-40B4-BE49-F238E27FC236}">
                  <a16:creationId xmlns:a16="http://schemas.microsoft.com/office/drawing/2014/main" id="{F0C2275B-C26A-A6E0-41AC-2A41167E3950}"/>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1" name="Suora yhdysviiva 40">
              <a:extLst>
                <a:ext uri="{FF2B5EF4-FFF2-40B4-BE49-F238E27FC236}">
                  <a16:creationId xmlns:a16="http://schemas.microsoft.com/office/drawing/2014/main" id="{3A3AD603-C1F5-9F41-D46F-E50A1CE27C4F}"/>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2" name="Suora yhdysviiva 41">
              <a:extLst>
                <a:ext uri="{FF2B5EF4-FFF2-40B4-BE49-F238E27FC236}">
                  <a16:creationId xmlns:a16="http://schemas.microsoft.com/office/drawing/2014/main" id="{3D5ACEBE-6928-668B-E3CA-1DDAB3E4409F}"/>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3" name="Suora yhdysviiva 42">
              <a:extLst>
                <a:ext uri="{FF2B5EF4-FFF2-40B4-BE49-F238E27FC236}">
                  <a16:creationId xmlns:a16="http://schemas.microsoft.com/office/drawing/2014/main" id="{70770292-7554-F964-D0DB-1DD2F5EA87FB}"/>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4" name="Suora yhdysviiva 43">
              <a:extLst>
                <a:ext uri="{FF2B5EF4-FFF2-40B4-BE49-F238E27FC236}">
                  <a16:creationId xmlns:a16="http://schemas.microsoft.com/office/drawing/2014/main" id="{C12BB852-05C7-C5FF-2FAE-AD4ED2A64154}"/>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5" name="Suora yhdysviiva 44">
              <a:extLst>
                <a:ext uri="{FF2B5EF4-FFF2-40B4-BE49-F238E27FC236}">
                  <a16:creationId xmlns:a16="http://schemas.microsoft.com/office/drawing/2014/main" id="{ADE948D0-F1A6-28DD-C35E-06733A1FC520}"/>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6" name="Suora yhdysviiva 45">
              <a:extLst>
                <a:ext uri="{FF2B5EF4-FFF2-40B4-BE49-F238E27FC236}">
                  <a16:creationId xmlns:a16="http://schemas.microsoft.com/office/drawing/2014/main" id="{7B7C3628-B6B2-97E5-B195-3C73F0613490}"/>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7" name="Suora yhdysviiva 46">
              <a:extLst>
                <a:ext uri="{FF2B5EF4-FFF2-40B4-BE49-F238E27FC236}">
                  <a16:creationId xmlns:a16="http://schemas.microsoft.com/office/drawing/2014/main" id="{D2E347D2-F4D8-126D-D56E-7F6BED3CAE15}"/>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8" name="Suora yhdysviiva 47">
              <a:extLst>
                <a:ext uri="{FF2B5EF4-FFF2-40B4-BE49-F238E27FC236}">
                  <a16:creationId xmlns:a16="http://schemas.microsoft.com/office/drawing/2014/main" id="{E39351E9-BB35-282A-931E-521359B17CA9}"/>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9" name="Suora yhdysviiva 48">
              <a:extLst>
                <a:ext uri="{FF2B5EF4-FFF2-40B4-BE49-F238E27FC236}">
                  <a16:creationId xmlns:a16="http://schemas.microsoft.com/office/drawing/2014/main" id="{A12005C5-98FD-9D51-EAE1-DD2FF15619C5}"/>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0" name="Suora yhdysviiva 49">
              <a:extLst>
                <a:ext uri="{FF2B5EF4-FFF2-40B4-BE49-F238E27FC236}">
                  <a16:creationId xmlns:a16="http://schemas.microsoft.com/office/drawing/2014/main" id="{B1CD0D43-538E-6098-D848-D103019D0144}"/>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1" name="Suora yhdysviiva 50">
              <a:extLst>
                <a:ext uri="{FF2B5EF4-FFF2-40B4-BE49-F238E27FC236}">
                  <a16:creationId xmlns:a16="http://schemas.microsoft.com/office/drawing/2014/main" id="{B1E30573-A600-1149-8A0C-CCAA962D894F}"/>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2" name="Suora yhdysviiva 51">
              <a:extLst>
                <a:ext uri="{FF2B5EF4-FFF2-40B4-BE49-F238E27FC236}">
                  <a16:creationId xmlns:a16="http://schemas.microsoft.com/office/drawing/2014/main" id="{83F35E4D-DDD5-E8E3-E4DA-B4DDC6889FEA}"/>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3" name="Suora yhdysviiva 52">
              <a:extLst>
                <a:ext uri="{FF2B5EF4-FFF2-40B4-BE49-F238E27FC236}">
                  <a16:creationId xmlns:a16="http://schemas.microsoft.com/office/drawing/2014/main" id="{D61502E7-0FD7-80D2-E2AD-DA63FFDCB3F1}"/>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4" name="Suora yhdysviiva 53">
              <a:extLst>
                <a:ext uri="{FF2B5EF4-FFF2-40B4-BE49-F238E27FC236}">
                  <a16:creationId xmlns:a16="http://schemas.microsoft.com/office/drawing/2014/main" id="{21718077-308A-CDC4-7F87-0ADEC62998CA}"/>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5" name="Suora yhdysviiva 54">
              <a:extLst>
                <a:ext uri="{FF2B5EF4-FFF2-40B4-BE49-F238E27FC236}">
                  <a16:creationId xmlns:a16="http://schemas.microsoft.com/office/drawing/2014/main" id="{5E74837A-1D86-9285-6613-0F1EA206B769}"/>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6" name="Suora yhdysviiva 55">
              <a:extLst>
                <a:ext uri="{FF2B5EF4-FFF2-40B4-BE49-F238E27FC236}">
                  <a16:creationId xmlns:a16="http://schemas.microsoft.com/office/drawing/2014/main" id="{8AA09A73-576A-F376-D25E-4EAF4785B01F}"/>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7" name="Suora yhdysviiva 56">
              <a:extLst>
                <a:ext uri="{FF2B5EF4-FFF2-40B4-BE49-F238E27FC236}">
                  <a16:creationId xmlns:a16="http://schemas.microsoft.com/office/drawing/2014/main" id="{ADF2126D-595A-F98E-2170-61FBF5037AA2}"/>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8" name="Suora yhdysviiva 57">
              <a:extLst>
                <a:ext uri="{FF2B5EF4-FFF2-40B4-BE49-F238E27FC236}">
                  <a16:creationId xmlns:a16="http://schemas.microsoft.com/office/drawing/2014/main" id="{C0414702-8623-B09A-C144-6CF6CAC0E134}"/>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9" name="Suora yhdysviiva 58">
              <a:extLst>
                <a:ext uri="{FF2B5EF4-FFF2-40B4-BE49-F238E27FC236}">
                  <a16:creationId xmlns:a16="http://schemas.microsoft.com/office/drawing/2014/main" id="{DF650605-23EC-2A6F-04F1-C86BAC13A330}"/>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0" name="Suora yhdysviiva 59">
              <a:extLst>
                <a:ext uri="{FF2B5EF4-FFF2-40B4-BE49-F238E27FC236}">
                  <a16:creationId xmlns:a16="http://schemas.microsoft.com/office/drawing/2014/main" id="{79042D83-E350-79A8-0196-894BB7A67A95}"/>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1" name="Suora yhdysviiva 60">
              <a:extLst>
                <a:ext uri="{FF2B5EF4-FFF2-40B4-BE49-F238E27FC236}">
                  <a16:creationId xmlns:a16="http://schemas.microsoft.com/office/drawing/2014/main" id="{DB990AE5-70B8-6840-9BA4-0DEAF5A4B176}"/>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2" name="Suora yhdysviiva 61">
              <a:extLst>
                <a:ext uri="{FF2B5EF4-FFF2-40B4-BE49-F238E27FC236}">
                  <a16:creationId xmlns:a16="http://schemas.microsoft.com/office/drawing/2014/main" id="{B676ADB6-E24D-F812-70A9-B01DE5DAE3B4}"/>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3" name="Suora yhdysviiva 62">
              <a:extLst>
                <a:ext uri="{FF2B5EF4-FFF2-40B4-BE49-F238E27FC236}">
                  <a16:creationId xmlns:a16="http://schemas.microsoft.com/office/drawing/2014/main" id="{5E982D34-68B4-2680-35DC-2CAEED0887F0}"/>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4" name="Suora yhdysviiva 63">
              <a:extLst>
                <a:ext uri="{FF2B5EF4-FFF2-40B4-BE49-F238E27FC236}">
                  <a16:creationId xmlns:a16="http://schemas.microsoft.com/office/drawing/2014/main" id="{F69943DE-44BA-D3AA-884B-E091D13DCE34}"/>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5" name="Suora yhdysviiva 64">
              <a:extLst>
                <a:ext uri="{FF2B5EF4-FFF2-40B4-BE49-F238E27FC236}">
                  <a16:creationId xmlns:a16="http://schemas.microsoft.com/office/drawing/2014/main" id="{A6272D72-85B8-C60D-9C94-2DD686252314}"/>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6" name="Suora yhdysviiva 65">
              <a:extLst>
                <a:ext uri="{FF2B5EF4-FFF2-40B4-BE49-F238E27FC236}">
                  <a16:creationId xmlns:a16="http://schemas.microsoft.com/office/drawing/2014/main" id="{67F34871-2D6C-CDA9-B9C6-012EFBBAFFE6}"/>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7" name="Suora yhdysviiva 66">
              <a:extLst>
                <a:ext uri="{FF2B5EF4-FFF2-40B4-BE49-F238E27FC236}">
                  <a16:creationId xmlns:a16="http://schemas.microsoft.com/office/drawing/2014/main" id="{046F1EA7-5166-550C-52E5-6D77B2612DFD}"/>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8" name="Suora yhdysviiva 67">
              <a:extLst>
                <a:ext uri="{FF2B5EF4-FFF2-40B4-BE49-F238E27FC236}">
                  <a16:creationId xmlns:a16="http://schemas.microsoft.com/office/drawing/2014/main" id="{4C860935-038F-5B78-EE99-AF7BCC1491E9}"/>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9" name="Suora yhdysviiva 68">
              <a:extLst>
                <a:ext uri="{FF2B5EF4-FFF2-40B4-BE49-F238E27FC236}">
                  <a16:creationId xmlns:a16="http://schemas.microsoft.com/office/drawing/2014/main" id="{DAEA3120-2395-61C4-2DCA-3128F728EB7D}"/>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0" name="Suora yhdysviiva 69">
              <a:extLst>
                <a:ext uri="{FF2B5EF4-FFF2-40B4-BE49-F238E27FC236}">
                  <a16:creationId xmlns:a16="http://schemas.microsoft.com/office/drawing/2014/main" id="{AD4A96CC-680B-D928-0077-875C2B0FE87D}"/>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1" name="Suora yhdysviiva 70">
              <a:extLst>
                <a:ext uri="{FF2B5EF4-FFF2-40B4-BE49-F238E27FC236}">
                  <a16:creationId xmlns:a16="http://schemas.microsoft.com/office/drawing/2014/main" id="{0DD60E0D-8F32-5CEE-0464-CBE8DEE7A064}"/>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2" name="Suora yhdysviiva 71">
              <a:extLst>
                <a:ext uri="{FF2B5EF4-FFF2-40B4-BE49-F238E27FC236}">
                  <a16:creationId xmlns:a16="http://schemas.microsoft.com/office/drawing/2014/main" id="{04A4119C-4314-1220-C0FD-DF4EEB197C14}"/>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3" name="Suora yhdysviiva 72">
              <a:extLst>
                <a:ext uri="{FF2B5EF4-FFF2-40B4-BE49-F238E27FC236}">
                  <a16:creationId xmlns:a16="http://schemas.microsoft.com/office/drawing/2014/main" id="{4056AEB9-42E2-2E69-80A8-BCE839124A42}"/>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4" name="Suora yhdysviiva 73">
              <a:extLst>
                <a:ext uri="{FF2B5EF4-FFF2-40B4-BE49-F238E27FC236}">
                  <a16:creationId xmlns:a16="http://schemas.microsoft.com/office/drawing/2014/main" id="{39C9FFDC-0ECF-DE8D-1DCA-DA29CCFBFBC2}"/>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5" name="Suora yhdysviiva 74">
              <a:extLst>
                <a:ext uri="{FF2B5EF4-FFF2-40B4-BE49-F238E27FC236}">
                  <a16:creationId xmlns:a16="http://schemas.microsoft.com/office/drawing/2014/main" id="{7CB7F0CD-2BCB-4C95-DEC6-54669FE19C26}"/>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6" name="Suora yhdysviiva 75">
              <a:extLst>
                <a:ext uri="{FF2B5EF4-FFF2-40B4-BE49-F238E27FC236}">
                  <a16:creationId xmlns:a16="http://schemas.microsoft.com/office/drawing/2014/main" id="{825143AA-6EF3-28D8-22B6-89291AB07B59}"/>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7" name="Suora yhdysviiva 76">
              <a:extLst>
                <a:ext uri="{FF2B5EF4-FFF2-40B4-BE49-F238E27FC236}">
                  <a16:creationId xmlns:a16="http://schemas.microsoft.com/office/drawing/2014/main" id="{1DAACE7A-C4E9-922E-8800-8A38516F00CB}"/>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8" name="Suora yhdysviiva 77">
              <a:extLst>
                <a:ext uri="{FF2B5EF4-FFF2-40B4-BE49-F238E27FC236}">
                  <a16:creationId xmlns:a16="http://schemas.microsoft.com/office/drawing/2014/main" id="{A21047CC-1B8B-5EA5-C03A-FABBE0B7451A}"/>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9" name="Suora yhdysviiva 78">
              <a:extLst>
                <a:ext uri="{FF2B5EF4-FFF2-40B4-BE49-F238E27FC236}">
                  <a16:creationId xmlns:a16="http://schemas.microsoft.com/office/drawing/2014/main" id="{3125D1F3-98D6-D5EC-48EB-66C8184D0AB9}"/>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0" name="Suora yhdysviiva 79">
              <a:extLst>
                <a:ext uri="{FF2B5EF4-FFF2-40B4-BE49-F238E27FC236}">
                  <a16:creationId xmlns:a16="http://schemas.microsoft.com/office/drawing/2014/main" id="{5DBCF936-4252-BC75-0127-CDC39330AA5A}"/>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1" name="Suora yhdysviiva 80">
              <a:extLst>
                <a:ext uri="{FF2B5EF4-FFF2-40B4-BE49-F238E27FC236}">
                  <a16:creationId xmlns:a16="http://schemas.microsoft.com/office/drawing/2014/main" id="{9076FAE5-25C8-D5E1-D8D6-4F604E765DF3}"/>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2" name="Suora yhdysviiva 81">
              <a:extLst>
                <a:ext uri="{FF2B5EF4-FFF2-40B4-BE49-F238E27FC236}">
                  <a16:creationId xmlns:a16="http://schemas.microsoft.com/office/drawing/2014/main" id="{6A4AF0F1-07DC-3F15-730D-10257D311CBD}"/>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3" name="Suora yhdysviiva 82">
              <a:extLst>
                <a:ext uri="{FF2B5EF4-FFF2-40B4-BE49-F238E27FC236}">
                  <a16:creationId xmlns:a16="http://schemas.microsoft.com/office/drawing/2014/main" id="{6E34332A-AADD-42EF-B2FC-702491845F77}"/>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4" name="Suora yhdysviiva 83">
              <a:extLst>
                <a:ext uri="{FF2B5EF4-FFF2-40B4-BE49-F238E27FC236}">
                  <a16:creationId xmlns:a16="http://schemas.microsoft.com/office/drawing/2014/main" id="{0E29E95A-4817-0DFD-EF98-4E7F999E5FD2}"/>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5" name="Suora yhdysviiva 84">
              <a:extLst>
                <a:ext uri="{FF2B5EF4-FFF2-40B4-BE49-F238E27FC236}">
                  <a16:creationId xmlns:a16="http://schemas.microsoft.com/office/drawing/2014/main" id="{CA820198-89B1-9C58-A77A-80FB008CC49C}"/>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grpSp>
        <p:nvGrpSpPr>
          <p:cNvPr id="86" name="Ryhmä 85">
            <a:extLst>
              <a:ext uri="{FF2B5EF4-FFF2-40B4-BE49-F238E27FC236}">
                <a16:creationId xmlns:a16="http://schemas.microsoft.com/office/drawing/2014/main" id="{47203284-4C6A-726F-471C-233DC654C431}"/>
              </a:ext>
            </a:extLst>
          </p:cNvPr>
          <p:cNvGrpSpPr/>
          <p:nvPr/>
        </p:nvGrpSpPr>
        <p:grpSpPr>
          <a:xfrm>
            <a:off x="2443988" y="2905874"/>
            <a:ext cx="8861479" cy="2983345"/>
            <a:chOff x="341745" y="2179782"/>
            <a:chExt cx="8861479" cy="2983345"/>
          </a:xfrm>
        </p:grpSpPr>
        <p:cxnSp>
          <p:nvCxnSpPr>
            <p:cNvPr id="87" name="Suora yhdysviiva 86">
              <a:extLst>
                <a:ext uri="{FF2B5EF4-FFF2-40B4-BE49-F238E27FC236}">
                  <a16:creationId xmlns:a16="http://schemas.microsoft.com/office/drawing/2014/main" id="{8FEDAC39-3931-AAD0-1348-11826CC792C5}"/>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88" name="Suora yhdysviiva 87">
              <a:extLst>
                <a:ext uri="{FF2B5EF4-FFF2-40B4-BE49-F238E27FC236}">
                  <a16:creationId xmlns:a16="http://schemas.microsoft.com/office/drawing/2014/main" id="{C7DF80B8-AA16-9798-C929-40D62F5F4620}"/>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9" name="Suora yhdysviiva 88">
              <a:extLst>
                <a:ext uri="{FF2B5EF4-FFF2-40B4-BE49-F238E27FC236}">
                  <a16:creationId xmlns:a16="http://schemas.microsoft.com/office/drawing/2014/main" id="{F91B81BB-F75A-18F7-4CA6-75BCECDED6B5}"/>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0" name="Suora yhdysviiva 89">
              <a:extLst>
                <a:ext uri="{FF2B5EF4-FFF2-40B4-BE49-F238E27FC236}">
                  <a16:creationId xmlns:a16="http://schemas.microsoft.com/office/drawing/2014/main" id="{697F18BA-9BE4-E172-7EC6-DE74F0511793}"/>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1" name="Suora yhdysviiva 90">
              <a:extLst>
                <a:ext uri="{FF2B5EF4-FFF2-40B4-BE49-F238E27FC236}">
                  <a16:creationId xmlns:a16="http://schemas.microsoft.com/office/drawing/2014/main" id="{02A926D4-F99C-4A7E-AB99-D58521845F40}"/>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2" name="Suora yhdysviiva 91">
              <a:extLst>
                <a:ext uri="{FF2B5EF4-FFF2-40B4-BE49-F238E27FC236}">
                  <a16:creationId xmlns:a16="http://schemas.microsoft.com/office/drawing/2014/main" id="{776F6C4D-27A2-E7EF-F930-57C6FE059210}"/>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3" name="Suora yhdysviiva 92">
              <a:extLst>
                <a:ext uri="{FF2B5EF4-FFF2-40B4-BE49-F238E27FC236}">
                  <a16:creationId xmlns:a16="http://schemas.microsoft.com/office/drawing/2014/main" id="{C4ED45A7-F8D0-A390-75CF-B0F8ED40690D}"/>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4" name="Suora yhdysviiva 93">
              <a:extLst>
                <a:ext uri="{FF2B5EF4-FFF2-40B4-BE49-F238E27FC236}">
                  <a16:creationId xmlns:a16="http://schemas.microsoft.com/office/drawing/2014/main" id="{5342A467-00A3-6E98-5399-6AA36EA62206}"/>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5" name="Suora yhdysviiva 94">
              <a:extLst>
                <a:ext uri="{FF2B5EF4-FFF2-40B4-BE49-F238E27FC236}">
                  <a16:creationId xmlns:a16="http://schemas.microsoft.com/office/drawing/2014/main" id="{B7F38597-DDA8-ADAF-09BA-9C8ABBBACD13}"/>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6" name="Suora yhdysviiva 95">
              <a:extLst>
                <a:ext uri="{FF2B5EF4-FFF2-40B4-BE49-F238E27FC236}">
                  <a16:creationId xmlns:a16="http://schemas.microsoft.com/office/drawing/2014/main" id="{9F72C2F6-C025-F57B-768F-36C2D90072CC}"/>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7" name="Suora yhdysviiva 96">
              <a:extLst>
                <a:ext uri="{FF2B5EF4-FFF2-40B4-BE49-F238E27FC236}">
                  <a16:creationId xmlns:a16="http://schemas.microsoft.com/office/drawing/2014/main" id="{5A5E49A9-AE17-F74E-ADA0-2270F6FB0573}"/>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8" name="Suora yhdysviiva 97">
              <a:extLst>
                <a:ext uri="{FF2B5EF4-FFF2-40B4-BE49-F238E27FC236}">
                  <a16:creationId xmlns:a16="http://schemas.microsoft.com/office/drawing/2014/main" id="{C9792CDC-9EF4-8792-E253-E78845011192}"/>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9" name="Suora yhdysviiva 98">
              <a:extLst>
                <a:ext uri="{FF2B5EF4-FFF2-40B4-BE49-F238E27FC236}">
                  <a16:creationId xmlns:a16="http://schemas.microsoft.com/office/drawing/2014/main" id="{AA1550CE-E570-1739-D060-9B4F2AC284F5}"/>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0" name="Suora yhdysviiva 99">
              <a:extLst>
                <a:ext uri="{FF2B5EF4-FFF2-40B4-BE49-F238E27FC236}">
                  <a16:creationId xmlns:a16="http://schemas.microsoft.com/office/drawing/2014/main" id="{A624AA8E-8B75-5344-A90B-767D2B8C28FD}"/>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1" name="Suora yhdysviiva 100">
              <a:extLst>
                <a:ext uri="{FF2B5EF4-FFF2-40B4-BE49-F238E27FC236}">
                  <a16:creationId xmlns:a16="http://schemas.microsoft.com/office/drawing/2014/main" id="{2B929193-2AE0-102A-151A-F5F9D4040630}"/>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2" name="Suora yhdysviiva 101">
              <a:extLst>
                <a:ext uri="{FF2B5EF4-FFF2-40B4-BE49-F238E27FC236}">
                  <a16:creationId xmlns:a16="http://schemas.microsoft.com/office/drawing/2014/main" id="{CBC90686-2DCE-CD2A-4D0F-519F883D864A}"/>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3" name="Suora yhdysviiva 102">
              <a:extLst>
                <a:ext uri="{FF2B5EF4-FFF2-40B4-BE49-F238E27FC236}">
                  <a16:creationId xmlns:a16="http://schemas.microsoft.com/office/drawing/2014/main" id="{9B2E4789-76AC-2FF6-7474-077525EEC951}"/>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4" name="Suora yhdysviiva 103">
              <a:extLst>
                <a:ext uri="{FF2B5EF4-FFF2-40B4-BE49-F238E27FC236}">
                  <a16:creationId xmlns:a16="http://schemas.microsoft.com/office/drawing/2014/main" id="{DD4717BA-83E6-5D5A-511D-F9FDA56E18E5}"/>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5" name="Suora yhdysviiva 104">
              <a:extLst>
                <a:ext uri="{FF2B5EF4-FFF2-40B4-BE49-F238E27FC236}">
                  <a16:creationId xmlns:a16="http://schemas.microsoft.com/office/drawing/2014/main" id="{D8E6004D-D263-682E-46E2-BC975B74FB9F}"/>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6" name="Suora yhdysviiva 105">
              <a:extLst>
                <a:ext uri="{FF2B5EF4-FFF2-40B4-BE49-F238E27FC236}">
                  <a16:creationId xmlns:a16="http://schemas.microsoft.com/office/drawing/2014/main" id="{90CD19EC-B0C7-FCD0-2909-F38AE1E5870B}"/>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7" name="Suora yhdysviiva 106">
              <a:extLst>
                <a:ext uri="{FF2B5EF4-FFF2-40B4-BE49-F238E27FC236}">
                  <a16:creationId xmlns:a16="http://schemas.microsoft.com/office/drawing/2014/main" id="{B32ABD89-136E-91A2-4492-61C098810738}"/>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8" name="Suora yhdysviiva 107">
              <a:extLst>
                <a:ext uri="{FF2B5EF4-FFF2-40B4-BE49-F238E27FC236}">
                  <a16:creationId xmlns:a16="http://schemas.microsoft.com/office/drawing/2014/main" id="{65E2C338-DC70-543F-627F-05EFC2AF6120}"/>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9" name="Suora yhdysviiva 108">
              <a:extLst>
                <a:ext uri="{FF2B5EF4-FFF2-40B4-BE49-F238E27FC236}">
                  <a16:creationId xmlns:a16="http://schemas.microsoft.com/office/drawing/2014/main" id="{A6353184-017D-7FE1-2B70-357622026D3A}"/>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0" name="Suora yhdysviiva 109">
              <a:extLst>
                <a:ext uri="{FF2B5EF4-FFF2-40B4-BE49-F238E27FC236}">
                  <a16:creationId xmlns:a16="http://schemas.microsoft.com/office/drawing/2014/main" id="{A7CF5639-31EB-E1BC-55BD-0E72595039D1}"/>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1" name="Suora yhdysviiva 110">
              <a:extLst>
                <a:ext uri="{FF2B5EF4-FFF2-40B4-BE49-F238E27FC236}">
                  <a16:creationId xmlns:a16="http://schemas.microsoft.com/office/drawing/2014/main" id="{02596759-357C-FFEE-3A14-1CD353A37427}"/>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2" name="Suora yhdysviiva 111">
              <a:extLst>
                <a:ext uri="{FF2B5EF4-FFF2-40B4-BE49-F238E27FC236}">
                  <a16:creationId xmlns:a16="http://schemas.microsoft.com/office/drawing/2014/main" id="{08E910B1-F3CF-24D2-7787-BA01986B5FFB}"/>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3" name="Suora yhdysviiva 112">
              <a:extLst>
                <a:ext uri="{FF2B5EF4-FFF2-40B4-BE49-F238E27FC236}">
                  <a16:creationId xmlns:a16="http://schemas.microsoft.com/office/drawing/2014/main" id="{34454249-877B-5832-CC46-54133F250B40}"/>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4" name="Suora yhdysviiva 113">
              <a:extLst>
                <a:ext uri="{FF2B5EF4-FFF2-40B4-BE49-F238E27FC236}">
                  <a16:creationId xmlns:a16="http://schemas.microsoft.com/office/drawing/2014/main" id="{C4F39ECA-86C5-CE1D-732F-F4071CD8B3FB}"/>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5" name="Suora yhdysviiva 114">
              <a:extLst>
                <a:ext uri="{FF2B5EF4-FFF2-40B4-BE49-F238E27FC236}">
                  <a16:creationId xmlns:a16="http://schemas.microsoft.com/office/drawing/2014/main" id="{71378980-5B63-59D5-ED01-2AB37417C26F}"/>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6" name="Suora yhdysviiva 115">
              <a:extLst>
                <a:ext uri="{FF2B5EF4-FFF2-40B4-BE49-F238E27FC236}">
                  <a16:creationId xmlns:a16="http://schemas.microsoft.com/office/drawing/2014/main" id="{39DAE64C-92FB-D177-DEBC-EF77261BCEDD}"/>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7" name="Suora yhdysviiva 116">
              <a:extLst>
                <a:ext uri="{FF2B5EF4-FFF2-40B4-BE49-F238E27FC236}">
                  <a16:creationId xmlns:a16="http://schemas.microsoft.com/office/drawing/2014/main" id="{7C7B3BA4-0AED-BF10-A816-14157A69F5B8}"/>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8" name="Suora yhdysviiva 117">
              <a:extLst>
                <a:ext uri="{FF2B5EF4-FFF2-40B4-BE49-F238E27FC236}">
                  <a16:creationId xmlns:a16="http://schemas.microsoft.com/office/drawing/2014/main" id="{F03ACDC3-D7CA-5561-B24E-FAB58F6936ED}"/>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9" name="Suora yhdysviiva 118">
              <a:extLst>
                <a:ext uri="{FF2B5EF4-FFF2-40B4-BE49-F238E27FC236}">
                  <a16:creationId xmlns:a16="http://schemas.microsoft.com/office/drawing/2014/main" id="{0F6914D1-3D7E-5D2F-02E1-DE82FB53F14C}"/>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0" name="Suora yhdysviiva 119">
              <a:extLst>
                <a:ext uri="{FF2B5EF4-FFF2-40B4-BE49-F238E27FC236}">
                  <a16:creationId xmlns:a16="http://schemas.microsoft.com/office/drawing/2014/main" id="{DA7C1710-46B7-CA73-B89C-EA4BA16C06EA}"/>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1" name="Suora yhdysviiva 120">
              <a:extLst>
                <a:ext uri="{FF2B5EF4-FFF2-40B4-BE49-F238E27FC236}">
                  <a16:creationId xmlns:a16="http://schemas.microsoft.com/office/drawing/2014/main" id="{758EC745-CE67-5B26-8F79-9FA703F089E5}"/>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2" name="Suora yhdysviiva 121">
              <a:extLst>
                <a:ext uri="{FF2B5EF4-FFF2-40B4-BE49-F238E27FC236}">
                  <a16:creationId xmlns:a16="http://schemas.microsoft.com/office/drawing/2014/main" id="{317C94A4-85B3-29E8-358D-0E276E08F8B8}"/>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3" name="Suora yhdysviiva 122">
              <a:extLst>
                <a:ext uri="{FF2B5EF4-FFF2-40B4-BE49-F238E27FC236}">
                  <a16:creationId xmlns:a16="http://schemas.microsoft.com/office/drawing/2014/main" id="{D8E93F65-631B-E89E-F496-512C47686C3E}"/>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4" name="Suora yhdysviiva 123">
              <a:extLst>
                <a:ext uri="{FF2B5EF4-FFF2-40B4-BE49-F238E27FC236}">
                  <a16:creationId xmlns:a16="http://schemas.microsoft.com/office/drawing/2014/main" id="{2C1150DE-42DD-1198-7377-9C85B2D14F65}"/>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5" name="Suora yhdysviiva 124">
              <a:extLst>
                <a:ext uri="{FF2B5EF4-FFF2-40B4-BE49-F238E27FC236}">
                  <a16:creationId xmlns:a16="http://schemas.microsoft.com/office/drawing/2014/main" id="{924C798F-2A0A-1A9C-C69A-1E1D8D5E5269}"/>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6" name="Suora yhdysviiva 125">
              <a:extLst>
                <a:ext uri="{FF2B5EF4-FFF2-40B4-BE49-F238E27FC236}">
                  <a16:creationId xmlns:a16="http://schemas.microsoft.com/office/drawing/2014/main" id="{838CB6C3-A757-7782-EDF0-80D2FBF86D00}"/>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7" name="Suora yhdysviiva 126">
              <a:extLst>
                <a:ext uri="{FF2B5EF4-FFF2-40B4-BE49-F238E27FC236}">
                  <a16:creationId xmlns:a16="http://schemas.microsoft.com/office/drawing/2014/main" id="{033AF37B-BAC3-E91A-F179-1862604F0F36}"/>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8" name="Suora yhdysviiva 127">
              <a:extLst>
                <a:ext uri="{FF2B5EF4-FFF2-40B4-BE49-F238E27FC236}">
                  <a16:creationId xmlns:a16="http://schemas.microsoft.com/office/drawing/2014/main" id="{4E6D80AC-4C8C-6307-8186-14BC5BC05698}"/>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9" name="Suora yhdysviiva 128">
              <a:extLst>
                <a:ext uri="{FF2B5EF4-FFF2-40B4-BE49-F238E27FC236}">
                  <a16:creationId xmlns:a16="http://schemas.microsoft.com/office/drawing/2014/main" id="{60857CD9-606A-DDD9-A763-9064944A253B}"/>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0" name="Suora yhdysviiva 129">
              <a:extLst>
                <a:ext uri="{FF2B5EF4-FFF2-40B4-BE49-F238E27FC236}">
                  <a16:creationId xmlns:a16="http://schemas.microsoft.com/office/drawing/2014/main" id="{591E38D1-BFFD-C29F-9255-0B126A016944}"/>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1" name="Suora yhdysviiva 130">
              <a:extLst>
                <a:ext uri="{FF2B5EF4-FFF2-40B4-BE49-F238E27FC236}">
                  <a16:creationId xmlns:a16="http://schemas.microsoft.com/office/drawing/2014/main" id="{EDE98AA6-33F3-D9DA-0C7A-BC798A747458}"/>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2" name="Suora yhdysviiva 131">
              <a:extLst>
                <a:ext uri="{FF2B5EF4-FFF2-40B4-BE49-F238E27FC236}">
                  <a16:creationId xmlns:a16="http://schemas.microsoft.com/office/drawing/2014/main" id="{732C1B8A-4952-0CEA-0DC3-6580A95683B5}"/>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3" name="Suora yhdysviiva 132">
              <a:extLst>
                <a:ext uri="{FF2B5EF4-FFF2-40B4-BE49-F238E27FC236}">
                  <a16:creationId xmlns:a16="http://schemas.microsoft.com/office/drawing/2014/main" id="{F8614E78-4E77-08AE-2EF2-A7AAAD2BC7F3}"/>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4" name="Suora yhdysviiva 133">
              <a:extLst>
                <a:ext uri="{FF2B5EF4-FFF2-40B4-BE49-F238E27FC236}">
                  <a16:creationId xmlns:a16="http://schemas.microsoft.com/office/drawing/2014/main" id="{76D2C8AB-ABFD-CBB1-9D20-F3F8CC8E4A58}"/>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5" name="Suora yhdysviiva 134">
              <a:extLst>
                <a:ext uri="{FF2B5EF4-FFF2-40B4-BE49-F238E27FC236}">
                  <a16:creationId xmlns:a16="http://schemas.microsoft.com/office/drawing/2014/main" id="{7EC708F7-805A-A1AF-E4DB-EB968F3B791C}"/>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6" name="Suora yhdysviiva 135">
              <a:extLst>
                <a:ext uri="{FF2B5EF4-FFF2-40B4-BE49-F238E27FC236}">
                  <a16:creationId xmlns:a16="http://schemas.microsoft.com/office/drawing/2014/main" id="{375677A9-17E9-BDCA-ECB4-DAD343995FA5}"/>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7" name="Suora yhdysviiva 136">
              <a:extLst>
                <a:ext uri="{FF2B5EF4-FFF2-40B4-BE49-F238E27FC236}">
                  <a16:creationId xmlns:a16="http://schemas.microsoft.com/office/drawing/2014/main" id="{077C33B9-FEF9-97A6-CEEE-07E38F91646E}"/>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8" name="Suora yhdysviiva 137">
              <a:extLst>
                <a:ext uri="{FF2B5EF4-FFF2-40B4-BE49-F238E27FC236}">
                  <a16:creationId xmlns:a16="http://schemas.microsoft.com/office/drawing/2014/main" id="{20FE3566-4520-3ED0-C18C-11F0E48EBEA2}"/>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9" name="Suora yhdysviiva 138">
              <a:extLst>
                <a:ext uri="{FF2B5EF4-FFF2-40B4-BE49-F238E27FC236}">
                  <a16:creationId xmlns:a16="http://schemas.microsoft.com/office/drawing/2014/main" id="{9300B4FE-1A3C-B492-2DBB-98C6920C6CC1}"/>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0" name="Suora yhdysviiva 139">
              <a:extLst>
                <a:ext uri="{FF2B5EF4-FFF2-40B4-BE49-F238E27FC236}">
                  <a16:creationId xmlns:a16="http://schemas.microsoft.com/office/drawing/2014/main" id="{C4ECC3C8-9303-AFB4-ED3B-A8B10076415D}"/>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1" name="Suora yhdysviiva 140">
              <a:extLst>
                <a:ext uri="{FF2B5EF4-FFF2-40B4-BE49-F238E27FC236}">
                  <a16:creationId xmlns:a16="http://schemas.microsoft.com/office/drawing/2014/main" id="{DA436F06-9986-B25E-4326-4CF94AA6EDDC}"/>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2" name="Suora yhdysviiva 141">
              <a:extLst>
                <a:ext uri="{FF2B5EF4-FFF2-40B4-BE49-F238E27FC236}">
                  <a16:creationId xmlns:a16="http://schemas.microsoft.com/office/drawing/2014/main" id="{9FEB0A04-D542-3DD2-5BE4-513D49B25F03}"/>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3" name="Suora yhdysviiva 142">
              <a:extLst>
                <a:ext uri="{FF2B5EF4-FFF2-40B4-BE49-F238E27FC236}">
                  <a16:creationId xmlns:a16="http://schemas.microsoft.com/office/drawing/2014/main" id="{4228951B-FFDB-67A0-0646-18F4E58E7E09}"/>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4" name="Suora yhdysviiva 143">
              <a:extLst>
                <a:ext uri="{FF2B5EF4-FFF2-40B4-BE49-F238E27FC236}">
                  <a16:creationId xmlns:a16="http://schemas.microsoft.com/office/drawing/2014/main" id="{346741A0-0958-75BC-7B73-3E1802377065}"/>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5" name="Suora yhdysviiva 144">
              <a:extLst>
                <a:ext uri="{FF2B5EF4-FFF2-40B4-BE49-F238E27FC236}">
                  <a16:creationId xmlns:a16="http://schemas.microsoft.com/office/drawing/2014/main" id="{18B503DC-F354-FA7B-D593-E946083D9F8B}"/>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6" name="Suora yhdysviiva 145">
              <a:extLst>
                <a:ext uri="{FF2B5EF4-FFF2-40B4-BE49-F238E27FC236}">
                  <a16:creationId xmlns:a16="http://schemas.microsoft.com/office/drawing/2014/main" id="{1C7812EA-7CE6-C5E8-A8D4-69E4AA0B333C}"/>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7" name="Suora yhdysviiva 146">
              <a:extLst>
                <a:ext uri="{FF2B5EF4-FFF2-40B4-BE49-F238E27FC236}">
                  <a16:creationId xmlns:a16="http://schemas.microsoft.com/office/drawing/2014/main" id="{6F86BF94-8315-6062-47FD-957432B9D661}"/>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8" name="Suora yhdysviiva 147">
              <a:extLst>
                <a:ext uri="{FF2B5EF4-FFF2-40B4-BE49-F238E27FC236}">
                  <a16:creationId xmlns:a16="http://schemas.microsoft.com/office/drawing/2014/main" id="{253A924C-930A-29DE-E6B4-8A5D2FC431EA}"/>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9" name="Suora yhdysviiva 148">
              <a:extLst>
                <a:ext uri="{FF2B5EF4-FFF2-40B4-BE49-F238E27FC236}">
                  <a16:creationId xmlns:a16="http://schemas.microsoft.com/office/drawing/2014/main" id="{00BCB6B7-4F53-BCAB-8F48-92DD584F4448}"/>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0" name="Suora yhdysviiva 149">
              <a:extLst>
                <a:ext uri="{FF2B5EF4-FFF2-40B4-BE49-F238E27FC236}">
                  <a16:creationId xmlns:a16="http://schemas.microsoft.com/office/drawing/2014/main" id="{87CD31FC-654E-2445-B398-322CD5AB881E}"/>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1" name="Suora yhdysviiva 150">
              <a:extLst>
                <a:ext uri="{FF2B5EF4-FFF2-40B4-BE49-F238E27FC236}">
                  <a16:creationId xmlns:a16="http://schemas.microsoft.com/office/drawing/2014/main" id="{31F42F65-288A-8017-A678-3B38BEC44617}"/>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2" name="Suora yhdysviiva 151">
              <a:extLst>
                <a:ext uri="{FF2B5EF4-FFF2-40B4-BE49-F238E27FC236}">
                  <a16:creationId xmlns:a16="http://schemas.microsoft.com/office/drawing/2014/main" id="{B2F0429B-04B6-6F7C-D960-F96C036005E0}"/>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3" name="Suora yhdysviiva 152">
              <a:extLst>
                <a:ext uri="{FF2B5EF4-FFF2-40B4-BE49-F238E27FC236}">
                  <a16:creationId xmlns:a16="http://schemas.microsoft.com/office/drawing/2014/main" id="{83EBAC78-78BD-E6EE-38B9-BB9A3A59C22E}"/>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4" name="Suora yhdysviiva 153">
              <a:extLst>
                <a:ext uri="{FF2B5EF4-FFF2-40B4-BE49-F238E27FC236}">
                  <a16:creationId xmlns:a16="http://schemas.microsoft.com/office/drawing/2014/main" id="{38C88885-F3BE-FA42-AF1F-C806B7751EBE}"/>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5" name="Suora yhdysviiva 154">
              <a:extLst>
                <a:ext uri="{FF2B5EF4-FFF2-40B4-BE49-F238E27FC236}">
                  <a16:creationId xmlns:a16="http://schemas.microsoft.com/office/drawing/2014/main" id="{E6ED4D5D-4227-1CD8-4A93-85641A41B022}"/>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6" name="Suora yhdysviiva 155">
              <a:extLst>
                <a:ext uri="{FF2B5EF4-FFF2-40B4-BE49-F238E27FC236}">
                  <a16:creationId xmlns:a16="http://schemas.microsoft.com/office/drawing/2014/main" id="{8AC9465E-EF36-ADEC-039A-EFDAC90338C3}"/>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7" name="Suora yhdysviiva 156">
              <a:extLst>
                <a:ext uri="{FF2B5EF4-FFF2-40B4-BE49-F238E27FC236}">
                  <a16:creationId xmlns:a16="http://schemas.microsoft.com/office/drawing/2014/main" id="{0ADFEB20-FE4E-1F9C-74E5-FCF09AD1E1CF}"/>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8" name="Suora yhdysviiva 157">
              <a:extLst>
                <a:ext uri="{FF2B5EF4-FFF2-40B4-BE49-F238E27FC236}">
                  <a16:creationId xmlns:a16="http://schemas.microsoft.com/office/drawing/2014/main" id="{7AB32610-BA74-47F2-3808-BD4FF15383CD}"/>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9" name="Suora yhdysviiva 158">
              <a:extLst>
                <a:ext uri="{FF2B5EF4-FFF2-40B4-BE49-F238E27FC236}">
                  <a16:creationId xmlns:a16="http://schemas.microsoft.com/office/drawing/2014/main" id="{1FF62D6B-0C20-2544-85A5-FF7E3022A5EB}"/>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0" name="Suora yhdysviiva 159">
              <a:extLst>
                <a:ext uri="{FF2B5EF4-FFF2-40B4-BE49-F238E27FC236}">
                  <a16:creationId xmlns:a16="http://schemas.microsoft.com/office/drawing/2014/main" id="{4125E9AE-5252-DA37-6920-7178826C22DF}"/>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1" name="Suora yhdysviiva 160">
              <a:extLst>
                <a:ext uri="{FF2B5EF4-FFF2-40B4-BE49-F238E27FC236}">
                  <a16:creationId xmlns:a16="http://schemas.microsoft.com/office/drawing/2014/main" id="{E319F08E-C896-AC50-65B5-D607C7C148BE}"/>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2" name="Suora yhdysviiva 161">
              <a:extLst>
                <a:ext uri="{FF2B5EF4-FFF2-40B4-BE49-F238E27FC236}">
                  <a16:creationId xmlns:a16="http://schemas.microsoft.com/office/drawing/2014/main" id="{D182ED57-8F1A-1C16-3EAA-7FB6C9BB3853}"/>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sp>
        <p:nvSpPr>
          <p:cNvPr id="163" name="Tekstiruutu 162">
            <a:extLst>
              <a:ext uri="{FF2B5EF4-FFF2-40B4-BE49-F238E27FC236}">
                <a16:creationId xmlns:a16="http://schemas.microsoft.com/office/drawing/2014/main" id="{523D196B-E4A0-CE67-4120-AFB8B40B4093}"/>
              </a:ext>
            </a:extLst>
          </p:cNvPr>
          <p:cNvSpPr txBox="1"/>
          <p:nvPr/>
        </p:nvSpPr>
        <p:spPr>
          <a:xfrm rot="20439951">
            <a:off x="8318497" y="3559677"/>
            <a:ext cx="3289683" cy="369332"/>
          </a:xfrm>
          <a:prstGeom prst="rect">
            <a:avLst/>
          </a:prstGeom>
          <a:noFill/>
        </p:spPr>
        <p:txBody>
          <a:bodyPr wrap="none" rtlCol="0">
            <a:spAutoFit/>
          </a:bodyPr>
          <a:lstStyle/>
          <a:p>
            <a:r>
              <a:rPr lang="fi-FI" dirty="0"/>
              <a:t>Maanalainen asemakaava</a:t>
            </a:r>
          </a:p>
        </p:txBody>
      </p:sp>
      <p:sp>
        <p:nvSpPr>
          <p:cNvPr id="164" name="Tekstiruutu 163">
            <a:extLst>
              <a:ext uri="{FF2B5EF4-FFF2-40B4-BE49-F238E27FC236}">
                <a16:creationId xmlns:a16="http://schemas.microsoft.com/office/drawing/2014/main" id="{3A17720E-FFA0-4A73-AF1F-7673FD5CF4BD}"/>
              </a:ext>
            </a:extLst>
          </p:cNvPr>
          <p:cNvSpPr txBox="1"/>
          <p:nvPr/>
        </p:nvSpPr>
        <p:spPr>
          <a:xfrm rot="20439951">
            <a:off x="-25539" y="2095669"/>
            <a:ext cx="3501280" cy="369332"/>
          </a:xfrm>
          <a:prstGeom prst="rect">
            <a:avLst/>
          </a:prstGeom>
          <a:noFill/>
        </p:spPr>
        <p:txBody>
          <a:bodyPr wrap="none" rtlCol="0">
            <a:spAutoFit/>
          </a:bodyPr>
          <a:lstStyle/>
          <a:p>
            <a:r>
              <a:rPr lang="fi-FI" dirty="0"/>
              <a:t>Maanpäällinen asemakaava</a:t>
            </a:r>
          </a:p>
        </p:txBody>
      </p:sp>
      <p:sp>
        <p:nvSpPr>
          <p:cNvPr id="166" name="Vapaamuotoinen: Muoto 165">
            <a:extLst>
              <a:ext uri="{FF2B5EF4-FFF2-40B4-BE49-F238E27FC236}">
                <a16:creationId xmlns:a16="http://schemas.microsoft.com/office/drawing/2014/main" id="{3067FAD4-1934-97C6-AB88-3467D88D43F3}"/>
              </a:ext>
            </a:extLst>
          </p:cNvPr>
          <p:cNvSpPr/>
          <p:nvPr/>
        </p:nvSpPr>
        <p:spPr>
          <a:xfrm>
            <a:off x="5213907" y="2974477"/>
            <a:ext cx="785444" cy="1493868"/>
          </a:xfrm>
          <a:custGeom>
            <a:avLst/>
            <a:gdLst>
              <a:gd name="csX0" fmla="*/ 0 w 728662"/>
              <a:gd name="csY0" fmla="*/ 0 h 1695450"/>
              <a:gd name="csX1" fmla="*/ 0 w 728662"/>
              <a:gd name="csY1" fmla="*/ 1533525 h 1695450"/>
              <a:gd name="csX2" fmla="*/ 247650 w 728662"/>
              <a:gd name="csY2" fmla="*/ 1695450 h 1695450"/>
              <a:gd name="csX3" fmla="*/ 728662 w 728662"/>
              <a:gd name="csY3" fmla="*/ 1509712 h 1695450"/>
              <a:gd name="csX4" fmla="*/ 728662 w 728662"/>
              <a:gd name="csY4" fmla="*/ 266700 h 1695450"/>
              <a:gd name="csX0" fmla="*/ 0 w 728662"/>
              <a:gd name="csY0" fmla="*/ 0 h 1695450"/>
              <a:gd name="csX1" fmla="*/ 0 w 728662"/>
              <a:gd name="csY1" fmla="*/ 1586865 h 1695450"/>
              <a:gd name="csX2" fmla="*/ 247650 w 728662"/>
              <a:gd name="csY2" fmla="*/ 1695450 h 1695450"/>
              <a:gd name="csX3" fmla="*/ 728662 w 728662"/>
              <a:gd name="csY3" fmla="*/ 1509712 h 1695450"/>
              <a:gd name="csX4" fmla="*/ 728662 w 728662"/>
              <a:gd name="csY4" fmla="*/ 266700 h 1695450"/>
              <a:gd name="csX0" fmla="*/ 0 w 728662"/>
              <a:gd name="csY0" fmla="*/ 0 h 1679820"/>
              <a:gd name="csX1" fmla="*/ 0 w 728662"/>
              <a:gd name="csY1" fmla="*/ 1586865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5481 w 728662"/>
              <a:gd name="csY4" fmla="*/ 125961 h 1679820"/>
              <a:gd name="csX0" fmla="*/ 0 w 728662"/>
              <a:gd name="csY0" fmla="*/ 0 h 1679820"/>
              <a:gd name="csX1" fmla="*/ 3181 w 728662"/>
              <a:gd name="csY1" fmla="*/ 1534436 h 1679820"/>
              <a:gd name="csX2" fmla="*/ 301725 w 728662"/>
              <a:gd name="csY2" fmla="*/ 1679820 h 1679820"/>
              <a:gd name="csX3" fmla="*/ 728662 w 728662"/>
              <a:gd name="csY3" fmla="*/ 1509712 h 1679820"/>
              <a:gd name="csX4" fmla="*/ 725481 w 728662"/>
              <a:gd name="csY4" fmla="*/ 125961 h 1679820"/>
            </a:gdLst>
            <a:ahLst/>
            <a:cxnLst>
              <a:cxn ang="0">
                <a:pos x="csX0" y="csY0"/>
              </a:cxn>
              <a:cxn ang="0">
                <a:pos x="csX1" y="csY1"/>
              </a:cxn>
              <a:cxn ang="0">
                <a:pos x="csX2" y="csY2"/>
              </a:cxn>
              <a:cxn ang="0">
                <a:pos x="csX3" y="csY3"/>
              </a:cxn>
              <a:cxn ang="0">
                <a:pos x="csX4" y="csY4"/>
              </a:cxn>
            </a:cxnLst>
            <a:rect l="l" t="t" r="r" b="b"/>
            <a:pathLst>
              <a:path w="728662" h="1679820">
                <a:moveTo>
                  <a:pt x="0" y="0"/>
                </a:moveTo>
                <a:cubicBezTo>
                  <a:pt x="2121" y="517493"/>
                  <a:pt x="1060" y="1016943"/>
                  <a:pt x="3181" y="1534436"/>
                </a:cubicBezTo>
                <a:lnTo>
                  <a:pt x="301725" y="1679820"/>
                </a:lnTo>
                <a:lnTo>
                  <a:pt x="728662" y="1509712"/>
                </a:lnTo>
                <a:cubicBezTo>
                  <a:pt x="727602" y="1048462"/>
                  <a:pt x="726541" y="587211"/>
                  <a:pt x="725481" y="125961"/>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cxnSp>
        <p:nvCxnSpPr>
          <p:cNvPr id="167" name="Suora yhdysviiva 166">
            <a:extLst>
              <a:ext uri="{FF2B5EF4-FFF2-40B4-BE49-F238E27FC236}">
                <a16:creationId xmlns:a16="http://schemas.microsoft.com/office/drawing/2014/main" id="{0AA7B576-8B58-EDAC-DC8C-7057A590F62B}"/>
              </a:ext>
            </a:extLst>
          </p:cNvPr>
          <p:cNvCxnSpPr>
            <a:cxnSpLocks/>
          </p:cNvCxnSpPr>
          <p:nvPr/>
        </p:nvCxnSpPr>
        <p:spPr>
          <a:xfrm flipV="1">
            <a:off x="5525057" y="3136900"/>
            <a:ext cx="0" cy="1333741"/>
          </a:xfrm>
          <a:prstGeom prst="line">
            <a:avLst/>
          </a:prstGeom>
          <a:ln w="12700"/>
        </p:spPr>
        <p:style>
          <a:lnRef idx="2">
            <a:schemeClr val="dk1"/>
          </a:lnRef>
          <a:fillRef idx="0">
            <a:schemeClr val="dk1"/>
          </a:fillRef>
          <a:effectRef idx="1">
            <a:schemeClr val="dk1"/>
          </a:effectRef>
          <a:fontRef idx="minor">
            <a:schemeClr val="tx1"/>
          </a:fontRef>
        </p:style>
      </p:cxnSp>
      <p:sp>
        <p:nvSpPr>
          <p:cNvPr id="8" name="Vapaamuotoinen: Muoto 7">
            <a:extLst>
              <a:ext uri="{FF2B5EF4-FFF2-40B4-BE49-F238E27FC236}">
                <a16:creationId xmlns:a16="http://schemas.microsoft.com/office/drawing/2014/main" id="{E2E4A2AD-3742-E7B5-DEAB-3F99204BAF25}"/>
              </a:ext>
            </a:extLst>
          </p:cNvPr>
          <p:cNvSpPr/>
          <p:nvPr/>
        </p:nvSpPr>
        <p:spPr>
          <a:xfrm>
            <a:off x="4581332" y="2067507"/>
            <a:ext cx="2304190" cy="796992"/>
          </a:xfrm>
          <a:custGeom>
            <a:avLst/>
            <a:gdLst>
              <a:gd name="csX0" fmla="*/ 0 w 2743200"/>
              <a:gd name="csY0" fmla="*/ 484095 h 941295"/>
              <a:gd name="csX1" fmla="*/ 1658471 w 2743200"/>
              <a:gd name="csY1" fmla="*/ 0 h 941295"/>
              <a:gd name="csX2" fmla="*/ 2743200 w 2743200"/>
              <a:gd name="csY2" fmla="*/ 367553 h 941295"/>
              <a:gd name="csX3" fmla="*/ 1021977 w 2743200"/>
              <a:gd name="csY3" fmla="*/ 941295 h 941295"/>
              <a:gd name="csX4" fmla="*/ 0 w 2743200"/>
              <a:gd name="csY4" fmla="*/ 484095 h 941295"/>
              <a:gd name="csX0" fmla="*/ 0 w 3238500"/>
              <a:gd name="csY0" fmla="*/ 263115 h 941295"/>
              <a:gd name="csX1" fmla="*/ 2153771 w 3238500"/>
              <a:gd name="csY1" fmla="*/ 0 h 941295"/>
              <a:gd name="csX2" fmla="*/ 3238500 w 3238500"/>
              <a:gd name="csY2" fmla="*/ 367553 h 941295"/>
              <a:gd name="csX3" fmla="*/ 1517277 w 3238500"/>
              <a:gd name="csY3" fmla="*/ 941295 h 941295"/>
              <a:gd name="csX4" fmla="*/ 0 w 3238500"/>
              <a:gd name="csY4" fmla="*/ 263115 h 941295"/>
              <a:gd name="csX0" fmla="*/ 0 w 3238500"/>
              <a:gd name="csY0" fmla="*/ 445995 h 1124175"/>
              <a:gd name="csX1" fmla="*/ 1650851 w 3238500"/>
              <a:gd name="csY1" fmla="*/ 0 h 1124175"/>
              <a:gd name="csX2" fmla="*/ 3238500 w 3238500"/>
              <a:gd name="csY2" fmla="*/ 550433 h 1124175"/>
              <a:gd name="csX3" fmla="*/ 1517277 w 3238500"/>
              <a:gd name="csY3" fmla="*/ 1124175 h 1124175"/>
              <a:gd name="csX4" fmla="*/ 0 w 3238500"/>
              <a:gd name="csY4" fmla="*/ 445995 h 1124175"/>
              <a:gd name="csX0" fmla="*/ 0 w 3238500"/>
              <a:gd name="csY0" fmla="*/ 556832 h 1124175"/>
              <a:gd name="csX1" fmla="*/ 1650851 w 3238500"/>
              <a:gd name="csY1" fmla="*/ 0 h 1124175"/>
              <a:gd name="csX2" fmla="*/ 3238500 w 3238500"/>
              <a:gd name="csY2" fmla="*/ 550433 h 1124175"/>
              <a:gd name="csX3" fmla="*/ 1517277 w 3238500"/>
              <a:gd name="csY3" fmla="*/ 1124175 h 1124175"/>
              <a:gd name="csX4" fmla="*/ 0 w 3238500"/>
              <a:gd name="csY4" fmla="*/ 556832 h 1124175"/>
              <a:gd name="csX0" fmla="*/ 0 w 3238500"/>
              <a:gd name="csY0" fmla="*/ 556832 h 1124175"/>
              <a:gd name="csX1" fmla="*/ 301980 w 3238500"/>
              <a:gd name="csY1" fmla="*/ 434966 h 1124175"/>
              <a:gd name="csX2" fmla="*/ 1650851 w 3238500"/>
              <a:gd name="csY2" fmla="*/ 0 h 1124175"/>
              <a:gd name="csX3" fmla="*/ 3238500 w 3238500"/>
              <a:gd name="csY3" fmla="*/ 550433 h 1124175"/>
              <a:gd name="csX4" fmla="*/ 1517277 w 3238500"/>
              <a:gd name="csY4" fmla="*/ 1124175 h 1124175"/>
              <a:gd name="csX5" fmla="*/ 0 w 3238500"/>
              <a:gd name="csY5" fmla="*/ 556832 h 1124175"/>
              <a:gd name="csX0" fmla="*/ 1298220 w 4536720"/>
              <a:gd name="csY0" fmla="*/ 556832 h 1124175"/>
              <a:gd name="csX1" fmla="*/ 0 w 4536720"/>
              <a:gd name="csY1" fmla="*/ 47616 h 1124175"/>
              <a:gd name="csX2" fmla="*/ 2949071 w 4536720"/>
              <a:gd name="csY2" fmla="*/ 0 h 1124175"/>
              <a:gd name="csX3" fmla="*/ 4536720 w 4536720"/>
              <a:gd name="csY3" fmla="*/ 550433 h 1124175"/>
              <a:gd name="csX4" fmla="*/ 2815497 w 4536720"/>
              <a:gd name="csY4" fmla="*/ 1124175 h 1124175"/>
              <a:gd name="csX5" fmla="*/ 1298220 w 4536720"/>
              <a:gd name="csY5" fmla="*/ 556832 h 1124175"/>
              <a:gd name="csX0" fmla="*/ 1298220 w 4536720"/>
              <a:gd name="csY0" fmla="*/ 556832 h 1124175"/>
              <a:gd name="csX1" fmla="*/ 0 w 4536720"/>
              <a:gd name="csY1" fmla="*/ 47616 h 1124175"/>
              <a:gd name="csX2" fmla="*/ 1606550 w 4536720"/>
              <a:gd name="csY2" fmla="*/ 28566 h 1124175"/>
              <a:gd name="csX3" fmla="*/ 2949071 w 4536720"/>
              <a:gd name="csY3" fmla="*/ 0 h 1124175"/>
              <a:gd name="csX4" fmla="*/ 4536720 w 4536720"/>
              <a:gd name="csY4" fmla="*/ 550433 h 1124175"/>
              <a:gd name="csX5" fmla="*/ 2815497 w 4536720"/>
              <a:gd name="csY5" fmla="*/ 1124175 h 1124175"/>
              <a:gd name="csX6" fmla="*/ 1298220 w 4536720"/>
              <a:gd name="csY6" fmla="*/ 556832 h 1124175"/>
              <a:gd name="csX0" fmla="*/ 1298220 w 4536720"/>
              <a:gd name="csY0" fmla="*/ 991816 h 1559159"/>
              <a:gd name="csX1" fmla="*/ 0 w 4536720"/>
              <a:gd name="csY1" fmla="*/ 482600 h 1559159"/>
              <a:gd name="csX2" fmla="*/ 1663700 w 4536720"/>
              <a:gd name="csY2" fmla="*/ 0 h 1559159"/>
              <a:gd name="csX3" fmla="*/ 2949071 w 4536720"/>
              <a:gd name="csY3" fmla="*/ 434984 h 1559159"/>
              <a:gd name="csX4" fmla="*/ 4536720 w 4536720"/>
              <a:gd name="csY4" fmla="*/ 985417 h 1559159"/>
              <a:gd name="csX5" fmla="*/ 2815497 w 4536720"/>
              <a:gd name="csY5" fmla="*/ 1559159 h 1559159"/>
              <a:gd name="csX6" fmla="*/ 1298220 w 4536720"/>
              <a:gd name="csY6" fmla="*/ 991816 h 155915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298220 w 4536720"/>
              <a:gd name="csY6" fmla="*/ 1045156 h 161249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845001 w 4536720"/>
              <a:gd name="csY6" fmla="*/ 1256382 h 1612499"/>
              <a:gd name="csX7" fmla="*/ 1298220 w 4536720"/>
              <a:gd name="csY7"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949071 w 4536720"/>
              <a:gd name="csY4" fmla="*/ 488324 h 1612499"/>
              <a:gd name="csX5" fmla="*/ 4536720 w 4536720"/>
              <a:gd name="csY5" fmla="*/ 1038757 h 1612499"/>
              <a:gd name="csX6" fmla="*/ 2815497 w 4536720"/>
              <a:gd name="csY6" fmla="*/ 1612499 h 1612499"/>
              <a:gd name="csX7" fmla="*/ 1845001 w 4536720"/>
              <a:gd name="csY7" fmla="*/ 1256382 h 1612499"/>
              <a:gd name="csX8" fmla="*/ 1298220 w 4536720"/>
              <a:gd name="csY8"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949071 w 4536720"/>
              <a:gd name="csY4" fmla="*/ 488324 h 1612499"/>
              <a:gd name="csX5" fmla="*/ 3590674 w 4536720"/>
              <a:gd name="csY5" fmla="*/ 711436 h 1612499"/>
              <a:gd name="csX6" fmla="*/ 4536720 w 4536720"/>
              <a:gd name="csY6" fmla="*/ 1038757 h 1612499"/>
              <a:gd name="csX7" fmla="*/ 2815497 w 4536720"/>
              <a:gd name="csY7" fmla="*/ 1612499 h 1612499"/>
              <a:gd name="csX8" fmla="*/ 1845001 w 4536720"/>
              <a:gd name="csY8" fmla="*/ 1256382 h 1612499"/>
              <a:gd name="csX9" fmla="*/ 1298220 w 4536720"/>
              <a:gd name="csY9"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657801 w 4536720"/>
              <a:gd name="csY4" fmla="*/ 388163 h 1612499"/>
              <a:gd name="csX5" fmla="*/ 2949071 w 4536720"/>
              <a:gd name="csY5" fmla="*/ 488324 h 1612499"/>
              <a:gd name="csX6" fmla="*/ 3590674 w 4536720"/>
              <a:gd name="csY6" fmla="*/ 711436 h 1612499"/>
              <a:gd name="csX7" fmla="*/ 4536720 w 4536720"/>
              <a:gd name="csY7" fmla="*/ 1038757 h 1612499"/>
              <a:gd name="csX8" fmla="*/ 2815497 w 4536720"/>
              <a:gd name="csY8" fmla="*/ 1612499 h 1612499"/>
              <a:gd name="csX9" fmla="*/ 1845001 w 4536720"/>
              <a:gd name="csY9" fmla="*/ 1256382 h 1612499"/>
              <a:gd name="csX10" fmla="*/ 1298220 w 4536720"/>
              <a:gd name="csY10" fmla="*/ 1045156 h 1612499"/>
              <a:gd name="csX0" fmla="*/ 1298220 w 4536720"/>
              <a:gd name="csY0" fmla="*/ 656993 h 1224336"/>
              <a:gd name="csX1" fmla="*/ 1041437 w 4536720"/>
              <a:gd name="csY1" fmla="*/ 535710 h 1224336"/>
              <a:gd name="csX2" fmla="*/ 0 w 4536720"/>
              <a:gd name="csY2" fmla="*/ 147777 h 1224336"/>
              <a:gd name="csX3" fmla="*/ 2657801 w 4536720"/>
              <a:gd name="csY3" fmla="*/ 0 h 1224336"/>
              <a:gd name="csX4" fmla="*/ 2949071 w 4536720"/>
              <a:gd name="csY4" fmla="*/ 100161 h 1224336"/>
              <a:gd name="csX5" fmla="*/ 3590674 w 4536720"/>
              <a:gd name="csY5" fmla="*/ 323273 h 1224336"/>
              <a:gd name="csX6" fmla="*/ 4536720 w 4536720"/>
              <a:gd name="csY6" fmla="*/ 650594 h 1224336"/>
              <a:gd name="csX7" fmla="*/ 2815497 w 4536720"/>
              <a:gd name="csY7" fmla="*/ 1224336 h 1224336"/>
              <a:gd name="csX8" fmla="*/ 1845001 w 4536720"/>
              <a:gd name="csY8" fmla="*/ 868219 h 1224336"/>
              <a:gd name="csX9" fmla="*/ 1298220 w 4536720"/>
              <a:gd name="csY9" fmla="*/ 656993 h 1224336"/>
              <a:gd name="csX0" fmla="*/ 256783 w 3495283"/>
              <a:gd name="csY0" fmla="*/ 656993 h 1224336"/>
              <a:gd name="csX1" fmla="*/ 0 w 3495283"/>
              <a:gd name="csY1" fmla="*/ 535710 h 1224336"/>
              <a:gd name="csX2" fmla="*/ 1616364 w 3495283"/>
              <a:gd name="csY2" fmla="*/ 0 h 1224336"/>
              <a:gd name="csX3" fmla="*/ 1907634 w 3495283"/>
              <a:gd name="csY3" fmla="*/ 100161 h 1224336"/>
              <a:gd name="csX4" fmla="*/ 2549237 w 3495283"/>
              <a:gd name="csY4" fmla="*/ 323273 h 1224336"/>
              <a:gd name="csX5" fmla="*/ 3495283 w 3495283"/>
              <a:gd name="csY5" fmla="*/ 650594 h 1224336"/>
              <a:gd name="csX6" fmla="*/ 1774060 w 3495283"/>
              <a:gd name="csY6" fmla="*/ 1224336 h 1224336"/>
              <a:gd name="csX7" fmla="*/ 803564 w 3495283"/>
              <a:gd name="csY7" fmla="*/ 868219 h 1224336"/>
              <a:gd name="csX8" fmla="*/ 256783 w 3495283"/>
              <a:gd name="csY8" fmla="*/ 656993 h 1224336"/>
              <a:gd name="csX0" fmla="*/ 256783 w 3495283"/>
              <a:gd name="csY0" fmla="*/ 656993 h 868219"/>
              <a:gd name="csX1" fmla="*/ 0 w 3495283"/>
              <a:gd name="csY1" fmla="*/ 535710 h 868219"/>
              <a:gd name="csX2" fmla="*/ 1616364 w 3495283"/>
              <a:gd name="csY2" fmla="*/ 0 h 868219"/>
              <a:gd name="csX3" fmla="*/ 1907634 w 3495283"/>
              <a:gd name="csY3" fmla="*/ 100161 h 868219"/>
              <a:gd name="csX4" fmla="*/ 2549237 w 3495283"/>
              <a:gd name="csY4" fmla="*/ 323273 h 868219"/>
              <a:gd name="csX5" fmla="*/ 3495283 w 3495283"/>
              <a:gd name="csY5" fmla="*/ 650594 h 868219"/>
              <a:gd name="csX6" fmla="*/ 803564 w 3495283"/>
              <a:gd name="csY6" fmla="*/ 868219 h 868219"/>
              <a:gd name="csX7" fmla="*/ 256783 w 3495283"/>
              <a:gd name="csY7" fmla="*/ 656993 h 868219"/>
              <a:gd name="csX0" fmla="*/ 256783 w 2549237"/>
              <a:gd name="csY0" fmla="*/ 656993 h 868219"/>
              <a:gd name="csX1" fmla="*/ 0 w 2549237"/>
              <a:gd name="csY1" fmla="*/ 535710 h 868219"/>
              <a:gd name="csX2" fmla="*/ 1616364 w 2549237"/>
              <a:gd name="csY2" fmla="*/ 0 h 868219"/>
              <a:gd name="csX3" fmla="*/ 1907634 w 2549237"/>
              <a:gd name="csY3" fmla="*/ 100161 h 868219"/>
              <a:gd name="csX4" fmla="*/ 2549237 w 2549237"/>
              <a:gd name="csY4" fmla="*/ 323273 h 868219"/>
              <a:gd name="csX5" fmla="*/ 803564 w 2549237"/>
              <a:gd name="csY5" fmla="*/ 868219 h 868219"/>
              <a:gd name="csX6" fmla="*/ 256783 w 2549237"/>
              <a:gd name="csY6" fmla="*/ 656993 h 868219"/>
              <a:gd name="csX0" fmla="*/ 256783 w 2549237"/>
              <a:gd name="csY0" fmla="*/ 656993 h 868219"/>
              <a:gd name="csX1" fmla="*/ 0 w 2549237"/>
              <a:gd name="csY1" fmla="*/ 535710 h 868219"/>
              <a:gd name="csX2" fmla="*/ 1616364 w 2549237"/>
              <a:gd name="csY2" fmla="*/ 0 h 868219"/>
              <a:gd name="csX3" fmla="*/ 1907634 w 2549237"/>
              <a:gd name="csY3" fmla="*/ 100161 h 868219"/>
              <a:gd name="csX4" fmla="*/ 2549237 w 2549237"/>
              <a:gd name="csY4" fmla="*/ 323273 h 868219"/>
              <a:gd name="csX5" fmla="*/ 1224761 w 2549237"/>
              <a:gd name="csY5" fmla="*/ 719871 h 868219"/>
              <a:gd name="csX6" fmla="*/ 803564 w 2549237"/>
              <a:gd name="csY6" fmla="*/ 868219 h 868219"/>
              <a:gd name="csX7" fmla="*/ 256783 w 2549237"/>
              <a:gd name="csY7" fmla="*/ 656993 h 868219"/>
              <a:gd name="csX0" fmla="*/ 256783 w 2549237"/>
              <a:gd name="csY0" fmla="*/ 656993 h 868219"/>
              <a:gd name="csX1" fmla="*/ 0 w 2549237"/>
              <a:gd name="csY1" fmla="*/ 535710 h 868219"/>
              <a:gd name="csX2" fmla="*/ 496973 w 2549237"/>
              <a:gd name="csY2" fmla="*/ 346647 h 868219"/>
              <a:gd name="csX3" fmla="*/ 1616364 w 2549237"/>
              <a:gd name="csY3" fmla="*/ 0 h 868219"/>
              <a:gd name="csX4" fmla="*/ 1907634 w 2549237"/>
              <a:gd name="csY4" fmla="*/ 100161 h 868219"/>
              <a:gd name="csX5" fmla="*/ 2549237 w 2549237"/>
              <a:gd name="csY5" fmla="*/ 323273 h 868219"/>
              <a:gd name="csX6" fmla="*/ 1224761 w 2549237"/>
              <a:gd name="csY6" fmla="*/ 719871 h 868219"/>
              <a:gd name="csX7" fmla="*/ 803564 w 2549237"/>
              <a:gd name="csY7" fmla="*/ 868219 h 868219"/>
              <a:gd name="csX8" fmla="*/ 256783 w 2549237"/>
              <a:gd name="csY8" fmla="*/ 656993 h 868219"/>
              <a:gd name="csX0" fmla="*/ 0 w 2292454"/>
              <a:gd name="csY0" fmla="*/ 656993 h 868219"/>
              <a:gd name="csX1" fmla="*/ 240190 w 2292454"/>
              <a:gd name="csY1" fmla="*/ 346647 h 868219"/>
              <a:gd name="csX2" fmla="*/ 1359581 w 2292454"/>
              <a:gd name="csY2" fmla="*/ 0 h 868219"/>
              <a:gd name="csX3" fmla="*/ 1650851 w 2292454"/>
              <a:gd name="csY3" fmla="*/ 100161 h 868219"/>
              <a:gd name="csX4" fmla="*/ 2292454 w 2292454"/>
              <a:gd name="csY4" fmla="*/ 323273 h 868219"/>
              <a:gd name="csX5" fmla="*/ 967978 w 2292454"/>
              <a:gd name="csY5" fmla="*/ 719871 h 868219"/>
              <a:gd name="csX6" fmla="*/ 546781 w 2292454"/>
              <a:gd name="csY6" fmla="*/ 868219 h 868219"/>
              <a:gd name="csX7" fmla="*/ 0 w 2292454"/>
              <a:gd name="csY7" fmla="*/ 656993 h 868219"/>
              <a:gd name="csX0" fmla="*/ 306591 w 2052264"/>
              <a:gd name="csY0" fmla="*/ 868219 h 868219"/>
              <a:gd name="csX1" fmla="*/ 0 w 2052264"/>
              <a:gd name="csY1" fmla="*/ 346647 h 868219"/>
              <a:gd name="csX2" fmla="*/ 1119391 w 2052264"/>
              <a:gd name="csY2" fmla="*/ 0 h 868219"/>
              <a:gd name="csX3" fmla="*/ 1410661 w 2052264"/>
              <a:gd name="csY3" fmla="*/ 100161 h 868219"/>
              <a:gd name="csX4" fmla="*/ 2052264 w 2052264"/>
              <a:gd name="csY4" fmla="*/ 323273 h 868219"/>
              <a:gd name="csX5" fmla="*/ 727788 w 2052264"/>
              <a:gd name="csY5" fmla="*/ 719871 h 868219"/>
              <a:gd name="csX6" fmla="*/ 306591 w 2052264"/>
              <a:gd name="csY6" fmla="*/ 868219 h 868219"/>
              <a:gd name="csX0" fmla="*/ 727788 w 2052264"/>
              <a:gd name="csY0" fmla="*/ 719871 h 719871"/>
              <a:gd name="csX1" fmla="*/ 0 w 2052264"/>
              <a:gd name="csY1" fmla="*/ 346647 h 719871"/>
              <a:gd name="csX2" fmla="*/ 1119391 w 2052264"/>
              <a:gd name="csY2" fmla="*/ 0 h 719871"/>
              <a:gd name="csX3" fmla="*/ 1410661 w 2052264"/>
              <a:gd name="csY3" fmla="*/ 100161 h 719871"/>
              <a:gd name="csX4" fmla="*/ 2052264 w 2052264"/>
              <a:gd name="csY4" fmla="*/ 323273 h 719871"/>
              <a:gd name="csX5" fmla="*/ 727788 w 2052264"/>
              <a:gd name="csY5" fmla="*/ 719871 h 719871"/>
              <a:gd name="csX0" fmla="*/ 905069 w 2052264"/>
              <a:gd name="csY0" fmla="*/ 673218 h 673218"/>
              <a:gd name="csX1" fmla="*/ 0 w 2052264"/>
              <a:gd name="csY1" fmla="*/ 346647 h 673218"/>
              <a:gd name="csX2" fmla="*/ 1119391 w 2052264"/>
              <a:gd name="csY2" fmla="*/ 0 h 673218"/>
              <a:gd name="csX3" fmla="*/ 1410661 w 2052264"/>
              <a:gd name="csY3" fmla="*/ 100161 h 673218"/>
              <a:gd name="csX4" fmla="*/ 2052264 w 2052264"/>
              <a:gd name="csY4" fmla="*/ 323273 h 673218"/>
              <a:gd name="csX5" fmla="*/ 905069 w 2052264"/>
              <a:gd name="csY5" fmla="*/ 673218 h 673218"/>
              <a:gd name="csX0" fmla="*/ 905069 w 2248207"/>
              <a:gd name="csY0" fmla="*/ 673218 h 673218"/>
              <a:gd name="csX1" fmla="*/ 0 w 2248207"/>
              <a:gd name="csY1" fmla="*/ 346647 h 673218"/>
              <a:gd name="csX2" fmla="*/ 1119391 w 2248207"/>
              <a:gd name="csY2" fmla="*/ 0 h 673218"/>
              <a:gd name="csX3" fmla="*/ 1410661 w 2248207"/>
              <a:gd name="csY3" fmla="*/ 100161 h 673218"/>
              <a:gd name="csX4" fmla="*/ 2248207 w 2248207"/>
              <a:gd name="csY4" fmla="*/ 388587 h 673218"/>
              <a:gd name="csX5" fmla="*/ 905069 w 2248207"/>
              <a:gd name="csY5" fmla="*/ 673218 h 673218"/>
              <a:gd name="csX0" fmla="*/ 1054359 w 2248207"/>
              <a:gd name="csY0" fmla="*/ 729202 h 729202"/>
              <a:gd name="csX1" fmla="*/ 0 w 2248207"/>
              <a:gd name="csY1" fmla="*/ 346647 h 729202"/>
              <a:gd name="csX2" fmla="*/ 1119391 w 2248207"/>
              <a:gd name="csY2" fmla="*/ 0 h 729202"/>
              <a:gd name="csX3" fmla="*/ 1410661 w 2248207"/>
              <a:gd name="csY3" fmla="*/ 100161 h 729202"/>
              <a:gd name="csX4" fmla="*/ 2248207 w 2248207"/>
              <a:gd name="csY4" fmla="*/ 388587 h 729202"/>
              <a:gd name="csX5" fmla="*/ 1054359 w 2248207"/>
              <a:gd name="csY5" fmla="*/ 729202 h 729202"/>
              <a:gd name="csX0" fmla="*/ 1054359 w 2490802"/>
              <a:gd name="csY0" fmla="*/ 729202 h 729202"/>
              <a:gd name="csX1" fmla="*/ 0 w 2490802"/>
              <a:gd name="csY1" fmla="*/ 346647 h 729202"/>
              <a:gd name="csX2" fmla="*/ 1119391 w 2490802"/>
              <a:gd name="csY2" fmla="*/ 0 h 729202"/>
              <a:gd name="csX3" fmla="*/ 1410661 w 2490802"/>
              <a:gd name="csY3" fmla="*/ 100161 h 729202"/>
              <a:gd name="csX4" fmla="*/ 2490802 w 2490802"/>
              <a:gd name="csY4" fmla="*/ 481893 h 729202"/>
              <a:gd name="csX5" fmla="*/ 1054359 w 2490802"/>
              <a:gd name="csY5" fmla="*/ 729202 h 729202"/>
              <a:gd name="csX0" fmla="*/ 1343608 w 2490802"/>
              <a:gd name="csY0" fmla="*/ 841169 h 841169"/>
              <a:gd name="csX1" fmla="*/ 0 w 2490802"/>
              <a:gd name="csY1" fmla="*/ 346647 h 841169"/>
              <a:gd name="csX2" fmla="*/ 1119391 w 2490802"/>
              <a:gd name="csY2" fmla="*/ 0 h 841169"/>
              <a:gd name="csX3" fmla="*/ 1410661 w 2490802"/>
              <a:gd name="csY3" fmla="*/ 100161 h 841169"/>
              <a:gd name="csX4" fmla="*/ 2490802 w 2490802"/>
              <a:gd name="csY4" fmla="*/ 481893 h 841169"/>
              <a:gd name="csX5" fmla="*/ 1343608 w 2490802"/>
              <a:gd name="csY5" fmla="*/ 841169 h 841169"/>
              <a:gd name="csX0" fmla="*/ 1156996 w 2304190"/>
              <a:gd name="csY0" fmla="*/ 841169 h 841169"/>
              <a:gd name="csX1" fmla="*/ 0 w 2304190"/>
              <a:gd name="csY1" fmla="*/ 495937 h 841169"/>
              <a:gd name="csX2" fmla="*/ 932779 w 2304190"/>
              <a:gd name="csY2" fmla="*/ 0 h 841169"/>
              <a:gd name="csX3" fmla="*/ 1224049 w 2304190"/>
              <a:gd name="csY3" fmla="*/ 100161 h 841169"/>
              <a:gd name="csX4" fmla="*/ 2304190 w 2304190"/>
              <a:gd name="csY4" fmla="*/ 481893 h 841169"/>
              <a:gd name="csX5" fmla="*/ 1156996 w 2304190"/>
              <a:gd name="csY5" fmla="*/ 841169 h 841169"/>
              <a:gd name="csX0" fmla="*/ 979714 w 2304190"/>
              <a:gd name="csY0" fmla="*/ 897153 h 897153"/>
              <a:gd name="csX1" fmla="*/ 0 w 2304190"/>
              <a:gd name="csY1" fmla="*/ 495937 h 897153"/>
              <a:gd name="csX2" fmla="*/ 932779 w 2304190"/>
              <a:gd name="csY2" fmla="*/ 0 h 897153"/>
              <a:gd name="csX3" fmla="*/ 1224049 w 2304190"/>
              <a:gd name="csY3" fmla="*/ 100161 h 897153"/>
              <a:gd name="csX4" fmla="*/ 2304190 w 2304190"/>
              <a:gd name="csY4" fmla="*/ 481893 h 897153"/>
              <a:gd name="csX5" fmla="*/ 979714 w 2304190"/>
              <a:gd name="csY5" fmla="*/ 897153 h 897153"/>
              <a:gd name="csX0" fmla="*/ 979714 w 2304190"/>
              <a:gd name="csY0" fmla="*/ 796992 h 796992"/>
              <a:gd name="csX1" fmla="*/ 0 w 2304190"/>
              <a:gd name="csY1" fmla="*/ 395776 h 796992"/>
              <a:gd name="csX2" fmla="*/ 1224049 w 2304190"/>
              <a:gd name="csY2" fmla="*/ 0 h 796992"/>
              <a:gd name="csX3" fmla="*/ 2304190 w 2304190"/>
              <a:gd name="csY3" fmla="*/ 381732 h 796992"/>
              <a:gd name="csX4" fmla="*/ 979714 w 2304190"/>
              <a:gd name="csY4" fmla="*/ 796992 h 796992"/>
            </a:gdLst>
            <a:ahLst/>
            <a:cxnLst>
              <a:cxn ang="0">
                <a:pos x="csX0" y="csY0"/>
              </a:cxn>
              <a:cxn ang="0">
                <a:pos x="csX1" y="csY1"/>
              </a:cxn>
              <a:cxn ang="0">
                <a:pos x="csX2" y="csY2"/>
              </a:cxn>
              <a:cxn ang="0">
                <a:pos x="csX3" y="csY3"/>
              </a:cxn>
              <a:cxn ang="0">
                <a:pos x="csX4" y="csY4"/>
              </a:cxn>
            </a:cxnLst>
            <a:rect l="l" t="t" r="r" b="b"/>
            <a:pathLst>
              <a:path w="2304190" h="796992">
                <a:moveTo>
                  <a:pt x="979714" y="796992"/>
                </a:moveTo>
                <a:lnTo>
                  <a:pt x="0" y="395776"/>
                </a:lnTo>
                <a:lnTo>
                  <a:pt x="1224049" y="0"/>
                </a:lnTo>
                <a:lnTo>
                  <a:pt x="2304190" y="381732"/>
                </a:lnTo>
                <a:lnTo>
                  <a:pt x="979714" y="796992"/>
                </a:lnTo>
                <a:close/>
              </a:path>
            </a:pathLst>
          </a:custGeom>
          <a:solidFill>
            <a:schemeClr val="accent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ln w="0"/>
              <a:solidFill>
                <a:schemeClr val="tx1"/>
              </a:solidFill>
              <a:effectLst>
                <a:outerShdw blurRad="38100" dist="19050" dir="2700000" algn="tl" rotWithShape="0">
                  <a:schemeClr val="dk1">
                    <a:alpha val="40000"/>
                  </a:schemeClr>
                </a:outerShdw>
              </a:effectLst>
            </a:endParaRPr>
          </a:p>
        </p:txBody>
      </p:sp>
      <p:sp>
        <p:nvSpPr>
          <p:cNvPr id="176" name="Vapaamuotoinen: Muoto 175">
            <a:extLst>
              <a:ext uri="{FF2B5EF4-FFF2-40B4-BE49-F238E27FC236}">
                <a16:creationId xmlns:a16="http://schemas.microsoft.com/office/drawing/2014/main" id="{12CF504D-1E9D-2270-E026-1E69555BD435}"/>
              </a:ext>
            </a:extLst>
          </p:cNvPr>
          <p:cNvSpPr/>
          <p:nvPr/>
        </p:nvSpPr>
        <p:spPr>
          <a:xfrm>
            <a:off x="5221240" y="2358313"/>
            <a:ext cx="744046" cy="238209"/>
          </a:xfrm>
          <a:custGeom>
            <a:avLst/>
            <a:gdLst>
              <a:gd name="csX0" fmla="*/ 0 w 639271"/>
              <a:gd name="csY0" fmla="*/ 121380 h 202301"/>
              <a:gd name="csX1" fmla="*/ 388418 w 639271"/>
              <a:gd name="csY1" fmla="*/ 0 h 202301"/>
              <a:gd name="csX2" fmla="*/ 639271 w 639271"/>
              <a:gd name="csY2" fmla="*/ 80920 h 202301"/>
              <a:gd name="csX3" fmla="*/ 267038 w 639271"/>
              <a:gd name="csY3" fmla="*/ 202301 h 202301"/>
              <a:gd name="csX4" fmla="*/ 0 w 639271"/>
              <a:gd name="csY4" fmla="*/ 121380 h 202301"/>
              <a:gd name="csX0" fmla="*/ 0 w 691658"/>
              <a:gd name="csY0" fmla="*/ 101553 h 202301"/>
              <a:gd name="csX1" fmla="*/ 440805 w 691658"/>
              <a:gd name="csY1" fmla="*/ 0 h 202301"/>
              <a:gd name="csX2" fmla="*/ 691658 w 691658"/>
              <a:gd name="csY2" fmla="*/ 80920 h 202301"/>
              <a:gd name="csX3" fmla="*/ 319425 w 691658"/>
              <a:gd name="csY3" fmla="*/ 202301 h 202301"/>
              <a:gd name="csX4" fmla="*/ 0 w 691658"/>
              <a:gd name="csY4" fmla="*/ 101553 h 202301"/>
              <a:gd name="csX0" fmla="*/ 0 w 744046"/>
              <a:gd name="csY0" fmla="*/ 101553 h 202301"/>
              <a:gd name="csX1" fmla="*/ 440805 w 744046"/>
              <a:gd name="csY1" fmla="*/ 0 h 202301"/>
              <a:gd name="csX2" fmla="*/ 744046 w 744046"/>
              <a:gd name="csY2" fmla="*/ 100746 h 202301"/>
              <a:gd name="csX3" fmla="*/ 319425 w 744046"/>
              <a:gd name="csY3" fmla="*/ 202301 h 202301"/>
              <a:gd name="csX4" fmla="*/ 0 w 744046"/>
              <a:gd name="csY4" fmla="*/ 101553 h 202301"/>
              <a:gd name="csX0" fmla="*/ 0 w 744046"/>
              <a:gd name="csY0" fmla="*/ 109484 h 210232"/>
              <a:gd name="csX1" fmla="*/ 421755 w 744046"/>
              <a:gd name="csY1" fmla="*/ 0 h 210232"/>
              <a:gd name="csX2" fmla="*/ 744046 w 744046"/>
              <a:gd name="csY2" fmla="*/ 108677 h 210232"/>
              <a:gd name="csX3" fmla="*/ 319425 w 744046"/>
              <a:gd name="csY3" fmla="*/ 210232 h 210232"/>
              <a:gd name="csX4" fmla="*/ 0 w 744046"/>
              <a:gd name="csY4" fmla="*/ 109484 h 210232"/>
              <a:gd name="csX0" fmla="*/ 0 w 744046"/>
              <a:gd name="csY0" fmla="*/ 109484 h 210232"/>
              <a:gd name="csX1" fmla="*/ 42175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109484 h 210232"/>
              <a:gd name="csX1" fmla="*/ 44080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97588 h 198336"/>
              <a:gd name="csX1" fmla="*/ 402705 w 744046"/>
              <a:gd name="csY1" fmla="*/ 0 h 198336"/>
              <a:gd name="csX2" fmla="*/ 744046 w 744046"/>
              <a:gd name="csY2" fmla="*/ 96781 h 198336"/>
              <a:gd name="csX3" fmla="*/ 314662 w 744046"/>
              <a:gd name="csY3" fmla="*/ 198336 h 198336"/>
              <a:gd name="csX4" fmla="*/ 0 w 744046"/>
              <a:gd name="csY4" fmla="*/ 97588 h 198336"/>
            </a:gdLst>
            <a:ahLst/>
            <a:cxnLst>
              <a:cxn ang="0">
                <a:pos x="csX0" y="csY0"/>
              </a:cxn>
              <a:cxn ang="0">
                <a:pos x="csX1" y="csY1"/>
              </a:cxn>
              <a:cxn ang="0">
                <a:pos x="csX2" y="csY2"/>
              </a:cxn>
              <a:cxn ang="0">
                <a:pos x="csX3" y="csY3"/>
              </a:cxn>
              <a:cxn ang="0">
                <a:pos x="csX4" y="csY4"/>
              </a:cxn>
            </a:cxnLst>
            <a:rect l="l" t="t" r="r" b="b"/>
            <a:pathLst>
              <a:path w="744046" h="198336">
                <a:moveTo>
                  <a:pt x="0" y="97588"/>
                </a:moveTo>
                <a:lnTo>
                  <a:pt x="402705" y="0"/>
                </a:lnTo>
                <a:lnTo>
                  <a:pt x="744046" y="96781"/>
                </a:lnTo>
                <a:lnTo>
                  <a:pt x="314662" y="198336"/>
                </a:lnTo>
                <a:lnTo>
                  <a:pt x="0" y="97588"/>
                </a:lnTo>
                <a:close/>
              </a:path>
            </a:pathLst>
          </a:custGeom>
          <a:solidFill>
            <a:schemeClr val="bg1"/>
          </a:solidFill>
          <a:ln w="381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96" name="Suora yhdysviiva 195">
            <a:extLst>
              <a:ext uri="{FF2B5EF4-FFF2-40B4-BE49-F238E27FC236}">
                <a16:creationId xmlns:a16="http://schemas.microsoft.com/office/drawing/2014/main" id="{9291587C-80B0-8E7C-E48E-F59A547B7207}"/>
              </a:ext>
            </a:extLst>
          </p:cNvPr>
          <p:cNvCxnSpPr>
            <a:cxnSpLocks/>
          </p:cNvCxnSpPr>
          <p:nvPr/>
        </p:nvCxnSpPr>
        <p:spPr>
          <a:xfrm flipV="1">
            <a:off x="5991192" y="2499012"/>
            <a:ext cx="4" cy="541338"/>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197" name="Suora yhdysviiva 196">
            <a:extLst>
              <a:ext uri="{FF2B5EF4-FFF2-40B4-BE49-F238E27FC236}">
                <a16:creationId xmlns:a16="http://schemas.microsoft.com/office/drawing/2014/main" id="{1AD72E85-493F-BB16-492F-678C6589ECF7}"/>
              </a:ext>
            </a:extLst>
          </p:cNvPr>
          <p:cNvCxnSpPr>
            <a:cxnSpLocks/>
          </p:cNvCxnSpPr>
          <p:nvPr/>
        </p:nvCxnSpPr>
        <p:spPr>
          <a:xfrm flipV="1">
            <a:off x="5213907" y="2477418"/>
            <a:ext cx="0" cy="497059"/>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210" name="Suora yhdysviiva 209">
            <a:extLst>
              <a:ext uri="{FF2B5EF4-FFF2-40B4-BE49-F238E27FC236}">
                <a16:creationId xmlns:a16="http://schemas.microsoft.com/office/drawing/2014/main" id="{A58FD6B2-3895-48F9-081B-F90D34DD7582}"/>
              </a:ext>
            </a:extLst>
          </p:cNvPr>
          <p:cNvCxnSpPr>
            <a:cxnSpLocks/>
          </p:cNvCxnSpPr>
          <p:nvPr/>
        </p:nvCxnSpPr>
        <p:spPr>
          <a:xfrm flipV="1">
            <a:off x="5525057" y="2619056"/>
            <a:ext cx="0" cy="504572"/>
          </a:xfrm>
          <a:prstGeom prst="line">
            <a:avLst/>
          </a:prstGeom>
          <a:ln w="12700">
            <a:prstDash val="sysDot"/>
          </a:ln>
        </p:spPr>
        <p:style>
          <a:lnRef idx="2">
            <a:schemeClr val="dk1"/>
          </a:lnRef>
          <a:fillRef idx="0">
            <a:schemeClr val="dk1"/>
          </a:fillRef>
          <a:effectRef idx="1">
            <a:schemeClr val="dk1"/>
          </a:effectRef>
          <a:fontRef idx="minor">
            <a:schemeClr val="tx1"/>
          </a:fontRef>
        </p:style>
      </p:cxnSp>
      <p:sp>
        <p:nvSpPr>
          <p:cNvPr id="212" name="Tekstiruutu 211">
            <a:extLst>
              <a:ext uri="{FF2B5EF4-FFF2-40B4-BE49-F238E27FC236}">
                <a16:creationId xmlns:a16="http://schemas.microsoft.com/office/drawing/2014/main" id="{33EA80DA-F5DD-843F-A705-FB840DE74990}"/>
              </a:ext>
            </a:extLst>
          </p:cNvPr>
          <p:cNvSpPr txBox="1"/>
          <p:nvPr/>
        </p:nvSpPr>
        <p:spPr>
          <a:xfrm>
            <a:off x="6096000" y="894989"/>
            <a:ext cx="2885726" cy="584775"/>
          </a:xfrm>
          <a:prstGeom prst="rect">
            <a:avLst/>
          </a:prstGeom>
          <a:noFill/>
        </p:spPr>
        <p:txBody>
          <a:bodyPr wrap="none" rtlCol="0">
            <a:spAutoFit/>
          </a:bodyPr>
          <a:lstStyle/>
          <a:p>
            <a:r>
              <a:rPr lang="fi-FI" sz="3200" dirty="0">
                <a:solidFill>
                  <a:srgbClr val="0042A5"/>
                </a:solidFill>
              </a:rPr>
              <a:t>Kuilun paikka</a:t>
            </a:r>
          </a:p>
        </p:txBody>
      </p:sp>
      <p:sp>
        <p:nvSpPr>
          <p:cNvPr id="219" name="Kaari 218">
            <a:extLst>
              <a:ext uri="{FF2B5EF4-FFF2-40B4-BE49-F238E27FC236}">
                <a16:creationId xmlns:a16="http://schemas.microsoft.com/office/drawing/2014/main" id="{51EC0A78-35B7-B09D-988C-866A7C938BD9}"/>
              </a:ext>
            </a:extLst>
          </p:cNvPr>
          <p:cNvSpPr/>
          <p:nvPr/>
        </p:nvSpPr>
        <p:spPr>
          <a:xfrm flipH="1">
            <a:off x="5550332" y="1227570"/>
            <a:ext cx="1014813" cy="1758836"/>
          </a:xfrm>
          <a:prstGeom prst="arc">
            <a:avLst>
              <a:gd name="adj1" fmla="val 15958105"/>
              <a:gd name="adj2" fmla="val 1567664"/>
            </a:avLst>
          </a:prstGeom>
          <a:ln>
            <a:headEnd type="none" w="med" len="med"/>
            <a:tailEnd type="triangle" w="lg" len="lg"/>
          </a:ln>
        </p:spPr>
        <p:style>
          <a:lnRef idx="2">
            <a:schemeClr val="dk1"/>
          </a:lnRef>
          <a:fillRef idx="0">
            <a:schemeClr val="dk1"/>
          </a:fillRef>
          <a:effectRef idx="1">
            <a:schemeClr val="dk1"/>
          </a:effectRef>
          <a:fontRef idx="minor">
            <a:schemeClr val="tx1"/>
          </a:fontRef>
        </p:style>
        <p:txBody>
          <a:bodyPr rtlCol="0" anchor="ctr"/>
          <a:lstStyle/>
          <a:p>
            <a:pPr algn="ctr"/>
            <a:endParaRPr lang="fi-FI"/>
          </a:p>
        </p:txBody>
      </p:sp>
      <p:sp>
        <p:nvSpPr>
          <p:cNvPr id="165" name="Tekstiruutu 164">
            <a:extLst>
              <a:ext uri="{FF2B5EF4-FFF2-40B4-BE49-F238E27FC236}">
                <a16:creationId xmlns:a16="http://schemas.microsoft.com/office/drawing/2014/main" id="{D668761E-F4FC-F2B3-1006-1CBC768F93FC}"/>
              </a:ext>
            </a:extLst>
          </p:cNvPr>
          <p:cNvSpPr txBox="1"/>
          <p:nvPr/>
        </p:nvSpPr>
        <p:spPr>
          <a:xfrm rot="20481716">
            <a:off x="5941529" y="2228688"/>
            <a:ext cx="590226" cy="523220"/>
          </a:xfrm>
          <a:prstGeom prst="rect">
            <a:avLst/>
          </a:prstGeom>
          <a:noFill/>
        </p:spPr>
        <p:txBody>
          <a:bodyPr wrap="none" rtlCol="0">
            <a:spAutoFit/>
          </a:bodyPr>
          <a:lstStyle/>
          <a:p>
            <a:r>
              <a:rPr lang="fi-FI" sz="2800" b="1" dirty="0"/>
              <a:t>ET</a:t>
            </a:r>
          </a:p>
        </p:txBody>
      </p:sp>
      <p:sp>
        <p:nvSpPr>
          <p:cNvPr id="168" name="Tekstiruutu 167">
            <a:extLst>
              <a:ext uri="{FF2B5EF4-FFF2-40B4-BE49-F238E27FC236}">
                <a16:creationId xmlns:a16="http://schemas.microsoft.com/office/drawing/2014/main" id="{DDE6960D-C7A4-431D-8109-6AC92ED65177}"/>
              </a:ext>
            </a:extLst>
          </p:cNvPr>
          <p:cNvSpPr txBox="1"/>
          <p:nvPr/>
        </p:nvSpPr>
        <p:spPr>
          <a:xfrm rot="20446283">
            <a:off x="6480410" y="1793608"/>
            <a:ext cx="2034342" cy="523220"/>
          </a:xfrm>
          <a:prstGeom prst="rect">
            <a:avLst/>
          </a:prstGeom>
          <a:noFill/>
        </p:spPr>
        <p:txBody>
          <a:bodyPr wrap="square">
            <a:spAutoFit/>
          </a:bodyPr>
          <a:lstStyle/>
          <a:p>
            <a:r>
              <a:rPr lang="fi-FI" sz="1400" dirty="0"/>
              <a:t>Yhdyskuntateknisen</a:t>
            </a:r>
          </a:p>
          <a:p>
            <a:r>
              <a:rPr lang="fi-FI" sz="1400" dirty="0"/>
              <a:t>       huollon alue.</a:t>
            </a:r>
          </a:p>
        </p:txBody>
      </p:sp>
    </p:spTree>
    <p:extLst>
      <p:ext uri="{BB962C8B-B14F-4D97-AF65-F5344CB8AC3E}">
        <p14:creationId xmlns:p14="http://schemas.microsoft.com/office/powerpoint/2010/main" val="4212162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188EA8B-AEE6-731A-A2BA-5E9F52982D50}"/>
              </a:ext>
            </a:extLst>
          </p:cNvPr>
          <p:cNvSpPr>
            <a:spLocks noGrp="1"/>
          </p:cNvSpPr>
          <p:nvPr>
            <p:ph type="title"/>
          </p:nvPr>
        </p:nvSpPr>
        <p:spPr/>
        <p:txBody>
          <a:bodyPr/>
          <a:lstStyle/>
          <a:p>
            <a:r>
              <a:rPr lang="fi-FI" dirty="0"/>
              <a:t>Illan ohjelma</a:t>
            </a:r>
          </a:p>
        </p:txBody>
      </p:sp>
      <p:sp>
        <p:nvSpPr>
          <p:cNvPr id="3" name="Alatunnisteen paikkamerkki 2">
            <a:extLst>
              <a:ext uri="{FF2B5EF4-FFF2-40B4-BE49-F238E27FC236}">
                <a16:creationId xmlns:a16="http://schemas.microsoft.com/office/drawing/2014/main" id="{654782DF-0BFF-9B36-08B6-90BB880F0C3E}"/>
              </a:ext>
            </a:extLst>
          </p:cNvPr>
          <p:cNvSpPr>
            <a:spLocks noGrp="1"/>
          </p:cNvSpPr>
          <p:nvPr>
            <p:ph type="ftr" sz="quarter" idx="11"/>
          </p:nvPr>
        </p:nvSpPr>
        <p:spPr/>
        <p:txBody>
          <a:bodyPr/>
          <a:lstStyle/>
          <a:p>
            <a:r>
              <a:rPr lang="fi-FI"/>
              <a:t>7</a:t>
            </a:r>
          </a:p>
        </p:txBody>
      </p:sp>
      <p:sp>
        <p:nvSpPr>
          <p:cNvPr id="4" name="Sisällön paikkamerkki 3">
            <a:extLst>
              <a:ext uri="{FF2B5EF4-FFF2-40B4-BE49-F238E27FC236}">
                <a16:creationId xmlns:a16="http://schemas.microsoft.com/office/drawing/2014/main" id="{64DFD1E9-63E1-474A-999A-0E4AD7FF10A8}"/>
              </a:ext>
            </a:extLst>
          </p:cNvPr>
          <p:cNvSpPr>
            <a:spLocks noGrp="1"/>
          </p:cNvSpPr>
          <p:nvPr>
            <p:ph sz="quarter" idx="12"/>
          </p:nvPr>
        </p:nvSpPr>
        <p:spPr/>
        <p:txBody>
          <a:bodyPr/>
          <a:lstStyle/>
          <a:p>
            <a:pPr marL="1428750" lvl="2" indent="-285750"/>
            <a:r>
              <a:rPr lang="fi-FI" sz="2000" dirty="0"/>
              <a:t>16.00-16.30 	Aineistoihin tutustumista</a:t>
            </a:r>
          </a:p>
          <a:p>
            <a:pPr marL="1428750" lvl="2" indent="-285750"/>
            <a:r>
              <a:rPr lang="fi-FI" sz="2000" dirty="0"/>
              <a:t>16.30-16.40 	Tervetuloa</a:t>
            </a:r>
          </a:p>
          <a:p>
            <a:pPr marL="1428750" lvl="2" indent="-285750"/>
            <a:r>
              <a:rPr lang="fi-FI" sz="2000" dirty="0"/>
              <a:t>16.40-17.00 	Korson raidehankkeiden vaiheyleiskaavan YK0056 OAS</a:t>
            </a:r>
          </a:p>
          <a:p>
            <a:pPr marL="1428750" lvl="2" indent="-285750"/>
            <a:r>
              <a:rPr lang="fi-FI" sz="2000" dirty="0"/>
              <a:t>17.00-17.15 	Lentorata osa 2 asemakaava OAS</a:t>
            </a:r>
          </a:p>
          <a:p>
            <a:pPr marL="1428750" lvl="2" indent="-285750"/>
            <a:r>
              <a:rPr lang="fi-FI" sz="2000" dirty="0"/>
              <a:t>17.15-17.30 	Lentorata-hankkeen esittely</a:t>
            </a:r>
          </a:p>
          <a:p>
            <a:pPr marL="1428750" lvl="2" indent="-285750"/>
            <a:r>
              <a:rPr lang="fi-FI" sz="2000" dirty="0"/>
              <a:t>17.30-17.50	Kaavahankkeiden aikataulut</a:t>
            </a:r>
          </a:p>
          <a:p>
            <a:pPr marL="1428750" lvl="2" indent="-285750"/>
            <a:r>
              <a:rPr lang="fi-FI" sz="2000" dirty="0"/>
              <a:t>17.50		Tilaisuus päättyy</a:t>
            </a:r>
          </a:p>
          <a:p>
            <a:endParaRPr lang="fi-FI" dirty="0"/>
          </a:p>
        </p:txBody>
      </p:sp>
    </p:spTree>
    <p:extLst>
      <p:ext uri="{BB962C8B-B14F-4D97-AF65-F5344CB8AC3E}">
        <p14:creationId xmlns:p14="http://schemas.microsoft.com/office/powerpoint/2010/main" val="1357885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1F010-35C6-3066-B474-CDE259C8FB76}"/>
            </a:ext>
          </a:extLst>
        </p:cNvPr>
        <p:cNvGrpSpPr/>
        <p:nvPr/>
      </p:nvGrpSpPr>
      <p:grpSpPr>
        <a:xfrm>
          <a:off x="0" y="0"/>
          <a:ext cx="0" cy="0"/>
          <a:chOff x="0" y="0"/>
          <a:chExt cx="0" cy="0"/>
        </a:xfrm>
      </p:grpSpPr>
      <p:sp>
        <p:nvSpPr>
          <p:cNvPr id="2" name="Vapaamuotoinen: Muoto 1">
            <a:extLst>
              <a:ext uri="{FF2B5EF4-FFF2-40B4-BE49-F238E27FC236}">
                <a16:creationId xmlns:a16="http://schemas.microsoft.com/office/drawing/2014/main" id="{51CF00E6-9D75-B171-00FB-6E3A6DBBA2BF}"/>
              </a:ext>
            </a:extLst>
          </p:cNvPr>
          <p:cNvSpPr/>
          <p:nvPr/>
        </p:nvSpPr>
        <p:spPr>
          <a:xfrm>
            <a:off x="2838450" y="1565910"/>
            <a:ext cx="4536720" cy="1612499"/>
          </a:xfrm>
          <a:custGeom>
            <a:avLst/>
            <a:gdLst>
              <a:gd name="csX0" fmla="*/ 0 w 2743200"/>
              <a:gd name="csY0" fmla="*/ 484095 h 941295"/>
              <a:gd name="csX1" fmla="*/ 1658471 w 2743200"/>
              <a:gd name="csY1" fmla="*/ 0 h 941295"/>
              <a:gd name="csX2" fmla="*/ 2743200 w 2743200"/>
              <a:gd name="csY2" fmla="*/ 367553 h 941295"/>
              <a:gd name="csX3" fmla="*/ 1021977 w 2743200"/>
              <a:gd name="csY3" fmla="*/ 941295 h 941295"/>
              <a:gd name="csX4" fmla="*/ 0 w 2743200"/>
              <a:gd name="csY4" fmla="*/ 484095 h 941295"/>
              <a:gd name="csX0" fmla="*/ 0 w 3238500"/>
              <a:gd name="csY0" fmla="*/ 263115 h 941295"/>
              <a:gd name="csX1" fmla="*/ 2153771 w 3238500"/>
              <a:gd name="csY1" fmla="*/ 0 h 941295"/>
              <a:gd name="csX2" fmla="*/ 3238500 w 3238500"/>
              <a:gd name="csY2" fmla="*/ 367553 h 941295"/>
              <a:gd name="csX3" fmla="*/ 1517277 w 3238500"/>
              <a:gd name="csY3" fmla="*/ 941295 h 941295"/>
              <a:gd name="csX4" fmla="*/ 0 w 3238500"/>
              <a:gd name="csY4" fmla="*/ 263115 h 941295"/>
              <a:gd name="csX0" fmla="*/ 0 w 3238500"/>
              <a:gd name="csY0" fmla="*/ 445995 h 1124175"/>
              <a:gd name="csX1" fmla="*/ 1650851 w 3238500"/>
              <a:gd name="csY1" fmla="*/ 0 h 1124175"/>
              <a:gd name="csX2" fmla="*/ 3238500 w 3238500"/>
              <a:gd name="csY2" fmla="*/ 550433 h 1124175"/>
              <a:gd name="csX3" fmla="*/ 1517277 w 3238500"/>
              <a:gd name="csY3" fmla="*/ 1124175 h 1124175"/>
              <a:gd name="csX4" fmla="*/ 0 w 3238500"/>
              <a:gd name="csY4" fmla="*/ 445995 h 1124175"/>
              <a:gd name="csX0" fmla="*/ 0 w 3238500"/>
              <a:gd name="csY0" fmla="*/ 556832 h 1124175"/>
              <a:gd name="csX1" fmla="*/ 1650851 w 3238500"/>
              <a:gd name="csY1" fmla="*/ 0 h 1124175"/>
              <a:gd name="csX2" fmla="*/ 3238500 w 3238500"/>
              <a:gd name="csY2" fmla="*/ 550433 h 1124175"/>
              <a:gd name="csX3" fmla="*/ 1517277 w 3238500"/>
              <a:gd name="csY3" fmla="*/ 1124175 h 1124175"/>
              <a:gd name="csX4" fmla="*/ 0 w 3238500"/>
              <a:gd name="csY4" fmla="*/ 556832 h 1124175"/>
              <a:gd name="csX0" fmla="*/ 0 w 3238500"/>
              <a:gd name="csY0" fmla="*/ 556832 h 1124175"/>
              <a:gd name="csX1" fmla="*/ 301980 w 3238500"/>
              <a:gd name="csY1" fmla="*/ 434966 h 1124175"/>
              <a:gd name="csX2" fmla="*/ 1650851 w 3238500"/>
              <a:gd name="csY2" fmla="*/ 0 h 1124175"/>
              <a:gd name="csX3" fmla="*/ 3238500 w 3238500"/>
              <a:gd name="csY3" fmla="*/ 550433 h 1124175"/>
              <a:gd name="csX4" fmla="*/ 1517277 w 3238500"/>
              <a:gd name="csY4" fmla="*/ 1124175 h 1124175"/>
              <a:gd name="csX5" fmla="*/ 0 w 3238500"/>
              <a:gd name="csY5" fmla="*/ 556832 h 1124175"/>
              <a:gd name="csX0" fmla="*/ 1298220 w 4536720"/>
              <a:gd name="csY0" fmla="*/ 556832 h 1124175"/>
              <a:gd name="csX1" fmla="*/ 0 w 4536720"/>
              <a:gd name="csY1" fmla="*/ 47616 h 1124175"/>
              <a:gd name="csX2" fmla="*/ 2949071 w 4536720"/>
              <a:gd name="csY2" fmla="*/ 0 h 1124175"/>
              <a:gd name="csX3" fmla="*/ 4536720 w 4536720"/>
              <a:gd name="csY3" fmla="*/ 550433 h 1124175"/>
              <a:gd name="csX4" fmla="*/ 2815497 w 4536720"/>
              <a:gd name="csY4" fmla="*/ 1124175 h 1124175"/>
              <a:gd name="csX5" fmla="*/ 1298220 w 4536720"/>
              <a:gd name="csY5" fmla="*/ 556832 h 1124175"/>
              <a:gd name="csX0" fmla="*/ 1298220 w 4536720"/>
              <a:gd name="csY0" fmla="*/ 556832 h 1124175"/>
              <a:gd name="csX1" fmla="*/ 0 w 4536720"/>
              <a:gd name="csY1" fmla="*/ 47616 h 1124175"/>
              <a:gd name="csX2" fmla="*/ 1606550 w 4536720"/>
              <a:gd name="csY2" fmla="*/ 28566 h 1124175"/>
              <a:gd name="csX3" fmla="*/ 2949071 w 4536720"/>
              <a:gd name="csY3" fmla="*/ 0 h 1124175"/>
              <a:gd name="csX4" fmla="*/ 4536720 w 4536720"/>
              <a:gd name="csY4" fmla="*/ 550433 h 1124175"/>
              <a:gd name="csX5" fmla="*/ 2815497 w 4536720"/>
              <a:gd name="csY5" fmla="*/ 1124175 h 1124175"/>
              <a:gd name="csX6" fmla="*/ 1298220 w 4536720"/>
              <a:gd name="csY6" fmla="*/ 556832 h 1124175"/>
              <a:gd name="csX0" fmla="*/ 1298220 w 4536720"/>
              <a:gd name="csY0" fmla="*/ 991816 h 1559159"/>
              <a:gd name="csX1" fmla="*/ 0 w 4536720"/>
              <a:gd name="csY1" fmla="*/ 482600 h 1559159"/>
              <a:gd name="csX2" fmla="*/ 1663700 w 4536720"/>
              <a:gd name="csY2" fmla="*/ 0 h 1559159"/>
              <a:gd name="csX3" fmla="*/ 2949071 w 4536720"/>
              <a:gd name="csY3" fmla="*/ 434984 h 1559159"/>
              <a:gd name="csX4" fmla="*/ 4536720 w 4536720"/>
              <a:gd name="csY4" fmla="*/ 985417 h 1559159"/>
              <a:gd name="csX5" fmla="*/ 2815497 w 4536720"/>
              <a:gd name="csY5" fmla="*/ 1559159 h 1559159"/>
              <a:gd name="csX6" fmla="*/ 1298220 w 4536720"/>
              <a:gd name="csY6" fmla="*/ 991816 h 155915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298220 w 4536720"/>
              <a:gd name="csY6" fmla="*/ 1045156 h 161249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536720" h="1612499">
                <a:moveTo>
                  <a:pt x="1298220" y="1045156"/>
                </a:moveTo>
                <a:lnTo>
                  <a:pt x="0" y="535940"/>
                </a:lnTo>
                <a:lnTo>
                  <a:pt x="1549400" y="0"/>
                </a:lnTo>
                <a:lnTo>
                  <a:pt x="2949071" y="488324"/>
                </a:lnTo>
                <a:lnTo>
                  <a:pt x="4536720" y="1038757"/>
                </a:lnTo>
                <a:lnTo>
                  <a:pt x="2815497" y="1612499"/>
                </a:lnTo>
                <a:lnTo>
                  <a:pt x="1298220" y="1045156"/>
                </a:lnTo>
                <a:close/>
              </a:path>
            </a:pathLst>
          </a:custGeom>
          <a:ln w="6350">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fi-FI" dirty="0">
              <a:ln w="0"/>
              <a:solidFill>
                <a:schemeClr val="tx1"/>
              </a:solidFill>
              <a:effectLst>
                <a:outerShdw blurRad="38100" dist="19050" dir="2700000" algn="tl" rotWithShape="0">
                  <a:schemeClr val="dk1">
                    <a:alpha val="40000"/>
                  </a:schemeClr>
                </a:outerShdw>
              </a:effectLst>
            </a:endParaRPr>
          </a:p>
        </p:txBody>
      </p:sp>
      <p:sp>
        <p:nvSpPr>
          <p:cNvPr id="3" name="Vapaamuotoinen: Muoto 2">
            <a:extLst>
              <a:ext uri="{FF2B5EF4-FFF2-40B4-BE49-F238E27FC236}">
                <a16:creationId xmlns:a16="http://schemas.microsoft.com/office/drawing/2014/main" id="{77A1B683-2AEA-61EE-1A80-1A151F90B445}"/>
              </a:ext>
            </a:extLst>
          </p:cNvPr>
          <p:cNvSpPr/>
          <p:nvPr/>
        </p:nvSpPr>
        <p:spPr>
          <a:xfrm>
            <a:off x="1897736" y="2683950"/>
            <a:ext cx="9723904" cy="3403506"/>
          </a:xfrm>
          <a:custGeom>
            <a:avLst/>
            <a:gdLst>
              <a:gd name="csX0" fmla="*/ 0 w 9923929"/>
              <a:gd name="csY0" fmla="*/ 2931459 h 3379694"/>
              <a:gd name="csX1" fmla="*/ 8821270 w 9923929"/>
              <a:gd name="csY1" fmla="*/ 0 h 3379694"/>
              <a:gd name="csX2" fmla="*/ 9923929 w 9923929"/>
              <a:gd name="csY2" fmla="*/ 233083 h 3379694"/>
              <a:gd name="csX3" fmla="*/ 941294 w 9923929"/>
              <a:gd name="csY3" fmla="*/ 3379694 h 3379694"/>
              <a:gd name="csX4" fmla="*/ 0 w 9923929"/>
              <a:gd name="csY4" fmla="*/ 2931459 h 3379694"/>
              <a:gd name="csX0" fmla="*/ 0 w 9723904"/>
              <a:gd name="csY0" fmla="*/ 2931459 h 3379694"/>
              <a:gd name="csX1" fmla="*/ 8821270 w 9723904"/>
              <a:gd name="csY1" fmla="*/ 0 h 3379694"/>
              <a:gd name="csX2" fmla="*/ 9723904 w 9723904"/>
              <a:gd name="csY2" fmla="*/ 299758 h 3379694"/>
              <a:gd name="csX3" fmla="*/ 941294 w 9723904"/>
              <a:gd name="csY3" fmla="*/ 3379694 h 3379694"/>
              <a:gd name="csX4" fmla="*/ 0 w 9723904"/>
              <a:gd name="csY4" fmla="*/ 2931459 h 3379694"/>
              <a:gd name="csX0" fmla="*/ 0 w 9723904"/>
              <a:gd name="csY0" fmla="*/ 2955271 h 3403506"/>
              <a:gd name="csX1" fmla="*/ 8883183 w 9723904"/>
              <a:gd name="csY1" fmla="*/ 0 h 3403506"/>
              <a:gd name="csX2" fmla="*/ 9723904 w 9723904"/>
              <a:gd name="csY2" fmla="*/ 323570 h 3403506"/>
              <a:gd name="csX3" fmla="*/ 941294 w 9723904"/>
              <a:gd name="csY3" fmla="*/ 3403506 h 3403506"/>
              <a:gd name="csX4" fmla="*/ 0 w 9723904"/>
              <a:gd name="csY4" fmla="*/ 2955271 h 3403506"/>
              <a:gd name="csX0" fmla="*/ 0 w 9723904"/>
              <a:gd name="csY0" fmla="*/ 2955271 h 3403506"/>
              <a:gd name="csX1" fmla="*/ 2941992 w 9723904"/>
              <a:gd name="csY1" fmla="*/ 197610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3368712 w 9723904"/>
              <a:gd name="csY2" fmla="*/ 182370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443132 w 9723904"/>
              <a:gd name="csY2" fmla="*/ 147318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245012 w 9723904"/>
              <a:gd name="csY2" fmla="*/ 154938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940212 w 9723904"/>
              <a:gd name="csY2" fmla="*/ 121410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345852 w 9723904"/>
              <a:gd name="csY2" fmla="*/ 16103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78112 w 9723904"/>
              <a:gd name="csY2" fmla="*/ 17246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68876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41167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260204 w 9723904"/>
              <a:gd name="csY2" fmla="*/ 175148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712395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723904" h="3403506">
                <a:moveTo>
                  <a:pt x="0" y="2955271"/>
                </a:moveTo>
                <a:lnTo>
                  <a:pt x="2797212" y="2029441"/>
                </a:lnTo>
                <a:lnTo>
                  <a:pt x="973571" y="1257871"/>
                </a:lnTo>
                <a:lnTo>
                  <a:pt x="2629302" y="712395"/>
                </a:lnTo>
                <a:lnTo>
                  <a:pt x="4443132" y="1473181"/>
                </a:lnTo>
                <a:lnTo>
                  <a:pt x="8883183" y="0"/>
                </a:lnTo>
                <a:lnTo>
                  <a:pt x="9723904" y="323570"/>
                </a:lnTo>
                <a:lnTo>
                  <a:pt x="941294" y="3403506"/>
                </a:lnTo>
                <a:lnTo>
                  <a:pt x="0" y="2955271"/>
                </a:lnTo>
                <a:close/>
              </a:path>
            </a:pathLst>
          </a:custGeom>
          <a:noFill/>
          <a:ln>
            <a:solidFill>
              <a:srgbClr val="FF0000"/>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4" name="Suora yhdysviiva 3">
            <a:extLst>
              <a:ext uri="{FF2B5EF4-FFF2-40B4-BE49-F238E27FC236}">
                <a16:creationId xmlns:a16="http://schemas.microsoft.com/office/drawing/2014/main" id="{55C716C9-6960-85D6-0DDF-D84E46A28F78}"/>
              </a:ext>
            </a:extLst>
          </p:cNvPr>
          <p:cNvCxnSpPr>
            <a:cxnSpLocks/>
          </p:cNvCxnSpPr>
          <p:nvPr/>
        </p:nvCxnSpPr>
        <p:spPr>
          <a:xfrm>
            <a:off x="2841510" y="2113386"/>
            <a:ext cx="29597" cy="1818059"/>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5" name="Suora yhdysviiva 4">
            <a:extLst>
              <a:ext uri="{FF2B5EF4-FFF2-40B4-BE49-F238E27FC236}">
                <a16:creationId xmlns:a16="http://schemas.microsoft.com/office/drawing/2014/main" id="{6ED49FAB-C12F-FE66-1856-C65F81B529D2}"/>
              </a:ext>
            </a:extLst>
          </p:cNvPr>
          <p:cNvCxnSpPr>
            <a:cxnSpLocks/>
          </p:cNvCxnSpPr>
          <p:nvPr/>
        </p:nvCxnSpPr>
        <p:spPr>
          <a:xfrm flipH="1">
            <a:off x="5617961" y="3178409"/>
            <a:ext cx="27021" cy="1926991"/>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6" name="Suora yhdysviiva 5">
            <a:extLst>
              <a:ext uri="{FF2B5EF4-FFF2-40B4-BE49-F238E27FC236}">
                <a16:creationId xmlns:a16="http://schemas.microsoft.com/office/drawing/2014/main" id="{74D89889-5747-7070-74B4-8E1C5203EB3C}"/>
              </a:ext>
            </a:extLst>
          </p:cNvPr>
          <p:cNvCxnSpPr>
            <a:cxnSpLocks/>
          </p:cNvCxnSpPr>
          <p:nvPr/>
        </p:nvCxnSpPr>
        <p:spPr>
          <a:xfrm flipH="1">
            <a:off x="7300913" y="2600933"/>
            <a:ext cx="74258" cy="1909155"/>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7" name="Suora yhdysviiva 6">
            <a:extLst>
              <a:ext uri="{FF2B5EF4-FFF2-40B4-BE49-F238E27FC236}">
                <a16:creationId xmlns:a16="http://schemas.microsoft.com/office/drawing/2014/main" id="{0CD4291D-FB86-C8DC-EDB8-34F1A179671A}"/>
              </a:ext>
            </a:extLst>
          </p:cNvPr>
          <p:cNvCxnSpPr>
            <a:cxnSpLocks/>
            <a:endCxn id="3" idx="3"/>
          </p:cNvCxnSpPr>
          <p:nvPr/>
        </p:nvCxnSpPr>
        <p:spPr>
          <a:xfrm>
            <a:off x="4527038" y="2769869"/>
            <a:ext cx="0" cy="626476"/>
          </a:xfrm>
          <a:prstGeom prst="line">
            <a:avLst/>
          </a:prstGeom>
          <a:ln w="12700">
            <a:prstDash val="dash"/>
          </a:ln>
        </p:spPr>
        <p:style>
          <a:lnRef idx="2">
            <a:schemeClr val="dk1"/>
          </a:lnRef>
          <a:fillRef idx="0">
            <a:schemeClr val="dk1"/>
          </a:fillRef>
          <a:effectRef idx="1">
            <a:schemeClr val="dk1"/>
          </a:effectRef>
          <a:fontRef idx="minor">
            <a:schemeClr val="tx1"/>
          </a:fontRef>
        </p:style>
      </p:cxnSp>
      <p:grpSp>
        <p:nvGrpSpPr>
          <p:cNvPr id="9" name="Ryhmä 8">
            <a:extLst>
              <a:ext uri="{FF2B5EF4-FFF2-40B4-BE49-F238E27FC236}">
                <a16:creationId xmlns:a16="http://schemas.microsoft.com/office/drawing/2014/main" id="{5927F5D2-30E0-CAAB-EC27-B7315C127D64}"/>
              </a:ext>
            </a:extLst>
          </p:cNvPr>
          <p:cNvGrpSpPr/>
          <p:nvPr/>
        </p:nvGrpSpPr>
        <p:grpSpPr>
          <a:xfrm>
            <a:off x="2167763" y="2789803"/>
            <a:ext cx="8861479" cy="2983345"/>
            <a:chOff x="341745" y="2179782"/>
            <a:chExt cx="8861479" cy="2983345"/>
          </a:xfrm>
        </p:grpSpPr>
        <p:cxnSp>
          <p:nvCxnSpPr>
            <p:cNvPr id="10" name="Suora yhdysviiva 9">
              <a:extLst>
                <a:ext uri="{FF2B5EF4-FFF2-40B4-BE49-F238E27FC236}">
                  <a16:creationId xmlns:a16="http://schemas.microsoft.com/office/drawing/2014/main" id="{31D5C1BF-3916-9664-87E6-3D9369905018}"/>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11" name="Suora yhdysviiva 10">
              <a:extLst>
                <a:ext uri="{FF2B5EF4-FFF2-40B4-BE49-F238E27FC236}">
                  <a16:creationId xmlns:a16="http://schemas.microsoft.com/office/drawing/2014/main" id="{F81562EF-BD42-7767-ADDB-A44F38B2C428}"/>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 name="Suora yhdysviiva 11">
              <a:extLst>
                <a:ext uri="{FF2B5EF4-FFF2-40B4-BE49-F238E27FC236}">
                  <a16:creationId xmlns:a16="http://schemas.microsoft.com/office/drawing/2014/main" id="{12295D5E-3401-0B7A-03D0-2C919D3AE589}"/>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 name="Suora yhdysviiva 12">
              <a:extLst>
                <a:ext uri="{FF2B5EF4-FFF2-40B4-BE49-F238E27FC236}">
                  <a16:creationId xmlns:a16="http://schemas.microsoft.com/office/drawing/2014/main" id="{CE8701FB-13E5-35DA-ACD7-B7490F384094}"/>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 name="Suora yhdysviiva 13">
              <a:extLst>
                <a:ext uri="{FF2B5EF4-FFF2-40B4-BE49-F238E27FC236}">
                  <a16:creationId xmlns:a16="http://schemas.microsoft.com/office/drawing/2014/main" id="{12D3E7B1-55DC-6ED7-CCAF-AE42033288D1}"/>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 name="Suora yhdysviiva 14">
              <a:extLst>
                <a:ext uri="{FF2B5EF4-FFF2-40B4-BE49-F238E27FC236}">
                  <a16:creationId xmlns:a16="http://schemas.microsoft.com/office/drawing/2014/main" id="{7A72AEF5-B28D-3BA4-1A73-2E266332BA9A}"/>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 name="Suora yhdysviiva 15">
              <a:extLst>
                <a:ext uri="{FF2B5EF4-FFF2-40B4-BE49-F238E27FC236}">
                  <a16:creationId xmlns:a16="http://schemas.microsoft.com/office/drawing/2014/main" id="{43BEF532-69A2-F25F-57E2-A2206DBBAC97}"/>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7" name="Suora yhdysviiva 16">
              <a:extLst>
                <a:ext uri="{FF2B5EF4-FFF2-40B4-BE49-F238E27FC236}">
                  <a16:creationId xmlns:a16="http://schemas.microsoft.com/office/drawing/2014/main" id="{4D82782C-6E20-C059-CE27-1ABDE02FCC92}"/>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8" name="Suora yhdysviiva 17">
              <a:extLst>
                <a:ext uri="{FF2B5EF4-FFF2-40B4-BE49-F238E27FC236}">
                  <a16:creationId xmlns:a16="http://schemas.microsoft.com/office/drawing/2014/main" id="{00A619FF-7A8E-9787-5442-5870B70C3A73}"/>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9" name="Suora yhdysviiva 18">
              <a:extLst>
                <a:ext uri="{FF2B5EF4-FFF2-40B4-BE49-F238E27FC236}">
                  <a16:creationId xmlns:a16="http://schemas.microsoft.com/office/drawing/2014/main" id="{31465A2A-C414-1E77-34A7-4D6081BF3690}"/>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0" name="Suora yhdysviiva 19">
              <a:extLst>
                <a:ext uri="{FF2B5EF4-FFF2-40B4-BE49-F238E27FC236}">
                  <a16:creationId xmlns:a16="http://schemas.microsoft.com/office/drawing/2014/main" id="{DFE6D3E5-3F47-6DA3-607B-D32E345F8BD8}"/>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1" name="Suora yhdysviiva 20">
              <a:extLst>
                <a:ext uri="{FF2B5EF4-FFF2-40B4-BE49-F238E27FC236}">
                  <a16:creationId xmlns:a16="http://schemas.microsoft.com/office/drawing/2014/main" id="{B45D827F-9CBA-7862-FE1B-5583303D0BBC}"/>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2" name="Suora yhdysviiva 21">
              <a:extLst>
                <a:ext uri="{FF2B5EF4-FFF2-40B4-BE49-F238E27FC236}">
                  <a16:creationId xmlns:a16="http://schemas.microsoft.com/office/drawing/2014/main" id="{74A730F3-445B-D910-787C-AD92A820E601}"/>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3" name="Suora yhdysviiva 22">
              <a:extLst>
                <a:ext uri="{FF2B5EF4-FFF2-40B4-BE49-F238E27FC236}">
                  <a16:creationId xmlns:a16="http://schemas.microsoft.com/office/drawing/2014/main" id="{1526FBE5-BF13-9DD5-19C8-F4FFE5BE2882}"/>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4" name="Suora yhdysviiva 23">
              <a:extLst>
                <a:ext uri="{FF2B5EF4-FFF2-40B4-BE49-F238E27FC236}">
                  <a16:creationId xmlns:a16="http://schemas.microsoft.com/office/drawing/2014/main" id="{8DF6BE51-E4BE-AD53-D981-459A24930242}"/>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5" name="Suora yhdysviiva 24">
              <a:extLst>
                <a:ext uri="{FF2B5EF4-FFF2-40B4-BE49-F238E27FC236}">
                  <a16:creationId xmlns:a16="http://schemas.microsoft.com/office/drawing/2014/main" id="{DC5B9C80-F216-9236-E8C6-D0F6D49B82A2}"/>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6" name="Suora yhdysviiva 25">
              <a:extLst>
                <a:ext uri="{FF2B5EF4-FFF2-40B4-BE49-F238E27FC236}">
                  <a16:creationId xmlns:a16="http://schemas.microsoft.com/office/drawing/2014/main" id="{361B8724-A98B-CF41-92BC-713A085B5A35}"/>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7" name="Suora yhdysviiva 26">
              <a:extLst>
                <a:ext uri="{FF2B5EF4-FFF2-40B4-BE49-F238E27FC236}">
                  <a16:creationId xmlns:a16="http://schemas.microsoft.com/office/drawing/2014/main" id="{DD1A8682-96AD-AC7C-56F1-D587033C1C98}"/>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8" name="Suora yhdysviiva 27">
              <a:extLst>
                <a:ext uri="{FF2B5EF4-FFF2-40B4-BE49-F238E27FC236}">
                  <a16:creationId xmlns:a16="http://schemas.microsoft.com/office/drawing/2014/main" id="{29C06EF7-778D-6589-A8E6-FF725CD299E6}"/>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9" name="Suora yhdysviiva 28">
              <a:extLst>
                <a:ext uri="{FF2B5EF4-FFF2-40B4-BE49-F238E27FC236}">
                  <a16:creationId xmlns:a16="http://schemas.microsoft.com/office/drawing/2014/main" id="{402C9269-9E12-CEA3-5EBA-300EC57A9890}"/>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0" name="Suora yhdysviiva 29">
              <a:extLst>
                <a:ext uri="{FF2B5EF4-FFF2-40B4-BE49-F238E27FC236}">
                  <a16:creationId xmlns:a16="http://schemas.microsoft.com/office/drawing/2014/main" id="{217956B7-F9FC-BB91-06F9-23657FE0F960}"/>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1" name="Suora yhdysviiva 30">
              <a:extLst>
                <a:ext uri="{FF2B5EF4-FFF2-40B4-BE49-F238E27FC236}">
                  <a16:creationId xmlns:a16="http://schemas.microsoft.com/office/drawing/2014/main" id="{CBAD0385-8C34-198F-C7A9-3BD41B5D4873}"/>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2" name="Suora yhdysviiva 31">
              <a:extLst>
                <a:ext uri="{FF2B5EF4-FFF2-40B4-BE49-F238E27FC236}">
                  <a16:creationId xmlns:a16="http://schemas.microsoft.com/office/drawing/2014/main" id="{70449757-3814-56C1-A72D-B7EBCCFE7A46}"/>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3" name="Suora yhdysviiva 32">
              <a:extLst>
                <a:ext uri="{FF2B5EF4-FFF2-40B4-BE49-F238E27FC236}">
                  <a16:creationId xmlns:a16="http://schemas.microsoft.com/office/drawing/2014/main" id="{15EC6994-93B7-957F-E803-835021D23E6A}"/>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4" name="Suora yhdysviiva 33">
              <a:extLst>
                <a:ext uri="{FF2B5EF4-FFF2-40B4-BE49-F238E27FC236}">
                  <a16:creationId xmlns:a16="http://schemas.microsoft.com/office/drawing/2014/main" id="{F7D92DD2-FA86-E780-416D-05B13F130DDF}"/>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5" name="Suora yhdysviiva 34">
              <a:extLst>
                <a:ext uri="{FF2B5EF4-FFF2-40B4-BE49-F238E27FC236}">
                  <a16:creationId xmlns:a16="http://schemas.microsoft.com/office/drawing/2014/main" id="{FEA6D3D3-3212-B927-9B7A-E0D06393A1B1}"/>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6" name="Suora yhdysviiva 35">
              <a:extLst>
                <a:ext uri="{FF2B5EF4-FFF2-40B4-BE49-F238E27FC236}">
                  <a16:creationId xmlns:a16="http://schemas.microsoft.com/office/drawing/2014/main" id="{47EEECF2-E812-02CA-15EB-CEC87820B723}"/>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7" name="Suora yhdysviiva 36">
              <a:extLst>
                <a:ext uri="{FF2B5EF4-FFF2-40B4-BE49-F238E27FC236}">
                  <a16:creationId xmlns:a16="http://schemas.microsoft.com/office/drawing/2014/main" id="{6425E718-64C1-EEF3-E5DE-FDA77850D676}"/>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8" name="Suora yhdysviiva 37">
              <a:extLst>
                <a:ext uri="{FF2B5EF4-FFF2-40B4-BE49-F238E27FC236}">
                  <a16:creationId xmlns:a16="http://schemas.microsoft.com/office/drawing/2014/main" id="{846C0CBF-99F7-836F-0881-61F44B28C43D}"/>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9" name="Suora yhdysviiva 38">
              <a:extLst>
                <a:ext uri="{FF2B5EF4-FFF2-40B4-BE49-F238E27FC236}">
                  <a16:creationId xmlns:a16="http://schemas.microsoft.com/office/drawing/2014/main" id="{6B18B720-4B15-DD33-3E3C-E2200B05CA20}"/>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0" name="Suora yhdysviiva 39">
              <a:extLst>
                <a:ext uri="{FF2B5EF4-FFF2-40B4-BE49-F238E27FC236}">
                  <a16:creationId xmlns:a16="http://schemas.microsoft.com/office/drawing/2014/main" id="{E1191511-1785-956C-DA42-40EB8FC5D196}"/>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1" name="Suora yhdysviiva 40">
              <a:extLst>
                <a:ext uri="{FF2B5EF4-FFF2-40B4-BE49-F238E27FC236}">
                  <a16:creationId xmlns:a16="http://schemas.microsoft.com/office/drawing/2014/main" id="{0EC8BD16-59B3-3564-4EE8-9142B706ACB3}"/>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2" name="Suora yhdysviiva 41">
              <a:extLst>
                <a:ext uri="{FF2B5EF4-FFF2-40B4-BE49-F238E27FC236}">
                  <a16:creationId xmlns:a16="http://schemas.microsoft.com/office/drawing/2014/main" id="{B69E5DE2-1517-5323-D12C-066ABBD630E8}"/>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3" name="Suora yhdysviiva 42">
              <a:extLst>
                <a:ext uri="{FF2B5EF4-FFF2-40B4-BE49-F238E27FC236}">
                  <a16:creationId xmlns:a16="http://schemas.microsoft.com/office/drawing/2014/main" id="{C20233D6-D6BF-A6E6-713B-D6C3E22026BD}"/>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4" name="Suora yhdysviiva 43">
              <a:extLst>
                <a:ext uri="{FF2B5EF4-FFF2-40B4-BE49-F238E27FC236}">
                  <a16:creationId xmlns:a16="http://schemas.microsoft.com/office/drawing/2014/main" id="{C086AA8B-AAC0-63B5-EE13-8369B8576EEE}"/>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5" name="Suora yhdysviiva 44">
              <a:extLst>
                <a:ext uri="{FF2B5EF4-FFF2-40B4-BE49-F238E27FC236}">
                  <a16:creationId xmlns:a16="http://schemas.microsoft.com/office/drawing/2014/main" id="{32F75DEB-C6BB-3314-1047-7B141ACE76F2}"/>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6" name="Suora yhdysviiva 45">
              <a:extLst>
                <a:ext uri="{FF2B5EF4-FFF2-40B4-BE49-F238E27FC236}">
                  <a16:creationId xmlns:a16="http://schemas.microsoft.com/office/drawing/2014/main" id="{368D1E78-5FE4-2AE5-4E90-4427EBF214F1}"/>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7" name="Suora yhdysviiva 46">
              <a:extLst>
                <a:ext uri="{FF2B5EF4-FFF2-40B4-BE49-F238E27FC236}">
                  <a16:creationId xmlns:a16="http://schemas.microsoft.com/office/drawing/2014/main" id="{890D5446-4A2C-E83C-12EF-6654D54FAC1F}"/>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8" name="Suora yhdysviiva 47">
              <a:extLst>
                <a:ext uri="{FF2B5EF4-FFF2-40B4-BE49-F238E27FC236}">
                  <a16:creationId xmlns:a16="http://schemas.microsoft.com/office/drawing/2014/main" id="{67976B15-DFFB-2442-39A5-3610DCCD1749}"/>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9" name="Suora yhdysviiva 48">
              <a:extLst>
                <a:ext uri="{FF2B5EF4-FFF2-40B4-BE49-F238E27FC236}">
                  <a16:creationId xmlns:a16="http://schemas.microsoft.com/office/drawing/2014/main" id="{BA8060BD-1D0E-7186-40EB-3A0DA6F216B2}"/>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0" name="Suora yhdysviiva 49">
              <a:extLst>
                <a:ext uri="{FF2B5EF4-FFF2-40B4-BE49-F238E27FC236}">
                  <a16:creationId xmlns:a16="http://schemas.microsoft.com/office/drawing/2014/main" id="{1CAF3489-B014-D127-0D7B-FFE912F60D81}"/>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1" name="Suora yhdysviiva 50">
              <a:extLst>
                <a:ext uri="{FF2B5EF4-FFF2-40B4-BE49-F238E27FC236}">
                  <a16:creationId xmlns:a16="http://schemas.microsoft.com/office/drawing/2014/main" id="{2F25F112-34A0-D5EC-887E-07A346B854A0}"/>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2" name="Suora yhdysviiva 51">
              <a:extLst>
                <a:ext uri="{FF2B5EF4-FFF2-40B4-BE49-F238E27FC236}">
                  <a16:creationId xmlns:a16="http://schemas.microsoft.com/office/drawing/2014/main" id="{55BDB344-C9A8-B6EA-43DB-62835C396705}"/>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3" name="Suora yhdysviiva 52">
              <a:extLst>
                <a:ext uri="{FF2B5EF4-FFF2-40B4-BE49-F238E27FC236}">
                  <a16:creationId xmlns:a16="http://schemas.microsoft.com/office/drawing/2014/main" id="{3E213695-7AF9-B9F6-F2DE-222CD89B8E90}"/>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4" name="Suora yhdysviiva 53">
              <a:extLst>
                <a:ext uri="{FF2B5EF4-FFF2-40B4-BE49-F238E27FC236}">
                  <a16:creationId xmlns:a16="http://schemas.microsoft.com/office/drawing/2014/main" id="{3EF55A4E-5988-07F8-433B-504C1629DD14}"/>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5" name="Suora yhdysviiva 54">
              <a:extLst>
                <a:ext uri="{FF2B5EF4-FFF2-40B4-BE49-F238E27FC236}">
                  <a16:creationId xmlns:a16="http://schemas.microsoft.com/office/drawing/2014/main" id="{94C4B920-67D7-283F-F470-DBF042CD7510}"/>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6" name="Suora yhdysviiva 55">
              <a:extLst>
                <a:ext uri="{FF2B5EF4-FFF2-40B4-BE49-F238E27FC236}">
                  <a16:creationId xmlns:a16="http://schemas.microsoft.com/office/drawing/2014/main" id="{3E5FC32B-9C90-FA21-DE29-5BC912B80E6B}"/>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7" name="Suora yhdysviiva 56">
              <a:extLst>
                <a:ext uri="{FF2B5EF4-FFF2-40B4-BE49-F238E27FC236}">
                  <a16:creationId xmlns:a16="http://schemas.microsoft.com/office/drawing/2014/main" id="{628685C0-F708-5D71-739B-3C8A0BCDCEAE}"/>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8" name="Suora yhdysviiva 57">
              <a:extLst>
                <a:ext uri="{FF2B5EF4-FFF2-40B4-BE49-F238E27FC236}">
                  <a16:creationId xmlns:a16="http://schemas.microsoft.com/office/drawing/2014/main" id="{156F7635-CA3B-38C6-0C9B-BCCBCCC15368}"/>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9" name="Suora yhdysviiva 58">
              <a:extLst>
                <a:ext uri="{FF2B5EF4-FFF2-40B4-BE49-F238E27FC236}">
                  <a16:creationId xmlns:a16="http://schemas.microsoft.com/office/drawing/2014/main" id="{9782B30B-7829-C428-F5DE-BBE7B21DF815}"/>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0" name="Suora yhdysviiva 59">
              <a:extLst>
                <a:ext uri="{FF2B5EF4-FFF2-40B4-BE49-F238E27FC236}">
                  <a16:creationId xmlns:a16="http://schemas.microsoft.com/office/drawing/2014/main" id="{080B3104-FC03-B74F-31C8-2EDE5CE2F7ED}"/>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1" name="Suora yhdysviiva 60">
              <a:extLst>
                <a:ext uri="{FF2B5EF4-FFF2-40B4-BE49-F238E27FC236}">
                  <a16:creationId xmlns:a16="http://schemas.microsoft.com/office/drawing/2014/main" id="{E39F692D-E997-EC06-81A6-CDF3DB4A54C2}"/>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2" name="Suora yhdysviiva 61">
              <a:extLst>
                <a:ext uri="{FF2B5EF4-FFF2-40B4-BE49-F238E27FC236}">
                  <a16:creationId xmlns:a16="http://schemas.microsoft.com/office/drawing/2014/main" id="{048B1776-6B81-F667-D94D-BE7FA016B345}"/>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3" name="Suora yhdysviiva 62">
              <a:extLst>
                <a:ext uri="{FF2B5EF4-FFF2-40B4-BE49-F238E27FC236}">
                  <a16:creationId xmlns:a16="http://schemas.microsoft.com/office/drawing/2014/main" id="{84D634BD-FC04-890C-6F44-D85A7E89835E}"/>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4" name="Suora yhdysviiva 63">
              <a:extLst>
                <a:ext uri="{FF2B5EF4-FFF2-40B4-BE49-F238E27FC236}">
                  <a16:creationId xmlns:a16="http://schemas.microsoft.com/office/drawing/2014/main" id="{D713D87C-43E1-D74D-D3B3-888E3D5B43D2}"/>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5" name="Suora yhdysviiva 64">
              <a:extLst>
                <a:ext uri="{FF2B5EF4-FFF2-40B4-BE49-F238E27FC236}">
                  <a16:creationId xmlns:a16="http://schemas.microsoft.com/office/drawing/2014/main" id="{D58A69A2-AEED-8BC6-17E5-8EAB21D525BA}"/>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6" name="Suora yhdysviiva 65">
              <a:extLst>
                <a:ext uri="{FF2B5EF4-FFF2-40B4-BE49-F238E27FC236}">
                  <a16:creationId xmlns:a16="http://schemas.microsoft.com/office/drawing/2014/main" id="{42620C86-F4B7-CBA6-A31F-F1D60AB9FA3E}"/>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7" name="Suora yhdysviiva 66">
              <a:extLst>
                <a:ext uri="{FF2B5EF4-FFF2-40B4-BE49-F238E27FC236}">
                  <a16:creationId xmlns:a16="http://schemas.microsoft.com/office/drawing/2014/main" id="{12D1052E-4A95-BC5E-A921-DA9D236C9E0F}"/>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8" name="Suora yhdysviiva 67">
              <a:extLst>
                <a:ext uri="{FF2B5EF4-FFF2-40B4-BE49-F238E27FC236}">
                  <a16:creationId xmlns:a16="http://schemas.microsoft.com/office/drawing/2014/main" id="{140C147E-5623-2590-612D-554874E0C22C}"/>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9" name="Suora yhdysviiva 68">
              <a:extLst>
                <a:ext uri="{FF2B5EF4-FFF2-40B4-BE49-F238E27FC236}">
                  <a16:creationId xmlns:a16="http://schemas.microsoft.com/office/drawing/2014/main" id="{26A4B7E7-3AD9-B2CC-4FCA-FD0DB17C7398}"/>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0" name="Suora yhdysviiva 69">
              <a:extLst>
                <a:ext uri="{FF2B5EF4-FFF2-40B4-BE49-F238E27FC236}">
                  <a16:creationId xmlns:a16="http://schemas.microsoft.com/office/drawing/2014/main" id="{54ED647A-F784-A20D-1AE9-263C3295551A}"/>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1" name="Suora yhdysviiva 70">
              <a:extLst>
                <a:ext uri="{FF2B5EF4-FFF2-40B4-BE49-F238E27FC236}">
                  <a16:creationId xmlns:a16="http://schemas.microsoft.com/office/drawing/2014/main" id="{B933A6BE-E9CF-1EF9-0238-E5864D0F1815}"/>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2" name="Suora yhdysviiva 71">
              <a:extLst>
                <a:ext uri="{FF2B5EF4-FFF2-40B4-BE49-F238E27FC236}">
                  <a16:creationId xmlns:a16="http://schemas.microsoft.com/office/drawing/2014/main" id="{E606BFB4-828F-C576-8607-50A96D02623D}"/>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3" name="Suora yhdysviiva 72">
              <a:extLst>
                <a:ext uri="{FF2B5EF4-FFF2-40B4-BE49-F238E27FC236}">
                  <a16:creationId xmlns:a16="http://schemas.microsoft.com/office/drawing/2014/main" id="{94742BAF-365C-90A1-8C23-B29FB903196E}"/>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4" name="Suora yhdysviiva 73">
              <a:extLst>
                <a:ext uri="{FF2B5EF4-FFF2-40B4-BE49-F238E27FC236}">
                  <a16:creationId xmlns:a16="http://schemas.microsoft.com/office/drawing/2014/main" id="{4020127E-E8D6-46A9-9E63-25487030D360}"/>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5" name="Suora yhdysviiva 74">
              <a:extLst>
                <a:ext uri="{FF2B5EF4-FFF2-40B4-BE49-F238E27FC236}">
                  <a16:creationId xmlns:a16="http://schemas.microsoft.com/office/drawing/2014/main" id="{D4820F0F-E7B2-3F77-5820-C1DBE131B999}"/>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6" name="Suora yhdysviiva 75">
              <a:extLst>
                <a:ext uri="{FF2B5EF4-FFF2-40B4-BE49-F238E27FC236}">
                  <a16:creationId xmlns:a16="http://schemas.microsoft.com/office/drawing/2014/main" id="{666E6DD7-E20F-8A34-6F91-F144185BAA01}"/>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7" name="Suora yhdysviiva 76">
              <a:extLst>
                <a:ext uri="{FF2B5EF4-FFF2-40B4-BE49-F238E27FC236}">
                  <a16:creationId xmlns:a16="http://schemas.microsoft.com/office/drawing/2014/main" id="{A104DFA5-F5E8-1B59-34E2-ACD2AD231C93}"/>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8" name="Suora yhdysviiva 77">
              <a:extLst>
                <a:ext uri="{FF2B5EF4-FFF2-40B4-BE49-F238E27FC236}">
                  <a16:creationId xmlns:a16="http://schemas.microsoft.com/office/drawing/2014/main" id="{0E989C2A-71B2-EBD2-614B-77DC3456D2D5}"/>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9" name="Suora yhdysviiva 78">
              <a:extLst>
                <a:ext uri="{FF2B5EF4-FFF2-40B4-BE49-F238E27FC236}">
                  <a16:creationId xmlns:a16="http://schemas.microsoft.com/office/drawing/2014/main" id="{2EE36DC3-5CFC-0090-4AA6-FC77C8AC8310}"/>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0" name="Suora yhdysviiva 79">
              <a:extLst>
                <a:ext uri="{FF2B5EF4-FFF2-40B4-BE49-F238E27FC236}">
                  <a16:creationId xmlns:a16="http://schemas.microsoft.com/office/drawing/2014/main" id="{4D693615-756C-D1FA-F682-481E88798842}"/>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1" name="Suora yhdysviiva 80">
              <a:extLst>
                <a:ext uri="{FF2B5EF4-FFF2-40B4-BE49-F238E27FC236}">
                  <a16:creationId xmlns:a16="http://schemas.microsoft.com/office/drawing/2014/main" id="{5E8A0B28-84A6-A326-6624-FB2F686EF683}"/>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2" name="Suora yhdysviiva 81">
              <a:extLst>
                <a:ext uri="{FF2B5EF4-FFF2-40B4-BE49-F238E27FC236}">
                  <a16:creationId xmlns:a16="http://schemas.microsoft.com/office/drawing/2014/main" id="{DEBAD190-C5CA-AE87-ED5D-CEA71F8A1447}"/>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3" name="Suora yhdysviiva 82">
              <a:extLst>
                <a:ext uri="{FF2B5EF4-FFF2-40B4-BE49-F238E27FC236}">
                  <a16:creationId xmlns:a16="http://schemas.microsoft.com/office/drawing/2014/main" id="{7F2951E9-63E5-8281-0E66-C6DA39E28767}"/>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4" name="Suora yhdysviiva 83">
              <a:extLst>
                <a:ext uri="{FF2B5EF4-FFF2-40B4-BE49-F238E27FC236}">
                  <a16:creationId xmlns:a16="http://schemas.microsoft.com/office/drawing/2014/main" id="{4058A871-0937-9D3B-D1AD-E2A9831B7947}"/>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5" name="Suora yhdysviiva 84">
              <a:extLst>
                <a:ext uri="{FF2B5EF4-FFF2-40B4-BE49-F238E27FC236}">
                  <a16:creationId xmlns:a16="http://schemas.microsoft.com/office/drawing/2014/main" id="{5421F7FE-7B37-58F5-8FB6-348B34E07D5E}"/>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grpSp>
        <p:nvGrpSpPr>
          <p:cNvPr id="86" name="Ryhmä 85">
            <a:extLst>
              <a:ext uri="{FF2B5EF4-FFF2-40B4-BE49-F238E27FC236}">
                <a16:creationId xmlns:a16="http://schemas.microsoft.com/office/drawing/2014/main" id="{2379BA9D-3038-6C8B-2396-E384A313B68B}"/>
              </a:ext>
            </a:extLst>
          </p:cNvPr>
          <p:cNvGrpSpPr/>
          <p:nvPr/>
        </p:nvGrpSpPr>
        <p:grpSpPr>
          <a:xfrm>
            <a:off x="2443988" y="2905874"/>
            <a:ext cx="8861479" cy="2983345"/>
            <a:chOff x="341745" y="2179782"/>
            <a:chExt cx="8861479" cy="2983345"/>
          </a:xfrm>
        </p:grpSpPr>
        <p:cxnSp>
          <p:nvCxnSpPr>
            <p:cNvPr id="87" name="Suora yhdysviiva 86">
              <a:extLst>
                <a:ext uri="{FF2B5EF4-FFF2-40B4-BE49-F238E27FC236}">
                  <a16:creationId xmlns:a16="http://schemas.microsoft.com/office/drawing/2014/main" id="{6E5193CD-CC06-5B64-C0B1-331717F64D11}"/>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88" name="Suora yhdysviiva 87">
              <a:extLst>
                <a:ext uri="{FF2B5EF4-FFF2-40B4-BE49-F238E27FC236}">
                  <a16:creationId xmlns:a16="http://schemas.microsoft.com/office/drawing/2014/main" id="{6C76ACB9-B56C-5977-D73D-A7054E467894}"/>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9" name="Suora yhdysviiva 88">
              <a:extLst>
                <a:ext uri="{FF2B5EF4-FFF2-40B4-BE49-F238E27FC236}">
                  <a16:creationId xmlns:a16="http://schemas.microsoft.com/office/drawing/2014/main" id="{DAD40DF1-E2B3-41D1-2980-34AF4791D3E3}"/>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0" name="Suora yhdysviiva 89">
              <a:extLst>
                <a:ext uri="{FF2B5EF4-FFF2-40B4-BE49-F238E27FC236}">
                  <a16:creationId xmlns:a16="http://schemas.microsoft.com/office/drawing/2014/main" id="{2E924E73-59CB-C3BF-BCFA-36272AE7285F}"/>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1" name="Suora yhdysviiva 90">
              <a:extLst>
                <a:ext uri="{FF2B5EF4-FFF2-40B4-BE49-F238E27FC236}">
                  <a16:creationId xmlns:a16="http://schemas.microsoft.com/office/drawing/2014/main" id="{06BB18BB-0E6A-81B4-3682-757E024A440F}"/>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2" name="Suora yhdysviiva 91">
              <a:extLst>
                <a:ext uri="{FF2B5EF4-FFF2-40B4-BE49-F238E27FC236}">
                  <a16:creationId xmlns:a16="http://schemas.microsoft.com/office/drawing/2014/main" id="{FC17149B-152F-CAF7-4418-F8CE62563CAF}"/>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3" name="Suora yhdysviiva 92">
              <a:extLst>
                <a:ext uri="{FF2B5EF4-FFF2-40B4-BE49-F238E27FC236}">
                  <a16:creationId xmlns:a16="http://schemas.microsoft.com/office/drawing/2014/main" id="{F05CA4A6-45A5-3A37-3E8C-50996F8C4952}"/>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4" name="Suora yhdysviiva 93">
              <a:extLst>
                <a:ext uri="{FF2B5EF4-FFF2-40B4-BE49-F238E27FC236}">
                  <a16:creationId xmlns:a16="http://schemas.microsoft.com/office/drawing/2014/main" id="{38D19CF6-CF62-55B8-7C82-6E1A58566C7C}"/>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5" name="Suora yhdysviiva 94">
              <a:extLst>
                <a:ext uri="{FF2B5EF4-FFF2-40B4-BE49-F238E27FC236}">
                  <a16:creationId xmlns:a16="http://schemas.microsoft.com/office/drawing/2014/main" id="{88450B7B-8F47-EB44-14FA-9DA6980B1644}"/>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6" name="Suora yhdysviiva 95">
              <a:extLst>
                <a:ext uri="{FF2B5EF4-FFF2-40B4-BE49-F238E27FC236}">
                  <a16:creationId xmlns:a16="http://schemas.microsoft.com/office/drawing/2014/main" id="{69C84985-312D-6419-10D3-D6C9738D0961}"/>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7" name="Suora yhdysviiva 96">
              <a:extLst>
                <a:ext uri="{FF2B5EF4-FFF2-40B4-BE49-F238E27FC236}">
                  <a16:creationId xmlns:a16="http://schemas.microsoft.com/office/drawing/2014/main" id="{BA292679-0E38-4A25-5F3A-570478186795}"/>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8" name="Suora yhdysviiva 97">
              <a:extLst>
                <a:ext uri="{FF2B5EF4-FFF2-40B4-BE49-F238E27FC236}">
                  <a16:creationId xmlns:a16="http://schemas.microsoft.com/office/drawing/2014/main" id="{EE60DF4C-4E7E-A2C7-9128-9580D46AC8A5}"/>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9" name="Suora yhdysviiva 98">
              <a:extLst>
                <a:ext uri="{FF2B5EF4-FFF2-40B4-BE49-F238E27FC236}">
                  <a16:creationId xmlns:a16="http://schemas.microsoft.com/office/drawing/2014/main" id="{8B0CA988-424A-A54E-AF40-116137839F20}"/>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0" name="Suora yhdysviiva 99">
              <a:extLst>
                <a:ext uri="{FF2B5EF4-FFF2-40B4-BE49-F238E27FC236}">
                  <a16:creationId xmlns:a16="http://schemas.microsoft.com/office/drawing/2014/main" id="{682CDC5F-9F99-B43A-BAC1-768DBAF9AC08}"/>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1" name="Suora yhdysviiva 100">
              <a:extLst>
                <a:ext uri="{FF2B5EF4-FFF2-40B4-BE49-F238E27FC236}">
                  <a16:creationId xmlns:a16="http://schemas.microsoft.com/office/drawing/2014/main" id="{3832C04A-C610-CA4F-30FC-80BF908B84FA}"/>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2" name="Suora yhdysviiva 101">
              <a:extLst>
                <a:ext uri="{FF2B5EF4-FFF2-40B4-BE49-F238E27FC236}">
                  <a16:creationId xmlns:a16="http://schemas.microsoft.com/office/drawing/2014/main" id="{8CFB0106-1A96-84F6-0D45-A59A02461831}"/>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3" name="Suora yhdysviiva 102">
              <a:extLst>
                <a:ext uri="{FF2B5EF4-FFF2-40B4-BE49-F238E27FC236}">
                  <a16:creationId xmlns:a16="http://schemas.microsoft.com/office/drawing/2014/main" id="{B0135610-53EF-EEEC-C313-A2E8B1DD8E91}"/>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4" name="Suora yhdysviiva 103">
              <a:extLst>
                <a:ext uri="{FF2B5EF4-FFF2-40B4-BE49-F238E27FC236}">
                  <a16:creationId xmlns:a16="http://schemas.microsoft.com/office/drawing/2014/main" id="{63E888A6-8B89-7DC2-3C18-A4FD3DD0FF5A}"/>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5" name="Suora yhdysviiva 104">
              <a:extLst>
                <a:ext uri="{FF2B5EF4-FFF2-40B4-BE49-F238E27FC236}">
                  <a16:creationId xmlns:a16="http://schemas.microsoft.com/office/drawing/2014/main" id="{D84D8467-4BFF-70B6-15FC-989EAF62D5B1}"/>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6" name="Suora yhdysviiva 105">
              <a:extLst>
                <a:ext uri="{FF2B5EF4-FFF2-40B4-BE49-F238E27FC236}">
                  <a16:creationId xmlns:a16="http://schemas.microsoft.com/office/drawing/2014/main" id="{97DE8DF3-D5A5-90FC-68DC-ADB3C17D578E}"/>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7" name="Suora yhdysviiva 106">
              <a:extLst>
                <a:ext uri="{FF2B5EF4-FFF2-40B4-BE49-F238E27FC236}">
                  <a16:creationId xmlns:a16="http://schemas.microsoft.com/office/drawing/2014/main" id="{B123ACB7-3AA9-1A16-BC27-68086B7B784A}"/>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8" name="Suora yhdysviiva 107">
              <a:extLst>
                <a:ext uri="{FF2B5EF4-FFF2-40B4-BE49-F238E27FC236}">
                  <a16:creationId xmlns:a16="http://schemas.microsoft.com/office/drawing/2014/main" id="{88B5DCE0-F240-2189-59CE-928965E878FC}"/>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9" name="Suora yhdysviiva 108">
              <a:extLst>
                <a:ext uri="{FF2B5EF4-FFF2-40B4-BE49-F238E27FC236}">
                  <a16:creationId xmlns:a16="http://schemas.microsoft.com/office/drawing/2014/main" id="{65FC625F-D7D4-D324-6184-AAD12FBC920F}"/>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0" name="Suora yhdysviiva 109">
              <a:extLst>
                <a:ext uri="{FF2B5EF4-FFF2-40B4-BE49-F238E27FC236}">
                  <a16:creationId xmlns:a16="http://schemas.microsoft.com/office/drawing/2014/main" id="{513A536B-B50D-C885-91A7-10DA761ED3A0}"/>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1" name="Suora yhdysviiva 110">
              <a:extLst>
                <a:ext uri="{FF2B5EF4-FFF2-40B4-BE49-F238E27FC236}">
                  <a16:creationId xmlns:a16="http://schemas.microsoft.com/office/drawing/2014/main" id="{65D2A292-7C6A-2DAD-D22E-756C1C5DD9ED}"/>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2" name="Suora yhdysviiva 111">
              <a:extLst>
                <a:ext uri="{FF2B5EF4-FFF2-40B4-BE49-F238E27FC236}">
                  <a16:creationId xmlns:a16="http://schemas.microsoft.com/office/drawing/2014/main" id="{2B438B6D-599B-98D1-EDC9-6B92FEF967C0}"/>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3" name="Suora yhdysviiva 112">
              <a:extLst>
                <a:ext uri="{FF2B5EF4-FFF2-40B4-BE49-F238E27FC236}">
                  <a16:creationId xmlns:a16="http://schemas.microsoft.com/office/drawing/2014/main" id="{965B1242-82B7-2629-9C96-043F8D9692F2}"/>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4" name="Suora yhdysviiva 113">
              <a:extLst>
                <a:ext uri="{FF2B5EF4-FFF2-40B4-BE49-F238E27FC236}">
                  <a16:creationId xmlns:a16="http://schemas.microsoft.com/office/drawing/2014/main" id="{266578F7-4B58-101D-454B-32F3E2D03457}"/>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5" name="Suora yhdysviiva 114">
              <a:extLst>
                <a:ext uri="{FF2B5EF4-FFF2-40B4-BE49-F238E27FC236}">
                  <a16:creationId xmlns:a16="http://schemas.microsoft.com/office/drawing/2014/main" id="{EBCA85A4-E98E-FC72-33C3-0BFC780DD631}"/>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6" name="Suora yhdysviiva 115">
              <a:extLst>
                <a:ext uri="{FF2B5EF4-FFF2-40B4-BE49-F238E27FC236}">
                  <a16:creationId xmlns:a16="http://schemas.microsoft.com/office/drawing/2014/main" id="{8EA9F896-B5E0-E1B1-B82D-3D90B91DB423}"/>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7" name="Suora yhdysviiva 116">
              <a:extLst>
                <a:ext uri="{FF2B5EF4-FFF2-40B4-BE49-F238E27FC236}">
                  <a16:creationId xmlns:a16="http://schemas.microsoft.com/office/drawing/2014/main" id="{38A3CFEA-46D8-7930-592E-65E426B1F9C4}"/>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8" name="Suora yhdysviiva 117">
              <a:extLst>
                <a:ext uri="{FF2B5EF4-FFF2-40B4-BE49-F238E27FC236}">
                  <a16:creationId xmlns:a16="http://schemas.microsoft.com/office/drawing/2014/main" id="{E6FF9F4B-54CF-0EF4-11E6-A6CA36624F58}"/>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9" name="Suora yhdysviiva 118">
              <a:extLst>
                <a:ext uri="{FF2B5EF4-FFF2-40B4-BE49-F238E27FC236}">
                  <a16:creationId xmlns:a16="http://schemas.microsoft.com/office/drawing/2014/main" id="{0E89E0C6-8323-DF14-F9EF-B9670F7C724D}"/>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0" name="Suora yhdysviiva 119">
              <a:extLst>
                <a:ext uri="{FF2B5EF4-FFF2-40B4-BE49-F238E27FC236}">
                  <a16:creationId xmlns:a16="http://schemas.microsoft.com/office/drawing/2014/main" id="{9B697504-754C-709B-EB99-0C02D350BF6B}"/>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1" name="Suora yhdysviiva 120">
              <a:extLst>
                <a:ext uri="{FF2B5EF4-FFF2-40B4-BE49-F238E27FC236}">
                  <a16:creationId xmlns:a16="http://schemas.microsoft.com/office/drawing/2014/main" id="{FBF170FF-B2C2-EC77-42B2-0761BEC4C52C}"/>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2" name="Suora yhdysviiva 121">
              <a:extLst>
                <a:ext uri="{FF2B5EF4-FFF2-40B4-BE49-F238E27FC236}">
                  <a16:creationId xmlns:a16="http://schemas.microsoft.com/office/drawing/2014/main" id="{9BF4B1FF-8F20-4171-CC25-40F52D075C4E}"/>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3" name="Suora yhdysviiva 122">
              <a:extLst>
                <a:ext uri="{FF2B5EF4-FFF2-40B4-BE49-F238E27FC236}">
                  <a16:creationId xmlns:a16="http://schemas.microsoft.com/office/drawing/2014/main" id="{8970CA6C-685E-C340-ACB4-3C44C15500C8}"/>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4" name="Suora yhdysviiva 123">
              <a:extLst>
                <a:ext uri="{FF2B5EF4-FFF2-40B4-BE49-F238E27FC236}">
                  <a16:creationId xmlns:a16="http://schemas.microsoft.com/office/drawing/2014/main" id="{610118C8-4969-406A-875A-C2A0B84C55FD}"/>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5" name="Suora yhdysviiva 124">
              <a:extLst>
                <a:ext uri="{FF2B5EF4-FFF2-40B4-BE49-F238E27FC236}">
                  <a16:creationId xmlns:a16="http://schemas.microsoft.com/office/drawing/2014/main" id="{B4B11515-1C91-CFE9-9827-B1910337F433}"/>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6" name="Suora yhdysviiva 125">
              <a:extLst>
                <a:ext uri="{FF2B5EF4-FFF2-40B4-BE49-F238E27FC236}">
                  <a16:creationId xmlns:a16="http://schemas.microsoft.com/office/drawing/2014/main" id="{B45A2E72-5EB8-FE9A-1C7C-6048600D8588}"/>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7" name="Suora yhdysviiva 126">
              <a:extLst>
                <a:ext uri="{FF2B5EF4-FFF2-40B4-BE49-F238E27FC236}">
                  <a16:creationId xmlns:a16="http://schemas.microsoft.com/office/drawing/2014/main" id="{7A31280E-6233-4500-61B4-900F8105708E}"/>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8" name="Suora yhdysviiva 127">
              <a:extLst>
                <a:ext uri="{FF2B5EF4-FFF2-40B4-BE49-F238E27FC236}">
                  <a16:creationId xmlns:a16="http://schemas.microsoft.com/office/drawing/2014/main" id="{1DDCC6E5-66BF-7057-5858-60BCBC37B544}"/>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9" name="Suora yhdysviiva 128">
              <a:extLst>
                <a:ext uri="{FF2B5EF4-FFF2-40B4-BE49-F238E27FC236}">
                  <a16:creationId xmlns:a16="http://schemas.microsoft.com/office/drawing/2014/main" id="{49092D4D-A252-3B89-D1F2-24DD670A481B}"/>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0" name="Suora yhdysviiva 129">
              <a:extLst>
                <a:ext uri="{FF2B5EF4-FFF2-40B4-BE49-F238E27FC236}">
                  <a16:creationId xmlns:a16="http://schemas.microsoft.com/office/drawing/2014/main" id="{D0FB58AE-0E92-2B7B-CCC8-5ADCEAB442B2}"/>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1" name="Suora yhdysviiva 130">
              <a:extLst>
                <a:ext uri="{FF2B5EF4-FFF2-40B4-BE49-F238E27FC236}">
                  <a16:creationId xmlns:a16="http://schemas.microsoft.com/office/drawing/2014/main" id="{0E8041AA-3206-1B20-2D5C-BF83157824B0}"/>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2" name="Suora yhdysviiva 131">
              <a:extLst>
                <a:ext uri="{FF2B5EF4-FFF2-40B4-BE49-F238E27FC236}">
                  <a16:creationId xmlns:a16="http://schemas.microsoft.com/office/drawing/2014/main" id="{00AE3EB9-68B2-5B22-753B-7495DEC8DDAC}"/>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3" name="Suora yhdysviiva 132">
              <a:extLst>
                <a:ext uri="{FF2B5EF4-FFF2-40B4-BE49-F238E27FC236}">
                  <a16:creationId xmlns:a16="http://schemas.microsoft.com/office/drawing/2014/main" id="{857B1970-FBEB-8AA4-FB67-123380297F8A}"/>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4" name="Suora yhdysviiva 133">
              <a:extLst>
                <a:ext uri="{FF2B5EF4-FFF2-40B4-BE49-F238E27FC236}">
                  <a16:creationId xmlns:a16="http://schemas.microsoft.com/office/drawing/2014/main" id="{64FA3F01-E010-2218-E585-27331469C8CD}"/>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5" name="Suora yhdysviiva 134">
              <a:extLst>
                <a:ext uri="{FF2B5EF4-FFF2-40B4-BE49-F238E27FC236}">
                  <a16:creationId xmlns:a16="http://schemas.microsoft.com/office/drawing/2014/main" id="{6DB3CC78-AADB-B9BF-F9E8-A3CACE9B4C35}"/>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6" name="Suora yhdysviiva 135">
              <a:extLst>
                <a:ext uri="{FF2B5EF4-FFF2-40B4-BE49-F238E27FC236}">
                  <a16:creationId xmlns:a16="http://schemas.microsoft.com/office/drawing/2014/main" id="{78D08674-D6BD-B876-C590-A3BAABE7EA6B}"/>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7" name="Suora yhdysviiva 136">
              <a:extLst>
                <a:ext uri="{FF2B5EF4-FFF2-40B4-BE49-F238E27FC236}">
                  <a16:creationId xmlns:a16="http://schemas.microsoft.com/office/drawing/2014/main" id="{0F5A6540-CD08-20F9-DEB2-4EE3EF46F7B1}"/>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8" name="Suora yhdysviiva 137">
              <a:extLst>
                <a:ext uri="{FF2B5EF4-FFF2-40B4-BE49-F238E27FC236}">
                  <a16:creationId xmlns:a16="http://schemas.microsoft.com/office/drawing/2014/main" id="{57FC03E4-3C94-BF38-3218-A65BD4981050}"/>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9" name="Suora yhdysviiva 138">
              <a:extLst>
                <a:ext uri="{FF2B5EF4-FFF2-40B4-BE49-F238E27FC236}">
                  <a16:creationId xmlns:a16="http://schemas.microsoft.com/office/drawing/2014/main" id="{69EFC128-FC12-584E-DBA2-443676791769}"/>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0" name="Suora yhdysviiva 139">
              <a:extLst>
                <a:ext uri="{FF2B5EF4-FFF2-40B4-BE49-F238E27FC236}">
                  <a16:creationId xmlns:a16="http://schemas.microsoft.com/office/drawing/2014/main" id="{4A1B3C99-94DA-173C-8EB0-51E9BA265844}"/>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1" name="Suora yhdysviiva 140">
              <a:extLst>
                <a:ext uri="{FF2B5EF4-FFF2-40B4-BE49-F238E27FC236}">
                  <a16:creationId xmlns:a16="http://schemas.microsoft.com/office/drawing/2014/main" id="{5058BCF7-1493-920F-0D0A-705136EF4ACC}"/>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2" name="Suora yhdysviiva 141">
              <a:extLst>
                <a:ext uri="{FF2B5EF4-FFF2-40B4-BE49-F238E27FC236}">
                  <a16:creationId xmlns:a16="http://schemas.microsoft.com/office/drawing/2014/main" id="{96CF97C0-080D-050B-FF18-5F49DF05366B}"/>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3" name="Suora yhdysviiva 142">
              <a:extLst>
                <a:ext uri="{FF2B5EF4-FFF2-40B4-BE49-F238E27FC236}">
                  <a16:creationId xmlns:a16="http://schemas.microsoft.com/office/drawing/2014/main" id="{0D6B53D6-CA22-089C-DEF7-EE4F7B414866}"/>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4" name="Suora yhdysviiva 143">
              <a:extLst>
                <a:ext uri="{FF2B5EF4-FFF2-40B4-BE49-F238E27FC236}">
                  <a16:creationId xmlns:a16="http://schemas.microsoft.com/office/drawing/2014/main" id="{66D3CC81-31F9-96ED-97A2-ED6D20080A1E}"/>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5" name="Suora yhdysviiva 144">
              <a:extLst>
                <a:ext uri="{FF2B5EF4-FFF2-40B4-BE49-F238E27FC236}">
                  <a16:creationId xmlns:a16="http://schemas.microsoft.com/office/drawing/2014/main" id="{718DD440-6D61-9A56-840E-99477F1EAF22}"/>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6" name="Suora yhdysviiva 145">
              <a:extLst>
                <a:ext uri="{FF2B5EF4-FFF2-40B4-BE49-F238E27FC236}">
                  <a16:creationId xmlns:a16="http://schemas.microsoft.com/office/drawing/2014/main" id="{ABC0841A-F49A-0E87-3530-A98E21ABCC52}"/>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7" name="Suora yhdysviiva 146">
              <a:extLst>
                <a:ext uri="{FF2B5EF4-FFF2-40B4-BE49-F238E27FC236}">
                  <a16:creationId xmlns:a16="http://schemas.microsoft.com/office/drawing/2014/main" id="{B7025372-D088-BE9B-3538-E40F5A0D3ED9}"/>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8" name="Suora yhdysviiva 147">
              <a:extLst>
                <a:ext uri="{FF2B5EF4-FFF2-40B4-BE49-F238E27FC236}">
                  <a16:creationId xmlns:a16="http://schemas.microsoft.com/office/drawing/2014/main" id="{5DB54F87-A606-11AB-9F42-8002987FEB54}"/>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9" name="Suora yhdysviiva 148">
              <a:extLst>
                <a:ext uri="{FF2B5EF4-FFF2-40B4-BE49-F238E27FC236}">
                  <a16:creationId xmlns:a16="http://schemas.microsoft.com/office/drawing/2014/main" id="{4DD35929-CDEF-42CC-D8F4-42213C023224}"/>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0" name="Suora yhdysviiva 149">
              <a:extLst>
                <a:ext uri="{FF2B5EF4-FFF2-40B4-BE49-F238E27FC236}">
                  <a16:creationId xmlns:a16="http://schemas.microsoft.com/office/drawing/2014/main" id="{7D6A87EB-FD20-9A2B-3789-2E23C734B20B}"/>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1" name="Suora yhdysviiva 150">
              <a:extLst>
                <a:ext uri="{FF2B5EF4-FFF2-40B4-BE49-F238E27FC236}">
                  <a16:creationId xmlns:a16="http://schemas.microsoft.com/office/drawing/2014/main" id="{E9792F6D-34A2-35A0-61E4-5989926CB4D2}"/>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2" name="Suora yhdysviiva 151">
              <a:extLst>
                <a:ext uri="{FF2B5EF4-FFF2-40B4-BE49-F238E27FC236}">
                  <a16:creationId xmlns:a16="http://schemas.microsoft.com/office/drawing/2014/main" id="{45A156E0-68F2-DDF3-3ED9-8F0757133DB5}"/>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3" name="Suora yhdysviiva 152">
              <a:extLst>
                <a:ext uri="{FF2B5EF4-FFF2-40B4-BE49-F238E27FC236}">
                  <a16:creationId xmlns:a16="http://schemas.microsoft.com/office/drawing/2014/main" id="{61EE81BC-9F38-E55E-15F6-2FC35C18957E}"/>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4" name="Suora yhdysviiva 153">
              <a:extLst>
                <a:ext uri="{FF2B5EF4-FFF2-40B4-BE49-F238E27FC236}">
                  <a16:creationId xmlns:a16="http://schemas.microsoft.com/office/drawing/2014/main" id="{2921087A-D436-73DF-DDB3-7ED0AEC997CC}"/>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5" name="Suora yhdysviiva 154">
              <a:extLst>
                <a:ext uri="{FF2B5EF4-FFF2-40B4-BE49-F238E27FC236}">
                  <a16:creationId xmlns:a16="http://schemas.microsoft.com/office/drawing/2014/main" id="{7AB07E45-3DDA-5ACB-E829-56BFCC18B8AA}"/>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6" name="Suora yhdysviiva 155">
              <a:extLst>
                <a:ext uri="{FF2B5EF4-FFF2-40B4-BE49-F238E27FC236}">
                  <a16:creationId xmlns:a16="http://schemas.microsoft.com/office/drawing/2014/main" id="{B9D800DB-1C9F-67D5-84ED-9A18735F631D}"/>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7" name="Suora yhdysviiva 156">
              <a:extLst>
                <a:ext uri="{FF2B5EF4-FFF2-40B4-BE49-F238E27FC236}">
                  <a16:creationId xmlns:a16="http://schemas.microsoft.com/office/drawing/2014/main" id="{1A489459-F633-02F9-AE4B-9F54C7E0AF12}"/>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8" name="Suora yhdysviiva 157">
              <a:extLst>
                <a:ext uri="{FF2B5EF4-FFF2-40B4-BE49-F238E27FC236}">
                  <a16:creationId xmlns:a16="http://schemas.microsoft.com/office/drawing/2014/main" id="{F49F994E-0319-C0BC-8877-CB2A04B92E2C}"/>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9" name="Suora yhdysviiva 158">
              <a:extLst>
                <a:ext uri="{FF2B5EF4-FFF2-40B4-BE49-F238E27FC236}">
                  <a16:creationId xmlns:a16="http://schemas.microsoft.com/office/drawing/2014/main" id="{8EB81AFA-0B36-1647-8DA8-1187BC56FD5F}"/>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0" name="Suora yhdysviiva 159">
              <a:extLst>
                <a:ext uri="{FF2B5EF4-FFF2-40B4-BE49-F238E27FC236}">
                  <a16:creationId xmlns:a16="http://schemas.microsoft.com/office/drawing/2014/main" id="{5F0CF5B7-EBDC-A682-6357-E4105693034A}"/>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1" name="Suora yhdysviiva 160">
              <a:extLst>
                <a:ext uri="{FF2B5EF4-FFF2-40B4-BE49-F238E27FC236}">
                  <a16:creationId xmlns:a16="http://schemas.microsoft.com/office/drawing/2014/main" id="{C7B9561B-D9DC-DC10-FC8B-A2E15A4F68C1}"/>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2" name="Suora yhdysviiva 161">
              <a:extLst>
                <a:ext uri="{FF2B5EF4-FFF2-40B4-BE49-F238E27FC236}">
                  <a16:creationId xmlns:a16="http://schemas.microsoft.com/office/drawing/2014/main" id="{2640F4D7-FCF2-517F-5B54-83E236FFCF7A}"/>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sp>
        <p:nvSpPr>
          <p:cNvPr id="163" name="Tekstiruutu 162">
            <a:extLst>
              <a:ext uri="{FF2B5EF4-FFF2-40B4-BE49-F238E27FC236}">
                <a16:creationId xmlns:a16="http://schemas.microsoft.com/office/drawing/2014/main" id="{FB9AC3CB-6CE8-AC6A-F83B-5775464E9088}"/>
              </a:ext>
            </a:extLst>
          </p:cNvPr>
          <p:cNvSpPr txBox="1"/>
          <p:nvPr/>
        </p:nvSpPr>
        <p:spPr>
          <a:xfrm rot="20439951">
            <a:off x="8318497" y="3559677"/>
            <a:ext cx="3289683" cy="369332"/>
          </a:xfrm>
          <a:prstGeom prst="rect">
            <a:avLst/>
          </a:prstGeom>
          <a:noFill/>
        </p:spPr>
        <p:txBody>
          <a:bodyPr wrap="none" rtlCol="0">
            <a:spAutoFit/>
          </a:bodyPr>
          <a:lstStyle/>
          <a:p>
            <a:r>
              <a:rPr lang="fi-FI" dirty="0"/>
              <a:t>Maanalainen asemakaava</a:t>
            </a:r>
          </a:p>
        </p:txBody>
      </p:sp>
      <p:sp>
        <p:nvSpPr>
          <p:cNvPr id="164" name="Tekstiruutu 163">
            <a:extLst>
              <a:ext uri="{FF2B5EF4-FFF2-40B4-BE49-F238E27FC236}">
                <a16:creationId xmlns:a16="http://schemas.microsoft.com/office/drawing/2014/main" id="{CB9E443A-C6D9-D253-A111-DE7D4B66FBCD}"/>
              </a:ext>
            </a:extLst>
          </p:cNvPr>
          <p:cNvSpPr txBox="1"/>
          <p:nvPr/>
        </p:nvSpPr>
        <p:spPr>
          <a:xfrm rot="20439951">
            <a:off x="-25539" y="2095669"/>
            <a:ext cx="3501280" cy="369332"/>
          </a:xfrm>
          <a:prstGeom prst="rect">
            <a:avLst/>
          </a:prstGeom>
          <a:noFill/>
        </p:spPr>
        <p:txBody>
          <a:bodyPr wrap="none" rtlCol="0">
            <a:spAutoFit/>
          </a:bodyPr>
          <a:lstStyle/>
          <a:p>
            <a:r>
              <a:rPr lang="fi-FI" dirty="0"/>
              <a:t>Maanpäällinen asemakaava</a:t>
            </a:r>
          </a:p>
        </p:txBody>
      </p:sp>
      <p:sp>
        <p:nvSpPr>
          <p:cNvPr id="166" name="Vapaamuotoinen: Muoto 165">
            <a:extLst>
              <a:ext uri="{FF2B5EF4-FFF2-40B4-BE49-F238E27FC236}">
                <a16:creationId xmlns:a16="http://schemas.microsoft.com/office/drawing/2014/main" id="{8258CB0F-8531-58B4-D80B-ABDE2EEDA6D6}"/>
              </a:ext>
            </a:extLst>
          </p:cNvPr>
          <p:cNvSpPr/>
          <p:nvPr/>
        </p:nvSpPr>
        <p:spPr>
          <a:xfrm>
            <a:off x="5213907" y="2974477"/>
            <a:ext cx="785444" cy="1493868"/>
          </a:xfrm>
          <a:custGeom>
            <a:avLst/>
            <a:gdLst>
              <a:gd name="csX0" fmla="*/ 0 w 728662"/>
              <a:gd name="csY0" fmla="*/ 0 h 1695450"/>
              <a:gd name="csX1" fmla="*/ 0 w 728662"/>
              <a:gd name="csY1" fmla="*/ 1533525 h 1695450"/>
              <a:gd name="csX2" fmla="*/ 247650 w 728662"/>
              <a:gd name="csY2" fmla="*/ 1695450 h 1695450"/>
              <a:gd name="csX3" fmla="*/ 728662 w 728662"/>
              <a:gd name="csY3" fmla="*/ 1509712 h 1695450"/>
              <a:gd name="csX4" fmla="*/ 728662 w 728662"/>
              <a:gd name="csY4" fmla="*/ 266700 h 1695450"/>
              <a:gd name="csX0" fmla="*/ 0 w 728662"/>
              <a:gd name="csY0" fmla="*/ 0 h 1695450"/>
              <a:gd name="csX1" fmla="*/ 0 w 728662"/>
              <a:gd name="csY1" fmla="*/ 1586865 h 1695450"/>
              <a:gd name="csX2" fmla="*/ 247650 w 728662"/>
              <a:gd name="csY2" fmla="*/ 1695450 h 1695450"/>
              <a:gd name="csX3" fmla="*/ 728662 w 728662"/>
              <a:gd name="csY3" fmla="*/ 1509712 h 1695450"/>
              <a:gd name="csX4" fmla="*/ 728662 w 728662"/>
              <a:gd name="csY4" fmla="*/ 266700 h 1695450"/>
              <a:gd name="csX0" fmla="*/ 0 w 728662"/>
              <a:gd name="csY0" fmla="*/ 0 h 1679820"/>
              <a:gd name="csX1" fmla="*/ 0 w 728662"/>
              <a:gd name="csY1" fmla="*/ 1586865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5481 w 728662"/>
              <a:gd name="csY4" fmla="*/ 125961 h 1679820"/>
              <a:gd name="csX0" fmla="*/ 0 w 728662"/>
              <a:gd name="csY0" fmla="*/ 0 h 1679820"/>
              <a:gd name="csX1" fmla="*/ 3181 w 728662"/>
              <a:gd name="csY1" fmla="*/ 1534436 h 1679820"/>
              <a:gd name="csX2" fmla="*/ 301725 w 728662"/>
              <a:gd name="csY2" fmla="*/ 1679820 h 1679820"/>
              <a:gd name="csX3" fmla="*/ 728662 w 728662"/>
              <a:gd name="csY3" fmla="*/ 1509712 h 1679820"/>
              <a:gd name="csX4" fmla="*/ 725481 w 728662"/>
              <a:gd name="csY4" fmla="*/ 125961 h 1679820"/>
            </a:gdLst>
            <a:ahLst/>
            <a:cxnLst>
              <a:cxn ang="0">
                <a:pos x="csX0" y="csY0"/>
              </a:cxn>
              <a:cxn ang="0">
                <a:pos x="csX1" y="csY1"/>
              </a:cxn>
              <a:cxn ang="0">
                <a:pos x="csX2" y="csY2"/>
              </a:cxn>
              <a:cxn ang="0">
                <a:pos x="csX3" y="csY3"/>
              </a:cxn>
              <a:cxn ang="0">
                <a:pos x="csX4" y="csY4"/>
              </a:cxn>
            </a:cxnLst>
            <a:rect l="l" t="t" r="r" b="b"/>
            <a:pathLst>
              <a:path w="728662" h="1679820">
                <a:moveTo>
                  <a:pt x="0" y="0"/>
                </a:moveTo>
                <a:cubicBezTo>
                  <a:pt x="2121" y="517493"/>
                  <a:pt x="1060" y="1016943"/>
                  <a:pt x="3181" y="1534436"/>
                </a:cubicBezTo>
                <a:lnTo>
                  <a:pt x="301725" y="1679820"/>
                </a:lnTo>
                <a:lnTo>
                  <a:pt x="728662" y="1509712"/>
                </a:lnTo>
                <a:cubicBezTo>
                  <a:pt x="727602" y="1048462"/>
                  <a:pt x="726541" y="587211"/>
                  <a:pt x="725481" y="125961"/>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cxnSp>
        <p:nvCxnSpPr>
          <p:cNvPr id="167" name="Suora yhdysviiva 166">
            <a:extLst>
              <a:ext uri="{FF2B5EF4-FFF2-40B4-BE49-F238E27FC236}">
                <a16:creationId xmlns:a16="http://schemas.microsoft.com/office/drawing/2014/main" id="{554907BA-0F58-4D62-2467-C000CF57B65D}"/>
              </a:ext>
            </a:extLst>
          </p:cNvPr>
          <p:cNvCxnSpPr>
            <a:cxnSpLocks/>
          </p:cNvCxnSpPr>
          <p:nvPr/>
        </p:nvCxnSpPr>
        <p:spPr>
          <a:xfrm flipV="1">
            <a:off x="5525057" y="3136900"/>
            <a:ext cx="0" cy="1333741"/>
          </a:xfrm>
          <a:prstGeom prst="line">
            <a:avLst/>
          </a:prstGeom>
          <a:ln w="12700"/>
        </p:spPr>
        <p:style>
          <a:lnRef idx="2">
            <a:schemeClr val="dk1"/>
          </a:lnRef>
          <a:fillRef idx="0">
            <a:schemeClr val="dk1"/>
          </a:fillRef>
          <a:effectRef idx="1">
            <a:schemeClr val="dk1"/>
          </a:effectRef>
          <a:fontRef idx="minor">
            <a:schemeClr val="tx1"/>
          </a:fontRef>
        </p:style>
      </p:cxnSp>
      <p:sp>
        <p:nvSpPr>
          <p:cNvPr id="8" name="Vapaamuotoinen: Muoto 7">
            <a:extLst>
              <a:ext uri="{FF2B5EF4-FFF2-40B4-BE49-F238E27FC236}">
                <a16:creationId xmlns:a16="http://schemas.microsoft.com/office/drawing/2014/main" id="{948FAC2E-93CC-7FC5-D3F4-735AB6B79818}"/>
              </a:ext>
            </a:extLst>
          </p:cNvPr>
          <p:cNvSpPr/>
          <p:nvPr/>
        </p:nvSpPr>
        <p:spPr>
          <a:xfrm>
            <a:off x="4581332" y="2067507"/>
            <a:ext cx="2304190" cy="796992"/>
          </a:xfrm>
          <a:custGeom>
            <a:avLst/>
            <a:gdLst>
              <a:gd name="csX0" fmla="*/ 0 w 2743200"/>
              <a:gd name="csY0" fmla="*/ 484095 h 941295"/>
              <a:gd name="csX1" fmla="*/ 1658471 w 2743200"/>
              <a:gd name="csY1" fmla="*/ 0 h 941295"/>
              <a:gd name="csX2" fmla="*/ 2743200 w 2743200"/>
              <a:gd name="csY2" fmla="*/ 367553 h 941295"/>
              <a:gd name="csX3" fmla="*/ 1021977 w 2743200"/>
              <a:gd name="csY3" fmla="*/ 941295 h 941295"/>
              <a:gd name="csX4" fmla="*/ 0 w 2743200"/>
              <a:gd name="csY4" fmla="*/ 484095 h 941295"/>
              <a:gd name="csX0" fmla="*/ 0 w 3238500"/>
              <a:gd name="csY0" fmla="*/ 263115 h 941295"/>
              <a:gd name="csX1" fmla="*/ 2153771 w 3238500"/>
              <a:gd name="csY1" fmla="*/ 0 h 941295"/>
              <a:gd name="csX2" fmla="*/ 3238500 w 3238500"/>
              <a:gd name="csY2" fmla="*/ 367553 h 941295"/>
              <a:gd name="csX3" fmla="*/ 1517277 w 3238500"/>
              <a:gd name="csY3" fmla="*/ 941295 h 941295"/>
              <a:gd name="csX4" fmla="*/ 0 w 3238500"/>
              <a:gd name="csY4" fmla="*/ 263115 h 941295"/>
              <a:gd name="csX0" fmla="*/ 0 w 3238500"/>
              <a:gd name="csY0" fmla="*/ 445995 h 1124175"/>
              <a:gd name="csX1" fmla="*/ 1650851 w 3238500"/>
              <a:gd name="csY1" fmla="*/ 0 h 1124175"/>
              <a:gd name="csX2" fmla="*/ 3238500 w 3238500"/>
              <a:gd name="csY2" fmla="*/ 550433 h 1124175"/>
              <a:gd name="csX3" fmla="*/ 1517277 w 3238500"/>
              <a:gd name="csY3" fmla="*/ 1124175 h 1124175"/>
              <a:gd name="csX4" fmla="*/ 0 w 3238500"/>
              <a:gd name="csY4" fmla="*/ 445995 h 1124175"/>
              <a:gd name="csX0" fmla="*/ 0 w 3238500"/>
              <a:gd name="csY0" fmla="*/ 556832 h 1124175"/>
              <a:gd name="csX1" fmla="*/ 1650851 w 3238500"/>
              <a:gd name="csY1" fmla="*/ 0 h 1124175"/>
              <a:gd name="csX2" fmla="*/ 3238500 w 3238500"/>
              <a:gd name="csY2" fmla="*/ 550433 h 1124175"/>
              <a:gd name="csX3" fmla="*/ 1517277 w 3238500"/>
              <a:gd name="csY3" fmla="*/ 1124175 h 1124175"/>
              <a:gd name="csX4" fmla="*/ 0 w 3238500"/>
              <a:gd name="csY4" fmla="*/ 556832 h 1124175"/>
              <a:gd name="csX0" fmla="*/ 0 w 3238500"/>
              <a:gd name="csY0" fmla="*/ 556832 h 1124175"/>
              <a:gd name="csX1" fmla="*/ 301980 w 3238500"/>
              <a:gd name="csY1" fmla="*/ 434966 h 1124175"/>
              <a:gd name="csX2" fmla="*/ 1650851 w 3238500"/>
              <a:gd name="csY2" fmla="*/ 0 h 1124175"/>
              <a:gd name="csX3" fmla="*/ 3238500 w 3238500"/>
              <a:gd name="csY3" fmla="*/ 550433 h 1124175"/>
              <a:gd name="csX4" fmla="*/ 1517277 w 3238500"/>
              <a:gd name="csY4" fmla="*/ 1124175 h 1124175"/>
              <a:gd name="csX5" fmla="*/ 0 w 3238500"/>
              <a:gd name="csY5" fmla="*/ 556832 h 1124175"/>
              <a:gd name="csX0" fmla="*/ 1298220 w 4536720"/>
              <a:gd name="csY0" fmla="*/ 556832 h 1124175"/>
              <a:gd name="csX1" fmla="*/ 0 w 4536720"/>
              <a:gd name="csY1" fmla="*/ 47616 h 1124175"/>
              <a:gd name="csX2" fmla="*/ 2949071 w 4536720"/>
              <a:gd name="csY2" fmla="*/ 0 h 1124175"/>
              <a:gd name="csX3" fmla="*/ 4536720 w 4536720"/>
              <a:gd name="csY3" fmla="*/ 550433 h 1124175"/>
              <a:gd name="csX4" fmla="*/ 2815497 w 4536720"/>
              <a:gd name="csY4" fmla="*/ 1124175 h 1124175"/>
              <a:gd name="csX5" fmla="*/ 1298220 w 4536720"/>
              <a:gd name="csY5" fmla="*/ 556832 h 1124175"/>
              <a:gd name="csX0" fmla="*/ 1298220 w 4536720"/>
              <a:gd name="csY0" fmla="*/ 556832 h 1124175"/>
              <a:gd name="csX1" fmla="*/ 0 w 4536720"/>
              <a:gd name="csY1" fmla="*/ 47616 h 1124175"/>
              <a:gd name="csX2" fmla="*/ 1606550 w 4536720"/>
              <a:gd name="csY2" fmla="*/ 28566 h 1124175"/>
              <a:gd name="csX3" fmla="*/ 2949071 w 4536720"/>
              <a:gd name="csY3" fmla="*/ 0 h 1124175"/>
              <a:gd name="csX4" fmla="*/ 4536720 w 4536720"/>
              <a:gd name="csY4" fmla="*/ 550433 h 1124175"/>
              <a:gd name="csX5" fmla="*/ 2815497 w 4536720"/>
              <a:gd name="csY5" fmla="*/ 1124175 h 1124175"/>
              <a:gd name="csX6" fmla="*/ 1298220 w 4536720"/>
              <a:gd name="csY6" fmla="*/ 556832 h 1124175"/>
              <a:gd name="csX0" fmla="*/ 1298220 w 4536720"/>
              <a:gd name="csY0" fmla="*/ 991816 h 1559159"/>
              <a:gd name="csX1" fmla="*/ 0 w 4536720"/>
              <a:gd name="csY1" fmla="*/ 482600 h 1559159"/>
              <a:gd name="csX2" fmla="*/ 1663700 w 4536720"/>
              <a:gd name="csY2" fmla="*/ 0 h 1559159"/>
              <a:gd name="csX3" fmla="*/ 2949071 w 4536720"/>
              <a:gd name="csY3" fmla="*/ 434984 h 1559159"/>
              <a:gd name="csX4" fmla="*/ 4536720 w 4536720"/>
              <a:gd name="csY4" fmla="*/ 985417 h 1559159"/>
              <a:gd name="csX5" fmla="*/ 2815497 w 4536720"/>
              <a:gd name="csY5" fmla="*/ 1559159 h 1559159"/>
              <a:gd name="csX6" fmla="*/ 1298220 w 4536720"/>
              <a:gd name="csY6" fmla="*/ 991816 h 155915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298220 w 4536720"/>
              <a:gd name="csY6" fmla="*/ 1045156 h 161249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845001 w 4536720"/>
              <a:gd name="csY6" fmla="*/ 1256382 h 1612499"/>
              <a:gd name="csX7" fmla="*/ 1298220 w 4536720"/>
              <a:gd name="csY7"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949071 w 4536720"/>
              <a:gd name="csY4" fmla="*/ 488324 h 1612499"/>
              <a:gd name="csX5" fmla="*/ 4536720 w 4536720"/>
              <a:gd name="csY5" fmla="*/ 1038757 h 1612499"/>
              <a:gd name="csX6" fmla="*/ 2815497 w 4536720"/>
              <a:gd name="csY6" fmla="*/ 1612499 h 1612499"/>
              <a:gd name="csX7" fmla="*/ 1845001 w 4536720"/>
              <a:gd name="csY7" fmla="*/ 1256382 h 1612499"/>
              <a:gd name="csX8" fmla="*/ 1298220 w 4536720"/>
              <a:gd name="csY8"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949071 w 4536720"/>
              <a:gd name="csY4" fmla="*/ 488324 h 1612499"/>
              <a:gd name="csX5" fmla="*/ 3590674 w 4536720"/>
              <a:gd name="csY5" fmla="*/ 711436 h 1612499"/>
              <a:gd name="csX6" fmla="*/ 4536720 w 4536720"/>
              <a:gd name="csY6" fmla="*/ 1038757 h 1612499"/>
              <a:gd name="csX7" fmla="*/ 2815497 w 4536720"/>
              <a:gd name="csY7" fmla="*/ 1612499 h 1612499"/>
              <a:gd name="csX8" fmla="*/ 1845001 w 4536720"/>
              <a:gd name="csY8" fmla="*/ 1256382 h 1612499"/>
              <a:gd name="csX9" fmla="*/ 1298220 w 4536720"/>
              <a:gd name="csY9"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657801 w 4536720"/>
              <a:gd name="csY4" fmla="*/ 388163 h 1612499"/>
              <a:gd name="csX5" fmla="*/ 2949071 w 4536720"/>
              <a:gd name="csY5" fmla="*/ 488324 h 1612499"/>
              <a:gd name="csX6" fmla="*/ 3590674 w 4536720"/>
              <a:gd name="csY6" fmla="*/ 711436 h 1612499"/>
              <a:gd name="csX7" fmla="*/ 4536720 w 4536720"/>
              <a:gd name="csY7" fmla="*/ 1038757 h 1612499"/>
              <a:gd name="csX8" fmla="*/ 2815497 w 4536720"/>
              <a:gd name="csY8" fmla="*/ 1612499 h 1612499"/>
              <a:gd name="csX9" fmla="*/ 1845001 w 4536720"/>
              <a:gd name="csY9" fmla="*/ 1256382 h 1612499"/>
              <a:gd name="csX10" fmla="*/ 1298220 w 4536720"/>
              <a:gd name="csY10" fmla="*/ 1045156 h 1612499"/>
              <a:gd name="csX0" fmla="*/ 1298220 w 4536720"/>
              <a:gd name="csY0" fmla="*/ 656993 h 1224336"/>
              <a:gd name="csX1" fmla="*/ 1041437 w 4536720"/>
              <a:gd name="csY1" fmla="*/ 535710 h 1224336"/>
              <a:gd name="csX2" fmla="*/ 0 w 4536720"/>
              <a:gd name="csY2" fmla="*/ 147777 h 1224336"/>
              <a:gd name="csX3" fmla="*/ 2657801 w 4536720"/>
              <a:gd name="csY3" fmla="*/ 0 h 1224336"/>
              <a:gd name="csX4" fmla="*/ 2949071 w 4536720"/>
              <a:gd name="csY4" fmla="*/ 100161 h 1224336"/>
              <a:gd name="csX5" fmla="*/ 3590674 w 4536720"/>
              <a:gd name="csY5" fmla="*/ 323273 h 1224336"/>
              <a:gd name="csX6" fmla="*/ 4536720 w 4536720"/>
              <a:gd name="csY6" fmla="*/ 650594 h 1224336"/>
              <a:gd name="csX7" fmla="*/ 2815497 w 4536720"/>
              <a:gd name="csY7" fmla="*/ 1224336 h 1224336"/>
              <a:gd name="csX8" fmla="*/ 1845001 w 4536720"/>
              <a:gd name="csY8" fmla="*/ 868219 h 1224336"/>
              <a:gd name="csX9" fmla="*/ 1298220 w 4536720"/>
              <a:gd name="csY9" fmla="*/ 656993 h 1224336"/>
              <a:gd name="csX0" fmla="*/ 256783 w 3495283"/>
              <a:gd name="csY0" fmla="*/ 656993 h 1224336"/>
              <a:gd name="csX1" fmla="*/ 0 w 3495283"/>
              <a:gd name="csY1" fmla="*/ 535710 h 1224336"/>
              <a:gd name="csX2" fmla="*/ 1616364 w 3495283"/>
              <a:gd name="csY2" fmla="*/ 0 h 1224336"/>
              <a:gd name="csX3" fmla="*/ 1907634 w 3495283"/>
              <a:gd name="csY3" fmla="*/ 100161 h 1224336"/>
              <a:gd name="csX4" fmla="*/ 2549237 w 3495283"/>
              <a:gd name="csY4" fmla="*/ 323273 h 1224336"/>
              <a:gd name="csX5" fmla="*/ 3495283 w 3495283"/>
              <a:gd name="csY5" fmla="*/ 650594 h 1224336"/>
              <a:gd name="csX6" fmla="*/ 1774060 w 3495283"/>
              <a:gd name="csY6" fmla="*/ 1224336 h 1224336"/>
              <a:gd name="csX7" fmla="*/ 803564 w 3495283"/>
              <a:gd name="csY7" fmla="*/ 868219 h 1224336"/>
              <a:gd name="csX8" fmla="*/ 256783 w 3495283"/>
              <a:gd name="csY8" fmla="*/ 656993 h 1224336"/>
              <a:gd name="csX0" fmla="*/ 256783 w 3495283"/>
              <a:gd name="csY0" fmla="*/ 656993 h 868219"/>
              <a:gd name="csX1" fmla="*/ 0 w 3495283"/>
              <a:gd name="csY1" fmla="*/ 535710 h 868219"/>
              <a:gd name="csX2" fmla="*/ 1616364 w 3495283"/>
              <a:gd name="csY2" fmla="*/ 0 h 868219"/>
              <a:gd name="csX3" fmla="*/ 1907634 w 3495283"/>
              <a:gd name="csY3" fmla="*/ 100161 h 868219"/>
              <a:gd name="csX4" fmla="*/ 2549237 w 3495283"/>
              <a:gd name="csY4" fmla="*/ 323273 h 868219"/>
              <a:gd name="csX5" fmla="*/ 3495283 w 3495283"/>
              <a:gd name="csY5" fmla="*/ 650594 h 868219"/>
              <a:gd name="csX6" fmla="*/ 803564 w 3495283"/>
              <a:gd name="csY6" fmla="*/ 868219 h 868219"/>
              <a:gd name="csX7" fmla="*/ 256783 w 3495283"/>
              <a:gd name="csY7" fmla="*/ 656993 h 868219"/>
              <a:gd name="csX0" fmla="*/ 256783 w 2549237"/>
              <a:gd name="csY0" fmla="*/ 656993 h 868219"/>
              <a:gd name="csX1" fmla="*/ 0 w 2549237"/>
              <a:gd name="csY1" fmla="*/ 535710 h 868219"/>
              <a:gd name="csX2" fmla="*/ 1616364 w 2549237"/>
              <a:gd name="csY2" fmla="*/ 0 h 868219"/>
              <a:gd name="csX3" fmla="*/ 1907634 w 2549237"/>
              <a:gd name="csY3" fmla="*/ 100161 h 868219"/>
              <a:gd name="csX4" fmla="*/ 2549237 w 2549237"/>
              <a:gd name="csY4" fmla="*/ 323273 h 868219"/>
              <a:gd name="csX5" fmla="*/ 803564 w 2549237"/>
              <a:gd name="csY5" fmla="*/ 868219 h 868219"/>
              <a:gd name="csX6" fmla="*/ 256783 w 2549237"/>
              <a:gd name="csY6" fmla="*/ 656993 h 868219"/>
              <a:gd name="csX0" fmla="*/ 256783 w 2549237"/>
              <a:gd name="csY0" fmla="*/ 656993 h 868219"/>
              <a:gd name="csX1" fmla="*/ 0 w 2549237"/>
              <a:gd name="csY1" fmla="*/ 535710 h 868219"/>
              <a:gd name="csX2" fmla="*/ 1616364 w 2549237"/>
              <a:gd name="csY2" fmla="*/ 0 h 868219"/>
              <a:gd name="csX3" fmla="*/ 1907634 w 2549237"/>
              <a:gd name="csY3" fmla="*/ 100161 h 868219"/>
              <a:gd name="csX4" fmla="*/ 2549237 w 2549237"/>
              <a:gd name="csY4" fmla="*/ 323273 h 868219"/>
              <a:gd name="csX5" fmla="*/ 1224761 w 2549237"/>
              <a:gd name="csY5" fmla="*/ 719871 h 868219"/>
              <a:gd name="csX6" fmla="*/ 803564 w 2549237"/>
              <a:gd name="csY6" fmla="*/ 868219 h 868219"/>
              <a:gd name="csX7" fmla="*/ 256783 w 2549237"/>
              <a:gd name="csY7" fmla="*/ 656993 h 868219"/>
              <a:gd name="csX0" fmla="*/ 256783 w 2549237"/>
              <a:gd name="csY0" fmla="*/ 656993 h 868219"/>
              <a:gd name="csX1" fmla="*/ 0 w 2549237"/>
              <a:gd name="csY1" fmla="*/ 535710 h 868219"/>
              <a:gd name="csX2" fmla="*/ 496973 w 2549237"/>
              <a:gd name="csY2" fmla="*/ 346647 h 868219"/>
              <a:gd name="csX3" fmla="*/ 1616364 w 2549237"/>
              <a:gd name="csY3" fmla="*/ 0 h 868219"/>
              <a:gd name="csX4" fmla="*/ 1907634 w 2549237"/>
              <a:gd name="csY4" fmla="*/ 100161 h 868219"/>
              <a:gd name="csX5" fmla="*/ 2549237 w 2549237"/>
              <a:gd name="csY5" fmla="*/ 323273 h 868219"/>
              <a:gd name="csX6" fmla="*/ 1224761 w 2549237"/>
              <a:gd name="csY6" fmla="*/ 719871 h 868219"/>
              <a:gd name="csX7" fmla="*/ 803564 w 2549237"/>
              <a:gd name="csY7" fmla="*/ 868219 h 868219"/>
              <a:gd name="csX8" fmla="*/ 256783 w 2549237"/>
              <a:gd name="csY8" fmla="*/ 656993 h 868219"/>
              <a:gd name="csX0" fmla="*/ 0 w 2292454"/>
              <a:gd name="csY0" fmla="*/ 656993 h 868219"/>
              <a:gd name="csX1" fmla="*/ 240190 w 2292454"/>
              <a:gd name="csY1" fmla="*/ 346647 h 868219"/>
              <a:gd name="csX2" fmla="*/ 1359581 w 2292454"/>
              <a:gd name="csY2" fmla="*/ 0 h 868219"/>
              <a:gd name="csX3" fmla="*/ 1650851 w 2292454"/>
              <a:gd name="csY3" fmla="*/ 100161 h 868219"/>
              <a:gd name="csX4" fmla="*/ 2292454 w 2292454"/>
              <a:gd name="csY4" fmla="*/ 323273 h 868219"/>
              <a:gd name="csX5" fmla="*/ 967978 w 2292454"/>
              <a:gd name="csY5" fmla="*/ 719871 h 868219"/>
              <a:gd name="csX6" fmla="*/ 546781 w 2292454"/>
              <a:gd name="csY6" fmla="*/ 868219 h 868219"/>
              <a:gd name="csX7" fmla="*/ 0 w 2292454"/>
              <a:gd name="csY7" fmla="*/ 656993 h 868219"/>
              <a:gd name="csX0" fmla="*/ 306591 w 2052264"/>
              <a:gd name="csY0" fmla="*/ 868219 h 868219"/>
              <a:gd name="csX1" fmla="*/ 0 w 2052264"/>
              <a:gd name="csY1" fmla="*/ 346647 h 868219"/>
              <a:gd name="csX2" fmla="*/ 1119391 w 2052264"/>
              <a:gd name="csY2" fmla="*/ 0 h 868219"/>
              <a:gd name="csX3" fmla="*/ 1410661 w 2052264"/>
              <a:gd name="csY3" fmla="*/ 100161 h 868219"/>
              <a:gd name="csX4" fmla="*/ 2052264 w 2052264"/>
              <a:gd name="csY4" fmla="*/ 323273 h 868219"/>
              <a:gd name="csX5" fmla="*/ 727788 w 2052264"/>
              <a:gd name="csY5" fmla="*/ 719871 h 868219"/>
              <a:gd name="csX6" fmla="*/ 306591 w 2052264"/>
              <a:gd name="csY6" fmla="*/ 868219 h 868219"/>
              <a:gd name="csX0" fmla="*/ 727788 w 2052264"/>
              <a:gd name="csY0" fmla="*/ 719871 h 719871"/>
              <a:gd name="csX1" fmla="*/ 0 w 2052264"/>
              <a:gd name="csY1" fmla="*/ 346647 h 719871"/>
              <a:gd name="csX2" fmla="*/ 1119391 w 2052264"/>
              <a:gd name="csY2" fmla="*/ 0 h 719871"/>
              <a:gd name="csX3" fmla="*/ 1410661 w 2052264"/>
              <a:gd name="csY3" fmla="*/ 100161 h 719871"/>
              <a:gd name="csX4" fmla="*/ 2052264 w 2052264"/>
              <a:gd name="csY4" fmla="*/ 323273 h 719871"/>
              <a:gd name="csX5" fmla="*/ 727788 w 2052264"/>
              <a:gd name="csY5" fmla="*/ 719871 h 719871"/>
              <a:gd name="csX0" fmla="*/ 905069 w 2052264"/>
              <a:gd name="csY0" fmla="*/ 673218 h 673218"/>
              <a:gd name="csX1" fmla="*/ 0 w 2052264"/>
              <a:gd name="csY1" fmla="*/ 346647 h 673218"/>
              <a:gd name="csX2" fmla="*/ 1119391 w 2052264"/>
              <a:gd name="csY2" fmla="*/ 0 h 673218"/>
              <a:gd name="csX3" fmla="*/ 1410661 w 2052264"/>
              <a:gd name="csY3" fmla="*/ 100161 h 673218"/>
              <a:gd name="csX4" fmla="*/ 2052264 w 2052264"/>
              <a:gd name="csY4" fmla="*/ 323273 h 673218"/>
              <a:gd name="csX5" fmla="*/ 905069 w 2052264"/>
              <a:gd name="csY5" fmla="*/ 673218 h 673218"/>
              <a:gd name="csX0" fmla="*/ 905069 w 2248207"/>
              <a:gd name="csY0" fmla="*/ 673218 h 673218"/>
              <a:gd name="csX1" fmla="*/ 0 w 2248207"/>
              <a:gd name="csY1" fmla="*/ 346647 h 673218"/>
              <a:gd name="csX2" fmla="*/ 1119391 w 2248207"/>
              <a:gd name="csY2" fmla="*/ 0 h 673218"/>
              <a:gd name="csX3" fmla="*/ 1410661 w 2248207"/>
              <a:gd name="csY3" fmla="*/ 100161 h 673218"/>
              <a:gd name="csX4" fmla="*/ 2248207 w 2248207"/>
              <a:gd name="csY4" fmla="*/ 388587 h 673218"/>
              <a:gd name="csX5" fmla="*/ 905069 w 2248207"/>
              <a:gd name="csY5" fmla="*/ 673218 h 673218"/>
              <a:gd name="csX0" fmla="*/ 1054359 w 2248207"/>
              <a:gd name="csY0" fmla="*/ 729202 h 729202"/>
              <a:gd name="csX1" fmla="*/ 0 w 2248207"/>
              <a:gd name="csY1" fmla="*/ 346647 h 729202"/>
              <a:gd name="csX2" fmla="*/ 1119391 w 2248207"/>
              <a:gd name="csY2" fmla="*/ 0 h 729202"/>
              <a:gd name="csX3" fmla="*/ 1410661 w 2248207"/>
              <a:gd name="csY3" fmla="*/ 100161 h 729202"/>
              <a:gd name="csX4" fmla="*/ 2248207 w 2248207"/>
              <a:gd name="csY4" fmla="*/ 388587 h 729202"/>
              <a:gd name="csX5" fmla="*/ 1054359 w 2248207"/>
              <a:gd name="csY5" fmla="*/ 729202 h 729202"/>
              <a:gd name="csX0" fmla="*/ 1054359 w 2490802"/>
              <a:gd name="csY0" fmla="*/ 729202 h 729202"/>
              <a:gd name="csX1" fmla="*/ 0 w 2490802"/>
              <a:gd name="csY1" fmla="*/ 346647 h 729202"/>
              <a:gd name="csX2" fmla="*/ 1119391 w 2490802"/>
              <a:gd name="csY2" fmla="*/ 0 h 729202"/>
              <a:gd name="csX3" fmla="*/ 1410661 w 2490802"/>
              <a:gd name="csY3" fmla="*/ 100161 h 729202"/>
              <a:gd name="csX4" fmla="*/ 2490802 w 2490802"/>
              <a:gd name="csY4" fmla="*/ 481893 h 729202"/>
              <a:gd name="csX5" fmla="*/ 1054359 w 2490802"/>
              <a:gd name="csY5" fmla="*/ 729202 h 729202"/>
              <a:gd name="csX0" fmla="*/ 1343608 w 2490802"/>
              <a:gd name="csY0" fmla="*/ 841169 h 841169"/>
              <a:gd name="csX1" fmla="*/ 0 w 2490802"/>
              <a:gd name="csY1" fmla="*/ 346647 h 841169"/>
              <a:gd name="csX2" fmla="*/ 1119391 w 2490802"/>
              <a:gd name="csY2" fmla="*/ 0 h 841169"/>
              <a:gd name="csX3" fmla="*/ 1410661 w 2490802"/>
              <a:gd name="csY3" fmla="*/ 100161 h 841169"/>
              <a:gd name="csX4" fmla="*/ 2490802 w 2490802"/>
              <a:gd name="csY4" fmla="*/ 481893 h 841169"/>
              <a:gd name="csX5" fmla="*/ 1343608 w 2490802"/>
              <a:gd name="csY5" fmla="*/ 841169 h 841169"/>
              <a:gd name="csX0" fmla="*/ 1156996 w 2304190"/>
              <a:gd name="csY0" fmla="*/ 841169 h 841169"/>
              <a:gd name="csX1" fmla="*/ 0 w 2304190"/>
              <a:gd name="csY1" fmla="*/ 495937 h 841169"/>
              <a:gd name="csX2" fmla="*/ 932779 w 2304190"/>
              <a:gd name="csY2" fmla="*/ 0 h 841169"/>
              <a:gd name="csX3" fmla="*/ 1224049 w 2304190"/>
              <a:gd name="csY3" fmla="*/ 100161 h 841169"/>
              <a:gd name="csX4" fmla="*/ 2304190 w 2304190"/>
              <a:gd name="csY4" fmla="*/ 481893 h 841169"/>
              <a:gd name="csX5" fmla="*/ 1156996 w 2304190"/>
              <a:gd name="csY5" fmla="*/ 841169 h 841169"/>
              <a:gd name="csX0" fmla="*/ 979714 w 2304190"/>
              <a:gd name="csY0" fmla="*/ 897153 h 897153"/>
              <a:gd name="csX1" fmla="*/ 0 w 2304190"/>
              <a:gd name="csY1" fmla="*/ 495937 h 897153"/>
              <a:gd name="csX2" fmla="*/ 932779 w 2304190"/>
              <a:gd name="csY2" fmla="*/ 0 h 897153"/>
              <a:gd name="csX3" fmla="*/ 1224049 w 2304190"/>
              <a:gd name="csY3" fmla="*/ 100161 h 897153"/>
              <a:gd name="csX4" fmla="*/ 2304190 w 2304190"/>
              <a:gd name="csY4" fmla="*/ 481893 h 897153"/>
              <a:gd name="csX5" fmla="*/ 979714 w 2304190"/>
              <a:gd name="csY5" fmla="*/ 897153 h 897153"/>
              <a:gd name="csX0" fmla="*/ 979714 w 2304190"/>
              <a:gd name="csY0" fmla="*/ 796992 h 796992"/>
              <a:gd name="csX1" fmla="*/ 0 w 2304190"/>
              <a:gd name="csY1" fmla="*/ 395776 h 796992"/>
              <a:gd name="csX2" fmla="*/ 1224049 w 2304190"/>
              <a:gd name="csY2" fmla="*/ 0 h 796992"/>
              <a:gd name="csX3" fmla="*/ 2304190 w 2304190"/>
              <a:gd name="csY3" fmla="*/ 381732 h 796992"/>
              <a:gd name="csX4" fmla="*/ 979714 w 2304190"/>
              <a:gd name="csY4" fmla="*/ 796992 h 796992"/>
            </a:gdLst>
            <a:ahLst/>
            <a:cxnLst>
              <a:cxn ang="0">
                <a:pos x="csX0" y="csY0"/>
              </a:cxn>
              <a:cxn ang="0">
                <a:pos x="csX1" y="csY1"/>
              </a:cxn>
              <a:cxn ang="0">
                <a:pos x="csX2" y="csY2"/>
              </a:cxn>
              <a:cxn ang="0">
                <a:pos x="csX3" y="csY3"/>
              </a:cxn>
              <a:cxn ang="0">
                <a:pos x="csX4" y="csY4"/>
              </a:cxn>
            </a:cxnLst>
            <a:rect l="l" t="t" r="r" b="b"/>
            <a:pathLst>
              <a:path w="2304190" h="796992">
                <a:moveTo>
                  <a:pt x="979714" y="796992"/>
                </a:moveTo>
                <a:lnTo>
                  <a:pt x="0" y="395776"/>
                </a:lnTo>
                <a:lnTo>
                  <a:pt x="1224049" y="0"/>
                </a:lnTo>
                <a:lnTo>
                  <a:pt x="2304190" y="381732"/>
                </a:lnTo>
                <a:lnTo>
                  <a:pt x="979714" y="796992"/>
                </a:lnTo>
                <a:close/>
              </a:path>
            </a:pathLst>
          </a:custGeom>
          <a:solidFill>
            <a:schemeClr val="accent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ln w="0"/>
              <a:solidFill>
                <a:schemeClr val="tx1"/>
              </a:solidFill>
              <a:effectLst>
                <a:outerShdw blurRad="38100" dist="19050" dir="2700000" algn="tl" rotWithShape="0">
                  <a:schemeClr val="dk1">
                    <a:alpha val="40000"/>
                  </a:schemeClr>
                </a:outerShdw>
              </a:effectLst>
            </a:endParaRPr>
          </a:p>
        </p:txBody>
      </p:sp>
      <p:sp>
        <p:nvSpPr>
          <p:cNvPr id="176" name="Vapaamuotoinen: Muoto 175">
            <a:extLst>
              <a:ext uri="{FF2B5EF4-FFF2-40B4-BE49-F238E27FC236}">
                <a16:creationId xmlns:a16="http://schemas.microsoft.com/office/drawing/2014/main" id="{94ED0928-B946-0E63-008A-FBE421B87D86}"/>
              </a:ext>
            </a:extLst>
          </p:cNvPr>
          <p:cNvSpPr/>
          <p:nvPr/>
        </p:nvSpPr>
        <p:spPr>
          <a:xfrm>
            <a:off x="5221240" y="2358313"/>
            <a:ext cx="744046" cy="238209"/>
          </a:xfrm>
          <a:custGeom>
            <a:avLst/>
            <a:gdLst>
              <a:gd name="csX0" fmla="*/ 0 w 639271"/>
              <a:gd name="csY0" fmla="*/ 121380 h 202301"/>
              <a:gd name="csX1" fmla="*/ 388418 w 639271"/>
              <a:gd name="csY1" fmla="*/ 0 h 202301"/>
              <a:gd name="csX2" fmla="*/ 639271 w 639271"/>
              <a:gd name="csY2" fmla="*/ 80920 h 202301"/>
              <a:gd name="csX3" fmla="*/ 267038 w 639271"/>
              <a:gd name="csY3" fmla="*/ 202301 h 202301"/>
              <a:gd name="csX4" fmla="*/ 0 w 639271"/>
              <a:gd name="csY4" fmla="*/ 121380 h 202301"/>
              <a:gd name="csX0" fmla="*/ 0 w 691658"/>
              <a:gd name="csY0" fmla="*/ 101553 h 202301"/>
              <a:gd name="csX1" fmla="*/ 440805 w 691658"/>
              <a:gd name="csY1" fmla="*/ 0 h 202301"/>
              <a:gd name="csX2" fmla="*/ 691658 w 691658"/>
              <a:gd name="csY2" fmla="*/ 80920 h 202301"/>
              <a:gd name="csX3" fmla="*/ 319425 w 691658"/>
              <a:gd name="csY3" fmla="*/ 202301 h 202301"/>
              <a:gd name="csX4" fmla="*/ 0 w 691658"/>
              <a:gd name="csY4" fmla="*/ 101553 h 202301"/>
              <a:gd name="csX0" fmla="*/ 0 w 744046"/>
              <a:gd name="csY0" fmla="*/ 101553 h 202301"/>
              <a:gd name="csX1" fmla="*/ 440805 w 744046"/>
              <a:gd name="csY1" fmla="*/ 0 h 202301"/>
              <a:gd name="csX2" fmla="*/ 744046 w 744046"/>
              <a:gd name="csY2" fmla="*/ 100746 h 202301"/>
              <a:gd name="csX3" fmla="*/ 319425 w 744046"/>
              <a:gd name="csY3" fmla="*/ 202301 h 202301"/>
              <a:gd name="csX4" fmla="*/ 0 w 744046"/>
              <a:gd name="csY4" fmla="*/ 101553 h 202301"/>
              <a:gd name="csX0" fmla="*/ 0 w 744046"/>
              <a:gd name="csY0" fmla="*/ 109484 h 210232"/>
              <a:gd name="csX1" fmla="*/ 421755 w 744046"/>
              <a:gd name="csY1" fmla="*/ 0 h 210232"/>
              <a:gd name="csX2" fmla="*/ 744046 w 744046"/>
              <a:gd name="csY2" fmla="*/ 108677 h 210232"/>
              <a:gd name="csX3" fmla="*/ 319425 w 744046"/>
              <a:gd name="csY3" fmla="*/ 210232 h 210232"/>
              <a:gd name="csX4" fmla="*/ 0 w 744046"/>
              <a:gd name="csY4" fmla="*/ 109484 h 210232"/>
              <a:gd name="csX0" fmla="*/ 0 w 744046"/>
              <a:gd name="csY0" fmla="*/ 109484 h 210232"/>
              <a:gd name="csX1" fmla="*/ 42175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109484 h 210232"/>
              <a:gd name="csX1" fmla="*/ 44080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97588 h 198336"/>
              <a:gd name="csX1" fmla="*/ 402705 w 744046"/>
              <a:gd name="csY1" fmla="*/ 0 h 198336"/>
              <a:gd name="csX2" fmla="*/ 744046 w 744046"/>
              <a:gd name="csY2" fmla="*/ 96781 h 198336"/>
              <a:gd name="csX3" fmla="*/ 314662 w 744046"/>
              <a:gd name="csY3" fmla="*/ 198336 h 198336"/>
              <a:gd name="csX4" fmla="*/ 0 w 744046"/>
              <a:gd name="csY4" fmla="*/ 97588 h 198336"/>
            </a:gdLst>
            <a:ahLst/>
            <a:cxnLst>
              <a:cxn ang="0">
                <a:pos x="csX0" y="csY0"/>
              </a:cxn>
              <a:cxn ang="0">
                <a:pos x="csX1" y="csY1"/>
              </a:cxn>
              <a:cxn ang="0">
                <a:pos x="csX2" y="csY2"/>
              </a:cxn>
              <a:cxn ang="0">
                <a:pos x="csX3" y="csY3"/>
              </a:cxn>
              <a:cxn ang="0">
                <a:pos x="csX4" y="csY4"/>
              </a:cxn>
            </a:cxnLst>
            <a:rect l="l" t="t" r="r" b="b"/>
            <a:pathLst>
              <a:path w="744046" h="198336">
                <a:moveTo>
                  <a:pt x="0" y="97588"/>
                </a:moveTo>
                <a:lnTo>
                  <a:pt x="402705" y="0"/>
                </a:lnTo>
                <a:lnTo>
                  <a:pt x="744046" y="96781"/>
                </a:lnTo>
                <a:lnTo>
                  <a:pt x="314662" y="198336"/>
                </a:lnTo>
                <a:lnTo>
                  <a:pt x="0" y="97588"/>
                </a:lnTo>
                <a:close/>
              </a:path>
            </a:pathLst>
          </a:custGeom>
          <a:solidFill>
            <a:schemeClr val="bg1"/>
          </a:solidFill>
          <a:ln w="381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96" name="Suora yhdysviiva 195">
            <a:extLst>
              <a:ext uri="{FF2B5EF4-FFF2-40B4-BE49-F238E27FC236}">
                <a16:creationId xmlns:a16="http://schemas.microsoft.com/office/drawing/2014/main" id="{37B91155-9E7C-AC77-E2F4-528F52953056}"/>
              </a:ext>
            </a:extLst>
          </p:cNvPr>
          <p:cNvCxnSpPr>
            <a:cxnSpLocks/>
          </p:cNvCxnSpPr>
          <p:nvPr/>
        </p:nvCxnSpPr>
        <p:spPr>
          <a:xfrm flipV="1">
            <a:off x="5991192" y="2499012"/>
            <a:ext cx="4" cy="541338"/>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197" name="Suora yhdysviiva 196">
            <a:extLst>
              <a:ext uri="{FF2B5EF4-FFF2-40B4-BE49-F238E27FC236}">
                <a16:creationId xmlns:a16="http://schemas.microsoft.com/office/drawing/2014/main" id="{8472759E-A520-CDB2-8CD1-B699477CA7EC}"/>
              </a:ext>
            </a:extLst>
          </p:cNvPr>
          <p:cNvCxnSpPr>
            <a:cxnSpLocks/>
          </p:cNvCxnSpPr>
          <p:nvPr/>
        </p:nvCxnSpPr>
        <p:spPr>
          <a:xfrm flipV="1">
            <a:off x="5213907" y="2477418"/>
            <a:ext cx="0" cy="497059"/>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210" name="Suora yhdysviiva 209">
            <a:extLst>
              <a:ext uri="{FF2B5EF4-FFF2-40B4-BE49-F238E27FC236}">
                <a16:creationId xmlns:a16="http://schemas.microsoft.com/office/drawing/2014/main" id="{B103D106-FAEF-476D-C749-A27129898993}"/>
              </a:ext>
            </a:extLst>
          </p:cNvPr>
          <p:cNvCxnSpPr>
            <a:cxnSpLocks/>
          </p:cNvCxnSpPr>
          <p:nvPr/>
        </p:nvCxnSpPr>
        <p:spPr>
          <a:xfrm flipV="1">
            <a:off x="5525057" y="2619056"/>
            <a:ext cx="0" cy="504572"/>
          </a:xfrm>
          <a:prstGeom prst="line">
            <a:avLst/>
          </a:prstGeom>
          <a:ln w="12700">
            <a:prstDash val="sysDot"/>
          </a:ln>
        </p:spPr>
        <p:style>
          <a:lnRef idx="2">
            <a:schemeClr val="dk1"/>
          </a:lnRef>
          <a:fillRef idx="0">
            <a:schemeClr val="dk1"/>
          </a:fillRef>
          <a:effectRef idx="1">
            <a:schemeClr val="dk1"/>
          </a:effectRef>
          <a:fontRef idx="minor">
            <a:schemeClr val="tx1"/>
          </a:fontRef>
        </p:style>
      </p:cxnSp>
      <p:sp>
        <p:nvSpPr>
          <p:cNvPr id="212" name="Tekstiruutu 211">
            <a:extLst>
              <a:ext uri="{FF2B5EF4-FFF2-40B4-BE49-F238E27FC236}">
                <a16:creationId xmlns:a16="http://schemas.microsoft.com/office/drawing/2014/main" id="{F7CEDF2A-8930-A206-E2C8-DEA1BC33ACEB}"/>
              </a:ext>
            </a:extLst>
          </p:cNvPr>
          <p:cNvSpPr txBox="1"/>
          <p:nvPr/>
        </p:nvSpPr>
        <p:spPr>
          <a:xfrm>
            <a:off x="6096000" y="894989"/>
            <a:ext cx="2885726" cy="584775"/>
          </a:xfrm>
          <a:prstGeom prst="rect">
            <a:avLst/>
          </a:prstGeom>
          <a:noFill/>
        </p:spPr>
        <p:txBody>
          <a:bodyPr wrap="none" rtlCol="0">
            <a:spAutoFit/>
          </a:bodyPr>
          <a:lstStyle/>
          <a:p>
            <a:r>
              <a:rPr lang="fi-FI" sz="3200" dirty="0">
                <a:solidFill>
                  <a:srgbClr val="0042A5"/>
                </a:solidFill>
              </a:rPr>
              <a:t>Kuilun paikka</a:t>
            </a:r>
          </a:p>
        </p:txBody>
      </p:sp>
      <p:sp>
        <p:nvSpPr>
          <p:cNvPr id="165" name="Tekstiruutu 164">
            <a:extLst>
              <a:ext uri="{FF2B5EF4-FFF2-40B4-BE49-F238E27FC236}">
                <a16:creationId xmlns:a16="http://schemas.microsoft.com/office/drawing/2014/main" id="{BCC64ADF-2087-A7CA-6C42-EA9D2F443A21}"/>
              </a:ext>
            </a:extLst>
          </p:cNvPr>
          <p:cNvSpPr txBox="1"/>
          <p:nvPr/>
        </p:nvSpPr>
        <p:spPr>
          <a:xfrm rot="20481716">
            <a:off x="5941529" y="2228688"/>
            <a:ext cx="590226" cy="523220"/>
          </a:xfrm>
          <a:prstGeom prst="rect">
            <a:avLst/>
          </a:prstGeom>
          <a:noFill/>
        </p:spPr>
        <p:txBody>
          <a:bodyPr wrap="none" rtlCol="0">
            <a:spAutoFit/>
          </a:bodyPr>
          <a:lstStyle/>
          <a:p>
            <a:r>
              <a:rPr lang="fi-FI" sz="2800" b="1" dirty="0"/>
              <a:t>ET</a:t>
            </a:r>
          </a:p>
        </p:txBody>
      </p:sp>
      <p:sp>
        <p:nvSpPr>
          <p:cNvPr id="168" name="Tekstiruutu 167">
            <a:extLst>
              <a:ext uri="{FF2B5EF4-FFF2-40B4-BE49-F238E27FC236}">
                <a16:creationId xmlns:a16="http://schemas.microsoft.com/office/drawing/2014/main" id="{19D6AB4E-9032-34E4-16BF-BF5AD7FDB9D6}"/>
              </a:ext>
            </a:extLst>
          </p:cNvPr>
          <p:cNvSpPr txBox="1"/>
          <p:nvPr/>
        </p:nvSpPr>
        <p:spPr>
          <a:xfrm rot="20446283">
            <a:off x="6480410" y="1793608"/>
            <a:ext cx="2034342" cy="523220"/>
          </a:xfrm>
          <a:prstGeom prst="rect">
            <a:avLst/>
          </a:prstGeom>
          <a:noFill/>
        </p:spPr>
        <p:txBody>
          <a:bodyPr wrap="square">
            <a:spAutoFit/>
          </a:bodyPr>
          <a:lstStyle/>
          <a:p>
            <a:r>
              <a:rPr lang="fi-FI" sz="1400" dirty="0"/>
              <a:t>Yhdyskuntateknisen</a:t>
            </a:r>
          </a:p>
          <a:p>
            <a:r>
              <a:rPr lang="fi-FI" sz="1400" dirty="0"/>
              <a:t>       huollon alue.</a:t>
            </a:r>
          </a:p>
        </p:txBody>
      </p:sp>
      <p:grpSp>
        <p:nvGrpSpPr>
          <p:cNvPr id="173" name="Ryhmä 172">
            <a:extLst>
              <a:ext uri="{FF2B5EF4-FFF2-40B4-BE49-F238E27FC236}">
                <a16:creationId xmlns:a16="http://schemas.microsoft.com/office/drawing/2014/main" id="{8DDA4846-E47D-ACA9-914A-03204E6A22AE}"/>
              </a:ext>
            </a:extLst>
          </p:cNvPr>
          <p:cNvGrpSpPr/>
          <p:nvPr/>
        </p:nvGrpSpPr>
        <p:grpSpPr>
          <a:xfrm>
            <a:off x="5227512" y="2181224"/>
            <a:ext cx="742656" cy="433612"/>
            <a:chOff x="4738982" y="2085008"/>
            <a:chExt cx="742656" cy="601042"/>
          </a:xfrm>
        </p:grpSpPr>
        <p:sp>
          <p:nvSpPr>
            <p:cNvPr id="174" name="Vapaamuotoinen: Muoto 173">
              <a:extLst>
                <a:ext uri="{FF2B5EF4-FFF2-40B4-BE49-F238E27FC236}">
                  <a16:creationId xmlns:a16="http://schemas.microsoft.com/office/drawing/2014/main" id="{0F86FBBD-400E-D307-F947-150A495471CA}"/>
                </a:ext>
              </a:extLst>
            </p:cNvPr>
            <p:cNvSpPr/>
            <p:nvPr/>
          </p:nvSpPr>
          <p:spPr>
            <a:xfrm>
              <a:off x="4738982" y="2270953"/>
              <a:ext cx="278311" cy="415097"/>
            </a:xfrm>
            <a:custGeom>
              <a:avLst/>
              <a:gdLst>
                <a:gd name="csX0" fmla="*/ 16611 w 266642"/>
                <a:gd name="csY0" fmla="*/ 8297 h 417872"/>
                <a:gd name="csX1" fmla="*/ 266642 w 266642"/>
                <a:gd name="csY1" fmla="*/ 103547 h 417872"/>
                <a:gd name="csX2" fmla="*/ 261879 w 266642"/>
                <a:gd name="csY2" fmla="*/ 417872 h 417872"/>
                <a:gd name="csX3" fmla="*/ 23754 w 266642"/>
                <a:gd name="csY3" fmla="*/ 329766 h 417872"/>
                <a:gd name="csX4" fmla="*/ 16611 w 266642"/>
                <a:gd name="csY4" fmla="*/ 8297 h 417872"/>
                <a:gd name="csX0" fmla="*/ 23530 w 273561"/>
                <a:gd name="csY0" fmla="*/ 4876 h 414451"/>
                <a:gd name="csX1" fmla="*/ 273561 w 273561"/>
                <a:gd name="csY1" fmla="*/ 100126 h 414451"/>
                <a:gd name="csX2" fmla="*/ 268798 w 273561"/>
                <a:gd name="csY2" fmla="*/ 414451 h 414451"/>
                <a:gd name="csX3" fmla="*/ 11623 w 273561"/>
                <a:gd name="csY3" fmla="*/ 260330 h 414451"/>
                <a:gd name="csX4" fmla="*/ 23530 w 273561"/>
                <a:gd name="csY4" fmla="*/ 4876 h 414451"/>
                <a:gd name="csX0" fmla="*/ 45876 w 295907"/>
                <a:gd name="csY0" fmla="*/ 5522 h 415097"/>
                <a:gd name="csX1" fmla="*/ 295907 w 295907"/>
                <a:gd name="csY1" fmla="*/ 100772 h 415097"/>
                <a:gd name="csX2" fmla="*/ 291144 w 295907"/>
                <a:gd name="csY2" fmla="*/ 415097 h 415097"/>
                <a:gd name="csX3" fmla="*/ 631 w 295907"/>
                <a:gd name="csY3" fmla="*/ 274179 h 415097"/>
                <a:gd name="csX4" fmla="*/ 45876 w 295907"/>
                <a:gd name="csY4" fmla="*/ 5522 h 415097"/>
                <a:gd name="csX0" fmla="*/ 28280 w 278311"/>
                <a:gd name="csY0" fmla="*/ 5522 h 415097"/>
                <a:gd name="csX1" fmla="*/ 278311 w 278311"/>
                <a:gd name="csY1" fmla="*/ 100772 h 415097"/>
                <a:gd name="csX2" fmla="*/ 273548 w 278311"/>
                <a:gd name="csY2" fmla="*/ 415097 h 415097"/>
                <a:gd name="csX3" fmla="*/ 6847 w 278311"/>
                <a:gd name="csY3" fmla="*/ 274179 h 415097"/>
                <a:gd name="csX4" fmla="*/ 28280 w 278311"/>
                <a:gd name="csY4" fmla="*/ 5522 h 415097"/>
              </a:gdLst>
              <a:ahLst/>
              <a:cxnLst>
                <a:cxn ang="0">
                  <a:pos x="csX0" y="csY0"/>
                </a:cxn>
                <a:cxn ang="0">
                  <a:pos x="csX1" y="csY1"/>
                </a:cxn>
                <a:cxn ang="0">
                  <a:pos x="csX2" y="csY2"/>
                </a:cxn>
                <a:cxn ang="0">
                  <a:pos x="csX3" y="csY3"/>
                </a:cxn>
                <a:cxn ang="0">
                  <a:pos x="csX4" y="csY4"/>
                </a:cxn>
              </a:cxnLst>
              <a:rect l="l" t="t" r="r" b="b"/>
              <a:pathLst>
                <a:path w="278311" h="415097">
                  <a:moveTo>
                    <a:pt x="28280" y="5522"/>
                  </a:moveTo>
                  <a:cubicBezTo>
                    <a:pt x="73524" y="-23379"/>
                    <a:pt x="194967" y="69022"/>
                    <a:pt x="278311" y="100772"/>
                  </a:cubicBezTo>
                  <a:cubicBezTo>
                    <a:pt x="276723" y="205547"/>
                    <a:pt x="275136" y="310322"/>
                    <a:pt x="273548" y="415097"/>
                  </a:cubicBezTo>
                  <a:cubicBezTo>
                    <a:pt x="194173" y="385728"/>
                    <a:pt x="86222" y="303548"/>
                    <a:pt x="6847" y="274179"/>
                  </a:cubicBezTo>
                  <a:cubicBezTo>
                    <a:pt x="5260" y="170198"/>
                    <a:pt x="-16964" y="34423"/>
                    <a:pt x="28280" y="5522"/>
                  </a:cubicBezTo>
                  <a:close/>
                </a:path>
              </a:pathLst>
            </a:custGeom>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i-FI"/>
            </a:p>
          </p:txBody>
        </p:sp>
        <p:sp>
          <p:nvSpPr>
            <p:cNvPr id="175" name="Vapaamuotoinen: Muoto 174">
              <a:extLst>
                <a:ext uri="{FF2B5EF4-FFF2-40B4-BE49-F238E27FC236}">
                  <a16:creationId xmlns:a16="http://schemas.microsoft.com/office/drawing/2014/main" id="{DC0783D1-B701-8C4B-48AF-6D6796798369}"/>
                </a:ext>
              </a:extLst>
            </p:cNvPr>
            <p:cNvSpPr/>
            <p:nvPr/>
          </p:nvSpPr>
          <p:spPr>
            <a:xfrm>
              <a:off x="5012531" y="2177335"/>
              <a:ext cx="469107" cy="508715"/>
            </a:xfrm>
            <a:custGeom>
              <a:avLst/>
              <a:gdLst>
                <a:gd name="csX0" fmla="*/ 466725 w 469107"/>
                <a:gd name="csY0" fmla="*/ 0 h 469106"/>
                <a:gd name="csX1" fmla="*/ 469107 w 469107"/>
                <a:gd name="csY1" fmla="*/ 300037 h 469106"/>
                <a:gd name="csX2" fmla="*/ 0 w 469107"/>
                <a:gd name="csY2" fmla="*/ 469106 h 469106"/>
                <a:gd name="csX3" fmla="*/ 2382 w 469107"/>
                <a:gd name="csY3" fmla="*/ 152400 h 469106"/>
                <a:gd name="csX4" fmla="*/ 466725 w 469107"/>
                <a:gd name="csY4" fmla="*/ 0 h 469106"/>
                <a:gd name="csX0" fmla="*/ 466725 w 469107"/>
                <a:gd name="csY0" fmla="*/ 0 h 508715"/>
                <a:gd name="csX1" fmla="*/ 469107 w 469107"/>
                <a:gd name="csY1" fmla="*/ 339646 h 508715"/>
                <a:gd name="csX2" fmla="*/ 0 w 469107"/>
                <a:gd name="csY2" fmla="*/ 508715 h 508715"/>
                <a:gd name="csX3" fmla="*/ 2382 w 469107"/>
                <a:gd name="csY3" fmla="*/ 192009 h 508715"/>
                <a:gd name="csX4" fmla="*/ 466725 w 469107"/>
                <a:gd name="csY4" fmla="*/ 0 h 508715"/>
              </a:gdLst>
              <a:ahLst/>
              <a:cxnLst>
                <a:cxn ang="0">
                  <a:pos x="csX0" y="csY0"/>
                </a:cxn>
                <a:cxn ang="0">
                  <a:pos x="csX1" y="csY1"/>
                </a:cxn>
                <a:cxn ang="0">
                  <a:pos x="csX2" y="csY2"/>
                </a:cxn>
                <a:cxn ang="0">
                  <a:pos x="csX3" y="csY3"/>
                </a:cxn>
                <a:cxn ang="0">
                  <a:pos x="csX4" y="csY4"/>
                </a:cxn>
              </a:cxnLst>
              <a:rect l="l" t="t" r="r" b="b"/>
              <a:pathLst>
                <a:path w="469107" h="508715">
                  <a:moveTo>
                    <a:pt x="466725" y="0"/>
                  </a:moveTo>
                  <a:lnTo>
                    <a:pt x="469107" y="339646"/>
                  </a:lnTo>
                  <a:lnTo>
                    <a:pt x="0" y="508715"/>
                  </a:lnTo>
                  <a:lnTo>
                    <a:pt x="2382" y="192009"/>
                  </a:lnTo>
                  <a:lnTo>
                    <a:pt x="466725" y="0"/>
                  </a:lnTo>
                  <a:close/>
                </a:path>
              </a:pathLst>
            </a:custGeom>
            <a:solidFill>
              <a:schemeClr val="accent1">
                <a:lumMod val="20000"/>
                <a:lumOff val="80000"/>
              </a:schemeClr>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i-FI"/>
            </a:p>
          </p:txBody>
        </p:sp>
        <p:sp>
          <p:nvSpPr>
            <p:cNvPr id="177" name="Vapaamuotoinen: Muoto 176">
              <a:extLst>
                <a:ext uri="{FF2B5EF4-FFF2-40B4-BE49-F238E27FC236}">
                  <a16:creationId xmlns:a16="http://schemas.microsoft.com/office/drawing/2014/main" id="{6997A481-B807-D194-074F-724CF6372007}"/>
                </a:ext>
              </a:extLst>
            </p:cNvPr>
            <p:cNvSpPr/>
            <p:nvPr/>
          </p:nvSpPr>
          <p:spPr>
            <a:xfrm>
              <a:off x="4788694" y="2085008"/>
              <a:ext cx="685800" cy="284335"/>
            </a:xfrm>
            <a:custGeom>
              <a:avLst/>
              <a:gdLst>
                <a:gd name="csX0" fmla="*/ 0 w 690562"/>
                <a:gd name="csY0" fmla="*/ 135731 h 238125"/>
                <a:gd name="csX1" fmla="*/ 440531 w 690562"/>
                <a:gd name="csY1" fmla="*/ 0 h 238125"/>
                <a:gd name="csX2" fmla="*/ 690562 w 690562"/>
                <a:gd name="csY2" fmla="*/ 88106 h 238125"/>
                <a:gd name="csX3" fmla="*/ 228600 w 690562"/>
                <a:gd name="csY3" fmla="*/ 238125 h 238125"/>
                <a:gd name="csX4" fmla="*/ 0 w 690562"/>
                <a:gd name="csY4" fmla="*/ 135731 h 238125"/>
                <a:gd name="csX0" fmla="*/ 0 w 690562"/>
                <a:gd name="csY0" fmla="*/ 181942 h 284336"/>
                <a:gd name="csX1" fmla="*/ 426244 w 690562"/>
                <a:gd name="csY1" fmla="*/ 0 h 284336"/>
                <a:gd name="csX2" fmla="*/ 690562 w 690562"/>
                <a:gd name="csY2" fmla="*/ 134317 h 284336"/>
                <a:gd name="csX3" fmla="*/ 228600 w 690562"/>
                <a:gd name="csY3" fmla="*/ 284336 h 284336"/>
                <a:gd name="csX4" fmla="*/ 0 w 690562"/>
                <a:gd name="csY4" fmla="*/ 181942 h 284336"/>
                <a:gd name="csX0" fmla="*/ 0 w 685800"/>
                <a:gd name="csY0" fmla="*/ 181942 h 284336"/>
                <a:gd name="csX1" fmla="*/ 426244 w 685800"/>
                <a:gd name="csY1" fmla="*/ 0 h 284336"/>
                <a:gd name="csX2" fmla="*/ 685800 w 685800"/>
                <a:gd name="csY2" fmla="*/ 94709 h 284336"/>
                <a:gd name="csX3" fmla="*/ 228600 w 685800"/>
                <a:gd name="csY3" fmla="*/ 284336 h 284336"/>
                <a:gd name="csX4" fmla="*/ 0 w 685800"/>
                <a:gd name="csY4" fmla="*/ 181942 h 284336"/>
              </a:gdLst>
              <a:ahLst/>
              <a:cxnLst>
                <a:cxn ang="0">
                  <a:pos x="csX0" y="csY0"/>
                </a:cxn>
                <a:cxn ang="0">
                  <a:pos x="csX1" y="csY1"/>
                </a:cxn>
                <a:cxn ang="0">
                  <a:pos x="csX2" y="csY2"/>
                </a:cxn>
                <a:cxn ang="0">
                  <a:pos x="csX3" y="csY3"/>
                </a:cxn>
                <a:cxn ang="0">
                  <a:pos x="csX4" y="csY4"/>
                </a:cxn>
              </a:cxnLst>
              <a:rect l="l" t="t" r="r" b="b"/>
              <a:pathLst>
                <a:path w="685800" h="284336">
                  <a:moveTo>
                    <a:pt x="0" y="181942"/>
                  </a:moveTo>
                  <a:lnTo>
                    <a:pt x="426244" y="0"/>
                  </a:lnTo>
                  <a:lnTo>
                    <a:pt x="685800" y="94709"/>
                  </a:lnTo>
                  <a:lnTo>
                    <a:pt x="228600" y="284336"/>
                  </a:lnTo>
                  <a:lnTo>
                    <a:pt x="0" y="181942"/>
                  </a:lnTo>
                  <a:close/>
                </a:path>
              </a:pathLst>
            </a:cu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178" name="Kaari 177">
            <a:extLst>
              <a:ext uri="{FF2B5EF4-FFF2-40B4-BE49-F238E27FC236}">
                <a16:creationId xmlns:a16="http://schemas.microsoft.com/office/drawing/2014/main" id="{B7CA0CB5-173B-6E97-B725-D48670838391}"/>
              </a:ext>
            </a:extLst>
          </p:cNvPr>
          <p:cNvSpPr/>
          <p:nvPr/>
        </p:nvSpPr>
        <p:spPr>
          <a:xfrm flipH="1">
            <a:off x="5435836" y="1227570"/>
            <a:ext cx="1129307" cy="1502930"/>
          </a:xfrm>
          <a:prstGeom prst="arc">
            <a:avLst>
              <a:gd name="adj1" fmla="val 15958105"/>
              <a:gd name="adj2" fmla="val 1520190"/>
            </a:avLst>
          </a:prstGeom>
          <a:ln>
            <a:headEnd type="none" w="med" len="med"/>
            <a:tailEnd type="triangle" w="lg" len="lg"/>
          </a:ln>
        </p:spPr>
        <p:style>
          <a:lnRef idx="2">
            <a:schemeClr val="dk1"/>
          </a:lnRef>
          <a:fillRef idx="0">
            <a:schemeClr val="dk1"/>
          </a:fillRef>
          <a:effectRef idx="1">
            <a:schemeClr val="dk1"/>
          </a:effectRef>
          <a:fontRef idx="minor">
            <a:schemeClr val="tx1"/>
          </a:fontRef>
        </p:style>
        <p:txBody>
          <a:bodyPr rtlCol="0" anchor="ctr"/>
          <a:lstStyle/>
          <a:p>
            <a:pPr algn="ctr"/>
            <a:endParaRPr lang="fi-FI"/>
          </a:p>
        </p:txBody>
      </p:sp>
    </p:spTree>
    <p:extLst>
      <p:ext uri="{BB962C8B-B14F-4D97-AF65-F5344CB8AC3E}">
        <p14:creationId xmlns:p14="http://schemas.microsoft.com/office/powerpoint/2010/main" val="40524617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52092E-FBDB-0261-D78C-455EC262B1A8}"/>
            </a:ext>
          </a:extLst>
        </p:cNvPr>
        <p:cNvGrpSpPr/>
        <p:nvPr/>
      </p:nvGrpSpPr>
      <p:grpSpPr>
        <a:xfrm>
          <a:off x="0" y="0"/>
          <a:ext cx="0" cy="0"/>
          <a:chOff x="0" y="0"/>
          <a:chExt cx="0" cy="0"/>
        </a:xfrm>
      </p:grpSpPr>
      <p:sp>
        <p:nvSpPr>
          <p:cNvPr id="3" name="Vapaamuotoinen: Muoto 2">
            <a:extLst>
              <a:ext uri="{FF2B5EF4-FFF2-40B4-BE49-F238E27FC236}">
                <a16:creationId xmlns:a16="http://schemas.microsoft.com/office/drawing/2014/main" id="{B548D9D3-15EE-5C0B-BD4E-4F53DB5272C5}"/>
              </a:ext>
            </a:extLst>
          </p:cNvPr>
          <p:cNvSpPr/>
          <p:nvPr/>
        </p:nvSpPr>
        <p:spPr>
          <a:xfrm>
            <a:off x="1897736" y="2683950"/>
            <a:ext cx="9723904" cy="3403506"/>
          </a:xfrm>
          <a:custGeom>
            <a:avLst/>
            <a:gdLst>
              <a:gd name="csX0" fmla="*/ 0 w 9923929"/>
              <a:gd name="csY0" fmla="*/ 2931459 h 3379694"/>
              <a:gd name="csX1" fmla="*/ 8821270 w 9923929"/>
              <a:gd name="csY1" fmla="*/ 0 h 3379694"/>
              <a:gd name="csX2" fmla="*/ 9923929 w 9923929"/>
              <a:gd name="csY2" fmla="*/ 233083 h 3379694"/>
              <a:gd name="csX3" fmla="*/ 941294 w 9923929"/>
              <a:gd name="csY3" fmla="*/ 3379694 h 3379694"/>
              <a:gd name="csX4" fmla="*/ 0 w 9923929"/>
              <a:gd name="csY4" fmla="*/ 2931459 h 3379694"/>
              <a:gd name="csX0" fmla="*/ 0 w 9723904"/>
              <a:gd name="csY0" fmla="*/ 2931459 h 3379694"/>
              <a:gd name="csX1" fmla="*/ 8821270 w 9723904"/>
              <a:gd name="csY1" fmla="*/ 0 h 3379694"/>
              <a:gd name="csX2" fmla="*/ 9723904 w 9723904"/>
              <a:gd name="csY2" fmla="*/ 299758 h 3379694"/>
              <a:gd name="csX3" fmla="*/ 941294 w 9723904"/>
              <a:gd name="csY3" fmla="*/ 3379694 h 3379694"/>
              <a:gd name="csX4" fmla="*/ 0 w 9723904"/>
              <a:gd name="csY4" fmla="*/ 2931459 h 3379694"/>
              <a:gd name="csX0" fmla="*/ 0 w 9723904"/>
              <a:gd name="csY0" fmla="*/ 2955271 h 3403506"/>
              <a:gd name="csX1" fmla="*/ 8883183 w 9723904"/>
              <a:gd name="csY1" fmla="*/ 0 h 3403506"/>
              <a:gd name="csX2" fmla="*/ 9723904 w 9723904"/>
              <a:gd name="csY2" fmla="*/ 323570 h 3403506"/>
              <a:gd name="csX3" fmla="*/ 941294 w 9723904"/>
              <a:gd name="csY3" fmla="*/ 3403506 h 3403506"/>
              <a:gd name="csX4" fmla="*/ 0 w 9723904"/>
              <a:gd name="csY4" fmla="*/ 2955271 h 3403506"/>
              <a:gd name="csX0" fmla="*/ 0 w 9723904"/>
              <a:gd name="csY0" fmla="*/ 2955271 h 3403506"/>
              <a:gd name="csX1" fmla="*/ 2941992 w 9723904"/>
              <a:gd name="csY1" fmla="*/ 197610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8883183 w 9723904"/>
              <a:gd name="csY2" fmla="*/ 0 h 3403506"/>
              <a:gd name="csX3" fmla="*/ 9723904 w 9723904"/>
              <a:gd name="csY3" fmla="*/ 323570 h 3403506"/>
              <a:gd name="csX4" fmla="*/ 941294 w 9723904"/>
              <a:gd name="csY4" fmla="*/ 3403506 h 3403506"/>
              <a:gd name="csX5" fmla="*/ 0 w 9723904"/>
              <a:gd name="csY5" fmla="*/ 2955271 h 3403506"/>
              <a:gd name="csX0" fmla="*/ 0 w 9723904"/>
              <a:gd name="csY0" fmla="*/ 2955271 h 3403506"/>
              <a:gd name="csX1" fmla="*/ 2797212 w 9723904"/>
              <a:gd name="csY1" fmla="*/ 2029441 h 3403506"/>
              <a:gd name="csX2" fmla="*/ 3368712 w 9723904"/>
              <a:gd name="csY2" fmla="*/ 182370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443132 w 9723904"/>
              <a:gd name="csY2" fmla="*/ 1473181 h 3403506"/>
              <a:gd name="csX3" fmla="*/ 8883183 w 9723904"/>
              <a:gd name="csY3" fmla="*/ 0 h 3403506"/>
              <a:gd name="csX4" fmla="*/ 9723904 w 9723904"/>
              <a:gd name="csY4" fmla="*/ 323570 h 3403506"/>
              <a:gd name="csX5" fmla="*/ 941294 w 9723904"/>
              <a:gd name="csY5" fmla="*/ 3403506 h 3403506"/>
              <a:gd name="csX6" fmla="*/ 0 w 9723904"/>
              <a:gd name="csY6" fmla="*/ 2955271 h 3403506"/>
              <a:gd name="csX0" fmla="*/ 0 w 9723904"/>
              <a:gd name="csY0" fmla="*/ 2955271 h 3403506"/>
              <a:gd name="csX1" fmla="*/ 2797212 w 9723904"/>
              <a:gd name="csY1" fmla="*/ 2029441 h 3403506"/>
              <a:gd name="csX2" fmla="*/ 4245012 w 9723904"/>
              <a:gd name="csY2" fmla="*/ 154938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940212 w 9723904"/>
              <a:gd name="csY2" fmla="*/ 1214101 h 3403506"/>
              <a:gd name="csX3" fmla="*/ 4443132 w 9723904"/>
              <a:gd name="csY3" fmla="*/ 1473181 h 3403506"/>
              <a:gd name="csX4" fmla="*/ 8883183 w 9723904"/>
              <a:gd name="csY4" fmla="*/ 0 h 3403506"/>
              <a:gd name="csX5" fmla="*/ 9723904 w 9723904"/>
              <a:gd name="csY5" fmla="*/ 323570 h 3403506"/>
              <a:gd name="csX6" fmla="*/ 941294 w 9723904"/>
              <a:gd name="csY6" fmla="*/ 3403506 h 3403506"/>
              <a:gd name="csX7" fmla="*/ 0 w 9723904"/>
              <a:gd name="csY7" fmla="*/ 2955271 h 3403506"/>
              <a:gd name="csX0" fmla="*/ 0 w 9723904"/>
              <a:gd name="csY0" fmla="*/ 2955271 h 3403506"/>
              <a:gd name="csX1" fmla="*/ 2797212 w 9723904"/>
              <a:gd name="csY1" fmla="*/ 2029441 h 3403506"/>
              <a:gd name="csX2" fmla="*/ 3345852 w 9723904"/>
              <a:gd name="csY2" fmla="*/ 16103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78112 w 9723904"/>
              <a:gd name="csY2" fmla="*/ 1724641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68876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341167 w 9723904"/>
              <a:gd name="csY2" fmla="*/ 1780060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260204 w 9723904"/>
              <a:gd name="csY2" fmla="*/ 175148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3940212 w 9723904"/>
              <a:gd name="csY3" fmla="*/ 1214101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1046399 w 9723904"/>
              <a:gd name="csY2" fmla="*/ 1112215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591014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712395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973571 w 9723904"/>
              <a:gd name="csY2" fmla="*/ 1257871 h 3403506"/>
              <a:gd name="csX3" fmla="*/ 2629302 w 9723904"/>
              <a:gd name="csY3" fmla="*/ 712395 h 3403506"/>
              <a:gd name="csX4" fmla="*/ 3931564 w 9723904"/>
              <a:gd name="csY4" fmla="*/ 1255590 h 3403506"/>
              <a:gd name="csX5" fmla="*/ 4443132 w 9723904"/>
              <a:gd name="csY5" fmla="*/ 1473181 h 3403506"/>
              <a:gd name="csX6" fmla="*/ 8883183 w 9723904"/>
              <a:gd name="csY6" fmla="*/ 0 h 3403506"/>
              <a:gd name="csX7" fmla="*/ 9723904 w 9723904"/>
              <a:gd name="csY7" fmla="*/ 323570 h 3403506"/>
              <a:gd name="csX8" fmla="*/ 941294 w 9723904"/>
              <a:gd name="csY8" fmla="*/ 3403506 h 3403506"/>
              <a:gd name="csX9" fmla="*/ 0 w 9723904"/>
              <a:gd name="csY9" fmla="*/ 2955271 h 3403506"/>
              <a:gd name="csX0" fmla="*/ 0 w 9723904"/>
              <a:gd name="csY0" fmla="*/ 2955271 h 3403506"/>
              <a:gd name="csX1" fmla="*/ 2797212 w 9723904"/>
              <a:gd name="csY1" fmla="*/ 2029441 h 3403506"/>
              <a:gd name="csX2" fmla="*/ 2629302 w 9723904"/>
              <a:gd name="csY2" fmla="*/ 712395 h 3403506"/>
              <a:gd name="csX3" fmla="*/ 3931564 w 9723904"/>
              <a:gd name="csY3" fmla="*/ 1255590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675022 w 9723904"/>
              <a:gd name="csY2" fmla="*/ 1619175 h 3403506"/>
              <a:gd name="csX3" fmla="*/ 3931564 w 9723904"/>
              <a:gd name="csY3" fmla="*/ 1255590 h 3403506"/>
              <a:gd name="csX4" fmla="*/ 4443132 w 9723904"/>
              <a:gd name="csY4" fmla="*/ 1473181 h 3403506"/>
              <a:gd name="csX5" fmla="*/ 8883183 w 9723904"/>
              <a:gd name="csY5" fmla="*/ 0 h 3403506"/>
              <a:gd name="csX6" fmla="*/ 9723904 w 9723904"/>
              <a:gd name="csY6" fmla="*/ 323570 h 3403506"/>
              <a:gd name="csX7" fmla="*/ 941294 w 9723904"/>
              <a:gd name="csY7" fmla="*/ 3403506 h 3403506"/>
              <a:gd name="csX8" fmla="*/ 0 w 9723904"/>
              <a:gd name="csY8" fmla="*/ 2955271 h 3403506"/>
              <a:gd name="csX0" fmla="*/ 0 w 9723904"/>
              <a:gd name="csY0" fmla="*/ 2955271 h 3403506"/>
              <a:gd name="csX1" fmla="*/ 2797212 w 9723904"/>
              <a:gd name="csY1" fmla="*/ 2029441 h 3403506"/>
              <a:gd name="csX2" fmla="*/ 2773324 w 9723904"/>
              <a:gd name="csY2" fmla="*/ 1895670 h 3403506"/>
              <a:gd name="csX3" fmla="*/ 2675022 w 9723904"/>
              <a:gd name="csY3" fmla="*/ 1619175 h 3403506"/>
              <a:gd name="csX4" fmla="*/ 3931564 w 9723904"/>
              <a:gd name="csY4" fmla="*/ 1255590 h 3403506"/>
              <a:gd name="csX5" fmla="*/ 4443132 w 9723904"/>
              <a:gd name="csY5" fmla="*/ 1473181 h 3403506"/>
              <a:gd name="csX6" fmla="*/ 8883183 w 9723904"/>
              <a:gd name="csY6" fmla="*/ 0 h 3403506"/>
              <a:gd name="csX7" fmla="*/ 9723904 w 9723904"/>
              <a:gd name="csY7" fmla="*/ 323570 h 3403506"/>
              <a:gd name="csX8" fmla="*/ 941294 w 9723904"/>
              <a:gd name="csY8" fmla="*/ 3403506 h 3403506"/>
              <a:gd name="csX9" fmla="*/ 0 w 9723904"/>
              <a:gd name="csY9" fmla="*/ 2955271 h 3403506"/>
              <a:gd name="csX0" fmla="*/ 0 w 9723904"/>
              <a:gd name="csY0" fmla="*/ 2955271 h 3403506"/>
              <a:gd name="csX1" fmla="*/ 2797212 w 9723904"/>
              <a:gd name="csY1" fmla="*/ 2029441 h 3403506"/>
              <a:gd name="csX2" fmla="*/ 3276244 w 9723904"/>
              <a:gd name="csY2" fmla="*/ 1872810 h 3403506"/>
              <a:gd name="csX3" fmla="*/ 2675022 w 9723904"/>
              <a:gd name="csY3" fmla="*/ 1619175 h 3403506"/>
              <a:gd name="csX4" fmla="*/ 3931564 w 9723904"/>
              <a:gd name="csY4" fmla="*/ 1255590 h 3403506"/>
              <a:gd name="csX5" fmla="*/ 4443132 w 9723904"/>
              <a:gd name="csY5" fmla="*/ 1473181 h 3403506"/>
              <a:gd name="csX6" fmla="*/ 8883183 w 9723904"/>
              <a:gd name="csY6" fmla="*/ 0 h 3403506"/>
              <a:gd name="csX7" fmla="*/ 9723904 w 9723904"/>
              <a:gd name="csY7" fmla="*/ 323570 h 3403506"/>
              <a:gd name="csX8" fmla="*/ 941294 w 9723904"/>
              <a:gd name="csY8" fmla="*/ 3403506 h 3403506"/>
              <a:gd name="csX9" fmla="*/ 0 w 9723904"/>
              <a:gd name="csY9" fmla="*/ 2955271 h 34035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723904" h="3403506">
                <a:moveTo>
                  <a:pt x="0" y="2955271"/>
                </a:moveTo>
                <a:lnTo>
                  <a:pt x="2797212" y="2029441"/>
                </a:lnTo>
                <a:lnTo>
                  <a:pt x="3276244" y="1872810"/>
                </a:lnTo>
                <a:lnTo>
                  <a:pt x="2675022" y="1619175"/>
                </a:lnTo>
                <a:lnTo>
                  <a:pt x="3931564" y="1255590"/>
                </a:lnTo>
                <a:lnTo>
                  <a:pt x="4443132" y="1473181"/>
                </a:lnTo>
                <a:lnTo>
                  <a:pt x="8883183" y="0"/>
                </a:lnTo>
                <a:lnTo>
                  <a:pt x="9723904" y="323570"/>
                </a:lnTo>
                <a:lnTo>
                  <a:pt x="941294" y="3403506"/>
                </a:lnTo>
                <a:lnTo>
                  <a:pt x="0" y="2955271"/>
                </a:lnTo>
                <a:close/>
              </a:path>
            </a:pathLst>
          </a:custGeom>
          <a:noFill/>
          <a:ln>
            <a:solidFill>
              <a:srgbClr val="FF0000"/>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4" name="Suora yhdysviiva 3">
            <a:extLst>
              <a:ext uri="{FF2B5EF4-FFF2-40B4-BE49-F238E27FC236}">
                <a16:creationId xmlns:a16="http://schemas.microsoft.com/office/drawing/2014/main" id="{417F6AA5-7B1E-13F7-0667-D3424DCF4BCE}"/>
              </a:ext>
            </a:extLst>
          </p:cNvPr>
          <p:cNvCxnSpPr>
            <a:cxnSpLocks/>
          </p:cNvCxnSpPr>
          <p:nvPr/>
        </p:nvCxnSpPr>
        <p:spPr>
          <a:xfrm>
            <a:off x="4566176" y="2466003"/>
            <a:ext cx="13168" cy="1830446"/>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5" name="Suora yhdysviiva 4">
            <a:extLst>
              <a:ext uri="{FF2B5EF4-FFF2-40B4-BE49-F238E27FC236}">
                <a16:creationId xmlns:a16="http://schemas.microsoft.com/office/drawing/2014/main" id="{0A9986C6-7E0A-CA3B-E882-458E2EADA583}"/>
              </a:ext>
            </a:extLst>
          </p:cNvPr>
          <p:cNvCxnSpPr>
            <a:cxnSpLocks/>
          </p:cNvCxnSpPr>
          <p:nvPr/>
        </p:nvCxnSpPr>
        <p:spPr>
          <a:xfrm>
            <a:off x="5561997" y="2883159"/>
            <a:ext cx="9967" cy="1892041"/>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6" name="Suora yhdysviiva 5">
            <a:extLst>
              <a:ext uri="{FF2B5EF4-FFF2-40B4-BE49-F238E27FC236}">
                <a16:creationId xmlns:a16="http://schemas.microsoft.com/office/drawing/2014/main" id="{30C816C4-0B5E-73AA-7203-5654D8BEA15E}"/>
              </a:ext>
            </a:extLst>
          </p:cNvPr>
          <p:cNvCxnSpPr>
            <a:cxnSpLocks/>
          </p:cNvCxnSpPr>
          <p:nvPr/>
        </p:nvCxnSpPr>
        <p:spPr>
          <a:xfrm flipH="1">
            <a:off x="6885522" y="2426717"/>
            <a:ext cx="1988" cy="1909155"/>
          </a:xfrm>
          <a:prstGeom prst="line">
            <a:avLst/>
          </a:prstGeom>
          <a:ln w="12700">
            <a:prstDash val="dash"/>
          </a:ln>
        </p:spPr>
        <p:style>
          <a:lnRef idx="2">
            <a:schemeClr val="dk1"/>
          </a:lnRef>
          <a:fillRef idx="0">
            <a:schemeClr val="dk1"/>
          </a:fillRef>
          <a:effectRef idx="1">
            <a:schemeClr val="dk1"/>
          </a:effectRef>
          <a:fontRef idx="minor">
            <a:schemeClr val="tx1"/>
          </a:fontRef>
        </p:style>
      </p:cxnSp>
      <p:grpSp>
        <p:nvGrpSpPr>
          <p:cNvPr id="9" name="Ryhmä 8">
            <a:extLst>
              <a:ext uri="{FF2B5EF4-FFF2-40B4-BE49-F238E27FC236}">
                <a16:creationId xmlns:a16="http://schemas.microsoft.com/office/drawing/2014/main" id="{C865432F-52C3-6EBD-CB51-28BC83F7AACB}"/>
              </a:ext>
            </a:extLst>
          </p:cNvPr>
          <p:cNvGrpSpPr/>
          <p:nvPr/>
        </p:nvGrpSpPr>
        <p:grpSpPr>
          <a:xfrm>
            <a:off x="2167763" y="2789803"/>
            <a:ext cx="8861479" cy="2983345"/>
            <a:chOff x="341745" y="2179782"/>
            <a:chExt cx="8861479" cy="2983345"/>
          </a:xfrm>
        </p:grpSpPr>
        <p:cxnSp>
          <p:nvCxnSpPr>
            <p:cNvPr id="10" name="Suora yhdysviiva 9">
              <a:extLst>
                <a:ext uri="{FF2B5EF4-FFF2-40B4-BE49-F238E27FC236}">
                  <a16:creationId xmlns:a16="http://schemas.microsoft.com/office/drawing/2014/main" id="{59761CC1-3088-8FB9-1E23-A5B74993488C}"/>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11" name="Suora yhdysviiva 10">
              <a:extLst>
                <a:ext uri="{FF2B5EF4-FFF2-40B4-BE49-F238E27FC236}">
                  <a16:creationId xmlns:a16="http://schemas.microsoft.com/office/drawing/2014/main" id="{11C0B430-AB3C-BD82-EF62-E6964AD97AA1}"/>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 name="Suora yhdysviiva 11">
              <a:extLst>
                <a:ext uri="{FF2B5EF4-FFF2-40B4-BE49-F238E27FC236}">
                  <a16:creationId xmlns:a16="http://schemas.microsoft.com/office/drawing/2014/main" id="{B6FD5BC9-6BFA-34DA-5C17-C7EB6FB8BCA8}"/>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 name="Suora yhdysviiva 12">
              <a:extLst>
                <a:ext uri="{FF2B5EF4-FFF2-40B4-BE49-F238E27FC236}">
                  <a16:creationId xmlns:a16="http://schemas.microsoft.com/office/drawing/2014/main" id="{1BA7BA23-D7F5-8CEB-808C-3D10138052A9}"/>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 name="Suora yhdysviiva 13">
              <a:extLst>
                <a:ext uri="{FF2B5EF4-FFF2-40B4-BE49-F238E27FC236}">
                  <a16:creationId xmlns:a16="http://schemas.microsoft.com/office/drawing/2014/main" id="{7BDDC034-E150-DA31-2F3D-2E3B4B9D869C}"/>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 name="Suora yhdysviiva 14">
              <a:extLst>
                <a:ext uri="{FF2B5EF4-FFF2-40B4-BE49-F238E27FC236}">
                  <a16:creationId xmlns:a16="http://schemas.microsoft.com/office/drawing/2014/main" id="{9E39D774-EEF6-547D-9635-D85CDD15C90B}"/>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 name="Suora yhdysviiva 15">
              <a:extLst>
                <a:ext uri="{FF2B5EF4-FFF2-40B4-BE49-F238E27FC236}">
                  <a16:creationId xmlns:a16="http://schemas.microsoft.com/office/drawing/2014/main" id="{430FE4D8-1FE2-6A8B-5467-44BF7797472A}"/>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7" name="Suora yhdysviiva 16">
              <a:extLst>
                <a:ext uri="{FF2B5EF4-FFF2-40B4-BE49-F238E27FC236}">
                  <a16:creationId xmlns:a16="http://schemas.microsoft.com/office/drawing/2014/main" id="{12509C35-961B-5D72-5D61-6B445ECF2A99}"/>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8" name="Suora yhdysviiva 17">
              <a:extLst>
                <a:ext uri="{FF2B5EF4-FFF2-40B4-BE49-F238E27FC236}">
                  <a16:creationId xmlns:a16="http://schemas.microsoft.com/office/drawing/2014/main" id="{B93D79C4-37DB-5535-3C73-4744322F67D9}"/>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9" name="Suora yhdysviiva 18">
              <a:extLst>
                <a:ext uri="{FF2B5EF4-FFF2-40B4-BE49-F238E27FC236}">
                  <a16:creationId xmlns:a16="http://schemas.microsoft.com/office/drawing/2014/main" id="{82890B82-FC09-972A-9FD7-D5AEA4624686}"/>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0" name="Suora yhdysviiva 19">
              <a:extLst>
                <a:ext uri="{FF2B5EF4-FFF2-40B4-BE49-F238E27FC236}">
                  <a16:creationId xmlns:a16="http://schemas.microsoft.com/office/drawing/2014/main" id="{DB4A88E4-E193-6939-FB00-92B0C3F8E35E}"/>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1" name="Suora yhdysviiva 20">
              <a:extLst>
                <a:ext uri="{FF2B5EF4-FFF2-40B4-BE49-F238E27FC236}">
                  <a16:creationId xmlns:a16="http://schemas.microsoft.com/office/drawing/2014/main" id="{AA57E8AC-B591-3BA5-02BA-8BD6796EAE4E}"/>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2" name="Suora yhdysviiva 21">
              <a:extLst>
                <a:ext uri="{FF2B5EF4-FFF2-40B4-BE49-F238E27FC236}">
                  <a16:creationId xmlns:a16="http://schemas.microsoft.com/office/drawing/2014/main" id="{8A00E82A-D1F5-DB22-D1B0-81544D953AA9}"/>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3" name="Suora yhdysviiva 22">
              <a:extLst>
                <a:ext uri="{FF2B5EF4-FFF2-40B4-BE49-F238E27FC236}">
                  <a16:creationId xmlns:a16="http://schemas.microsoft.com/office/drawing/2014/main" id="{2A4623E1-966A-D976-6BA2-6688C89064E0}"/>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4" name="Suora yhdysviiva 23">
              <a:extLst>
                <a:ext uri="{FF2B5EF4-FFF2-40B4-BE49-F238E27FC236}">
                  <a16:creationId xmlns:a16="http://schemas.microsoft.com/office/drawing/2014/main" id="{A11BBB3A-03C3-96FE-2F60-0E8CD4DD2617}"/>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5" name="Suora yhdysviiva 24">
              <a:extLst>
                <a:ext uri="{FF2B5EF4-FFF2-40B4-BE49-F238E27FC236}">
                  <a16:creationId xmlns:a16="http://schemas.microsoft.com/office/drawing/2014/main" id="{B2BAC51E-37AE-749E-FFB2-F7B76892FC14}"/>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6" name="Suora yhdysviiva 25">
              <a:extLst>
                <a:ext uri="{FF2B5EF4-FFF2-40B4-BE49-F238E27FC236}">
                  <a16:creationId xmlns:a16="http://schemas.microsoft.com/office/drawing/2014/main" id="{387606C8-8ECD-0ED9-4599-042F0FA2FCE5}"/>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7" name="Suora yhdysviiva 26">
              <a:extLst>
                <a:ext uri="{FF2B5EF4-FFF2-40B4-BE49-F238E27FC236}">
                  <a16:creationId xmlns:a16="http://schemas.microsoft.com/office/drawing/2014/main" id="{82489D1C-9D55-B36E-FBCB-865DF64CE138}"/>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8" name="Suora yhdysviiva 27">
              <a:extLst>
                <a:ext uri="{FF2B5EF4-FFF2-40B4-BE49-F238E27FC236}">
                  <a16:creationId xmlns:a16="http://schemas.microsoft.com/office/drawing/2014/main" id="{8B0E5AEF-B788-8C30-8F2D-BF25EC45531D}"/>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29" name="Suora yhdysviiva 28">
              <a:extLst>
                <a:ext uri="{FF2B5EF4-FFF2-40B4-BE49-F238E27FC236}">
                  <a16:creationId xmlns:a16="http://schemas.microsoft.com/office/drawing/2014/main" id="{4922296A-0A69-3F78-03F9-1983A98836DA}"/>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0" name="Suora yhdysviiva 29">
              <a:extLst>
                <a:ext uri="{FF2B5EF4-FFF2-40B4-BE49-F238E27FC236}">
                  <a16:creationId xmlns:a16="http://schemas.microsoft.com/office/drawing/2014/main" id="{0EC4BA76-F21F-A45D-249B-7AE3ABD589E4}"/>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1" name="Suora yhdysviiva 30">
              <a:extLst>
                <a:ext uri="{FF2B5EF4-FFF2-40B4-BE49-F238E27FC236}">
                  <a16:creationId xmlns:a16="http://schemas.microsoft.com/office/drawing/2014/main" id="{7FD89BFD-AAA0-B02E-4B02-B475B777DC84}"/>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2" name="Suora yhdysviiva 31">
              <a:extLst>
                <a:ext uri="{FF2B5EF4-FFF2-40B4-BE49-F238E27FC236}">
                  <a16:creationId xmlns:a16="http://schemas.microsoft.com/office/drawing/2014/main" id="{E4617E6E-851C-9FDC-E600-AF50C089B607}"/>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3" name="Suora yhdysviiva 32">
              <a:extLst>
                <a:ext uri="{FF2B5EF4-FFF2-40B4-BE49-F238E27FC236}">
                  <a16:creationId xmlns:a16="http://schemas.microsoft.com/office/drawing/2014/main" id="{C0B9ACD1-1EAB-250D-E84B-E8EB9B906902}"/>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4" name="Suora yhdysviiva 33">
              <a:extLst>
                <a:ext uri="{FF2B5EF4-FFF2-40B4-BE49-F238E27FC236}">
                  <a16:creationId xmlns:a16="http://schemas.microsoft.com/office/drawing/2014/main" id="{7E783412-1723-F39C-CEFD-2F7FBE4ACAA2}"/>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5" name="Suora yhdysviiva 34">
              <a:extLst>
                <a:ext uri="{FF2B5EF4-FFF2-40B4-BE49-F238E27FC236}">
                  <a16:creationId xmlns:a16="http://schemas.microsoft.com/office/drawing/2014/main" id="{5A9FE071-EF46-B8A0-FB5A-A27ACA325D5C}"/>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6" name="Suora yhdysviiva 35">
              <a:extLst>
                <a:ext uri="{FF2B5EF4-FFF2-40B4-BE49-F238E27FC236}">
                  <a16:creationId xmlns:a16="http://schemas.microsoft.com/office/drawing/2014/main" id="{9C3970A0-F9C8-513D-4CD8-B93CF1EE557F}"/>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7" name="Suora yhdysviiva 36">
              <a:extLst>
                <a:ext uri="{FF2B5EF4-FFF2-40B4-BE49-F238E27FC236}">
                  <a16:creationId xmlns:a16="http://schemas.microsoft.com/office/drawing/2014/main" id="{30589C5D-51C3-72EF-80CC-7E963E39E240}"/>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8" name="Suora yhdysviiva 37">
              <a:extLst>
                <a:ext uri="{FF2B5EF4-FFF2-40B4-BE49-F238E27FC236}">
                  <a16:creationId xmlns:a16="http://schemas.microsoft.com/office/drawing/2014/main" id="{F6E378C4-A0E2-D791-E679-3E80CB832220}"/>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39" name="Suora yhdysviiva 38">
              <a:extLst>
                <a:ext uri="{FF2B5EF4-FFF2-40B4-BE49-F238E27FC236}">
                  <a16:creationId xmlns:a16="http://schemas.microsoft.com/office/drawing/2014/main" id="{22375877-4948-8EAD-FEAD-82D562045A42}"/>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0" name="Suora yhdysviiva 39">
              <a:extLst>
                <a:ext uri="{FF2B5EF4-FFF2-40B4-BE49-F238E27FC236}">
                  <a16:creationId xmlns:a16="http://schemas.microsoft.com/office/drawing/2014/main" id="{B2026F24-23CC-E87F-225F-4873C2CBA803}"/>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1" name="Suora yhdysviiva 40">
              <a:extLst>
                <a:ext uri="{FF2B5EF4-FFF2-40B4-BE49-F238E27FC236}">
                  <a16:creationId xmlns:a16="http://schemas.microsoft.com/office/drawing/2014/main" id="{08D1CDB1-5DEC-C90A-F937-E09F3731B0BB}"/>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2" name="Suora yhdysviiva 41">
              <a:extLst>
                <a:ext uri="{FF2B5EF4-FFF2-40B4-BE49-F238E27FC236}">
                  <a16:creationId xmlns:a16="http://schemas.microsoft.com/office/drawing/2014/main" id="{52010AD7-C80A-3CDB-680D-901FA87385EC}"/>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3" name="Suora yhdysviiva 42">
              <a:extLst>
                <a:ext uri="{FF2B5EF4-FFF2-40B4-BE49-F238E27FC236}">
                  <a16:creationId xmlns:a16="http://schemas.microsoft.com/office/drawing/2014/main" id="{B83155D9-9BEA-7A46-818E-F361C91D5540}"/>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4" name="Suora yhdysviiva 43">
              <a:extLst>
                <a:ext uri="{FF2B5EF4-FFF2-40B4-BE49-F238E27FC236}">
                  <a16:creationId xmlns:a16="http://schemas.microsoft.com/office/drawing/2014/main" id="{F3FB1C64-7E56-5960-1DEA-0DF998236D58}"/>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5" name="Suora yhdysviiva 44">
              <a:extLst>
                <a:ext uri="{FF2B5EF4-FFF2-40B4-BE49-F238E27FC236}">
                  <a16:creationId xmlns:a16="http://schemas.microsoft.com/office/drawing/2014/main" id="{44DCDDCA-B8C4-7061-0EE6-55870E17A622}"/>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6" name="Suora yhdysviiva 45">
              <a:extLst>
                <a:ext uri="{FF2B5EF4-FFF2-40B4-BE49-F238E27FC236}">
                  <a16:creationId xmlns:a16="http://schemas.microsoft.com/office/drawing/2014/main" id="{171F7A5D-2BEC-5904-C88E-676AA67D8804}"/>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7" name="Suora yhdysviiva 46">
              <a:extLst>
                <a:ext uri="{FF2B5EF4-FFF2-40B4-BE49-F238E27FC236}">
                  <a16:creationId xmlns:a16="http://schemas.microsoft.com/office/drawing/2014/main" id="{4585128B-E87F-C0DC-C20A-2411A068CC3A}"/>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8" name="Suora yhdysviiva 47">
              <a:extLst>
                <a:ext uri="{FF2B5EF4-FFF2-40B4-BE49-F238E27FC236}">
                  <a16:creationId xmlns:a16="http://schemas.microsoft.com/office/drawing/2014/main" id="{7914F60B-D27E-E050-47B6-19B4A7171211}"/>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49" name="Suora yhdysviiva 48">
              <a:extLst>
                <a:ext uri="{FF2B5EF4-FFF2-40B4-BE49-F238E27FC236}">
                  <a16:creationId xmlns:a16="http://schemas.microsoft.com/office/drawing/2014/main" id="{B6408EA5-5D0F-2A33-89E7-796C19912D28}"/>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0" name="Suora yhdysviiva 49">
              <a:extLst>
                <a:ext uri="{FF2B5EF4-FFF2-40B4-BE49-F238E27FC236}">
                  <a16:creationId xmlns:a16="http://schemas.microsoft.com/office/drawing/2014/main" id="{8368216C-8F26-0AFF-A97D-9B51CD766371}"/>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1" name="Suora yhdysviiva 50">
              <a:extLst>
                <a:ext uri="{FF2B5EF4-FFF2-40B4-BE49-F238E27FC236}">
                  <a16:creationId xmlns:a16="http://schemas.microsoft.com/office/drawing/2014/main" id="{F5C77BD8-F045-4C2E-DBE9-D462362C84CF}"/>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2" name="Suora yhdysviiva 51">
              <a:extLst>
                <a:ext uri="{FF2B5EF4-FFF2-40B4-BE49-F238E27FC236}">
                  <a16:creationId xmlns:a16="http://schemas.microsoft.com/office/drawing/2014/main" id="{38870503-D791-2A8F-BE32-6E320D7508FC}"/>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3" name="Suora yhdysviiva 52">
              <a:extLst>
                <a:ext uri="{FF2B5EF4-FFF2-40B4-BE49-F238E27FC236}">
                  <a16:creationId xmlns:a16="http://schemas.microsoft.com/office/drawing/2014/main" id="{FE754395-297D-0B00-65E7-0C8DF04E6283}"/>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4" name="Suora yhdysviiva 53">
              <a:extLst>
                <a:ext uri="{FF2B5EF4-FFF2-40B4-BE49-F238E27FC236}">
                  <a16:creationId xmlns:a16="http://schemas.microsoft.com/office/drawing/2014/main" id="{BCEC1247-583F-4580-73ED-08C975853FAB}"/>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5" name="Suora yhdysviiva 54">
              <a:extLst>
                <a:ext uri="{FF2B5EF4-FFF2-40B4-BE49-F238E27FC236}">
                  <a16:creationId xmlns:a16="http://schemas.microsoft.com/office/drawing/2014/main" id="{44B5FC36-1C55-8AED-A391-55709E847A6E}"/>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6" name="Suora yhdysviiva 55">
              <a:extLst>
                <a:ext uri="{FF2B5EF4-FFF2-40B4-BE49-F238E27FC236}">
                  <a16:creationId xmlns:a16="http://schemas.microsoft.com/office/drawing/2014/main" id="{357DB54C-4164-828A-DBD8-291D8F33C379}"/>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7" name="Suora yhdysviiva 56">
              <a:extLst>
                <a:ext uri="{FF2B5EF4-FFF2-40B4-BE49-F238E27FC236}">
                  <a16:creationId xmlns:a16="http://schemas.microsoft.com/office/drawing/2014/main" id="{5F999BC5-D274-9170-1AD9-11C4AD88750A}"/>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8" name="Suora yhdysviiva 57">
              <a:extLst>
                <a:ext uri="{FF2B5EF4-FFF2-40B4-BE49-F238E27FC236}">
                  <a16:creationId xmlns:a16="http://schemas.microsoft.com/office/drawing/2014/main" id="{EA8BB71E-27C4-95BC-C1A9-50D852F4BFFA}"/>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59" name="Suora yhdysviiva 58">
              <a:extLst>
                <a:ext uri="{FF2B5EF4-FFF2-40B4-BE49-F238E27FC236}">
                  <a16:creationId xmlns:a16="http://schemas.microsoft.com/office/drawing/2014/main" id="{B277B6B1-5E27-0A7C-4F5F-AF3943DCE461}"/>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0" name="Suora yhdysviiva 59">
              <a:extLst>
                <a:ext uri="{FF2B5EF4-FFF2-40B4-BE49-F238E27FC236}">
                  <a16:creationId xmlns:a16="http://schemas.microsoft.com/office/drawing/2014/main" id="{2783F08E-866A-EDB7-E74E-4121C9D2E099}"/>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1" name="Suora yhdysviiva 60">
              <a:extLst>
                <a:ext uri="{FF2B5EF4-FFF2-40B4-BE49-F238E27FC236}">
                  <a16:creationId xmlns:a16="http://schemas.microsoft.com/office/drawing/2014/main" id="{617B379C-6EBE-FDDC-5E4D-8063B268F338}"/>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2" name="Suora yhdysviiva 61">
              <a:extLst>
                <a:ext uri="{FF2B5EF4-FFF2-40B4-BE49-F238E27FC236}">
                  <a16:creationId xmlns:a16="http://schemas.microsoft.com/office/drawing/2014/main" id="{BCB47864-9661-327A-7BB7-C256F22EB498}"/>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3" name="Suora yhdysviiva 62">
              <a:extLst>
                <a:ext uri="{FF2B5EF4-FFF2-40B4-BE49-F238E27FC236}">
                  <a16:creationId xmlns:a16="http://schemas.microsoft.com/office/drawing/2014/main" id="{F7EEC7B4-3ED5-AFA3-0B5A-EDF1B1841D8B}"/>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4" name="Suora yhdysviiva 63">
              <a:extLst>
                <a:ext uri="{FF2B5EF4-FFF2-40B4-BE49-F238E27FC236}">
                  <a16:creationId xmlns:a16="http://schemas.microsoft.com/office/drawing/2014/main" id="{EFA1DCAC-4F74-73D4-7A25-031358AB899E}"/>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5" name="Suora yhdysviiva 64">
              <a:extLst>
                <a:ext uri="{FF2B5EF4-FFF2-40B4-BE49-F238E27FC236}">
                  <a16:creationId xmlns:a16="http://schemas.microsoft.com/office/drawing/2014/main" id="{9822E894-B648-0BA6-D8F9-2B3878207442}"/>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6" name="Suora yhdysviiva 65">
              <a:extLst>
                <a:ext uri="{FF2B5EF4-FFF2-40B4-BE49-F238E27FC236}">
                  <a16:creationId xmlns:a16="http://schemas.microsoft.com/office/drawing/2014/main" id="{DA802F60-48F0-4FB8-E132-B075833E625E}"/>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7" name="Suora yhdysviiva 66">
              <a:extLst>
                <a:ext uri="{FF2B5EF4-FFF2-40B4-BE49-F238E27FC236}">
                  <a16:creationId xmlns:a16="http://schemas.microsoft.com/office/drawing/2014/main" id="{7B84655E-6F6D-ECA9-9655-20A750A0F4AB}"/>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8" name="Suora yhdysviiva 67">
              <a:extLst>
                <a:ext uri="{FF2B5EF4-FFF2-40B4-BE49-F238E27FC236}">
                  <a16:creationId xmlns:a16="http://schemas.microsoft.com/office/drawing/2014/main" id="{5E7C4FC1-17C6-8D1D-DA33-5F55A103A483}"/>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69" name="Suora yhdysviiva 68">
              <a:extLst>
                <a:ext uri="{FF2B5EF4-FFF2-40B4-BE49-F238E27FC236}">
                  <a16:creationId xmlns:a16="http://schemas.microsoft.com/office/drawing/2014/main" id="{7888815B-ED50-1F0B-E35E-E209C4353150}"/>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0" name="Suora yhdysviiva 69">
              <a:extLst>
                <a:ext uri="{FF2B5EF4-FFF2-40B4-BE49-F238E27FC236}">
                  <a16:creationId xmlns:a16="http://schemas.microsoft.com/office/drawing/2014/main" id="{D16ADFA2-3F1E-86A6-CD8E-67D6E00C9E75}"/>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1" name="Suora yhdysviiva 70">
              <a:extLst>
                <a:ext uri="{FF2B5EF4-FFF2-40B4-BE49-F238E27FC236}">
                  <a16:creationId xmlns:a16="http://schemas.microsoft.com/office/drawing/2014/main" id="{AAE18CC2-DCF7-31A9-D77B-E3A0625EBAF3}"/>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2" name="Suora yhdysviiva 71">
              <a:extLst>
                <a:ext uri="{FF2B5EF4-FFF2-40B4-BE49-F238E27FC236}">
                  <a16:creationId xmlns:a16="http://schemas.microsoft.com/office/drawing/2014/main" id="{076EA7E9-99A3-B346-9F29-63F53D843989}"/>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3" name="Suora yhdysviiva 72">
              <a:extLst>
                <a:ext uri="{FF2B5EF4-FFF2-40B4-BE49-F238E27FC236}">
                  <a16:creationId xmlns:a16="http://schemas.microsoft.com/office/drawing/2014/main" id="{C27D6143-120B-F956-0B8A-C4687735556F}"/>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4" name="Suora yhdysviiva 73">
              <a:extLst>
                <a:ext uri="{FF2B5EF4-FFF2-40B4-BE49-F238E27FC236}">
                  <a16:creationId xmlns:a16="http://schemas.microsoft.com/office/drawing/2014/main" id="{4CB14BBC-C8F6-AEBF-26D6-14B0E56AFA9E}"/>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5" name="Suora yhdysviiva 74">
              <a:extLst>
                <a:ext uri="{FF2B5EF4-FFF2-40B4-BE49-F238E27FC236}">
                  <a16:creationId xmlns:a16="http://schemas.microsoft.com/office/drawing/2014/main" id="{64EB3DA8-E296-3CAD-125B-36F30AC591FB}"/>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6" name="Suora yhdysviiva 75">
              <a:extLst>
                <a:ext uri="{FF2B5EF4-FFF2-40B4-BE49-F238E27FC236}">
                  <a16:creationId xmlns:a16="http://schemas.microsoft.com/office/drawing/2014/main" id="{6F95A1EE-6C52-DA94-24BB-72E5344E75AD}"/>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7" name="Suora yhdysviiva 76">
              <a:extLst>
                <a:ext uri="{FF2B5EF4-FFF2-40B4-BE49-F238E27FC236}">
                  <a16:creationId xmlns:a16="http://schemas.microsoft.com/office/drawing/2014/main" id="{1C656138-A292-94AA-C762-ED74D6FB943A}"/>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8" name="Suora yhdysviiva 77">
              <a:extLst>
                <a:ext uri="{FF2B5EF4-FFF2-40B4-BE49-F238E27FC236}">
                  <a16:creationId xmlns:a16="http://schemas.microsoft.com/office/drawing/2014/main" id="{692A858A-3F39-3122-3FD0-D93566CDEAAC}"/>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79" name="Suora yhdysviiva 78">
              <a:extLst>
                <a:ext uri="{FF2B5EF4-FFF2-40B4-BE49-F238E27FC236}">
                  <a16:creationId xmlns:a16="http://schemas.microsoft.com/office/drawing/2014/main" id="{D02F206E-025D-3F1F-86E6-8E10EC09C58E}"/>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0" name="Suora yhdysviiva 79">
              <a:extLst>
                <a:ext uri="{FF2B5EF4-FFF2-40B4-BE49-F238E27FC236}">
                  <a16:creationId xmlns:a16="http://schemas.microsoft.com/office/drawing/2014/main" id="{AAEC0C1A-2950-70EF-6D8B-1911BF2EE628}"/>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1" name="Suora yhdysviiva 80">
              <a:extLst>
                <a:ext uri="{FF2B5EF4-FFF2-40B4-BE49-F238E27FC236}">
                  <a16:creationId xmlns:a16="http://schemas.microsoft.com/office/drawing/2014/main" id="{0E826BE3-F779-8A7F-F8AD-7EA05C861D10}"/>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2" name="Suora yhdysviiva 81">
              <a:extLst>
                <a:ext uri="{FF2B5EF4-FFF2-40B4-BE49-F238E27FC236}">
                  <a16:creationId xmlns:a16="http://schemas.microsoft.com/office/drawing/2014/main" id="{40E6A9FC-5ACB-90EF-3B46-0377F4DA94FD}"/>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3" name="Suora yhdysviiva 82">
              <a:extLst>
                <a:ext uri="{FF2B5EF4-FFF2-40B4-BE49-F238E27FC236}">
                  <a16:creationId xmlns:a16="http://schemas.microsoft.com/office/drawing/2014/main" id="{292AC8C5-F5BD-7FB7-3CDF-DBCF381E974E}"/>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4" name="Suora yhdysviiva 83">
              <a:extLst>
                <a:ext uri="{FF2B5EF4-FFF2-40B4-BE49-F238E27FC236}">
                  <a16:creationId xmlns:a16="http://schemas.microsoft.com/office/drawing/2014/main" id="{23D325EE-432E-97FC-DA53-1DB88EC46CC8}"/>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5" name="Suora yhdysviiva 84">
              <a:extLst>
                <a:ext uri="{FF2B5EF4-FFF2-40B4-BE49-F238E27FC236}">
                  <a16:creationId xmlns:a16="http://schemas.microsoft.com/office/drawing/2014/main" id="{E2F60BA6-D756-34ED-090F-5840DBC0A77C}"/>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grpSp>
        <p:nvGrpSpPr>
          <p:cNvPr id="86" name="Ryhmä 85">
            <a:extLst>
              <a:ext uri="{FF2B5EF4-FFF2-40B4-BE49-F238E27FC236}">
                <a16:creationId xmlns:a16="http://schemas.microsoft.com/office/drawing/2014/main" id="{D1034D81-1C53-DB68-CD35-6BB8BD5B9C2F}"/>
              </a:ext>
            </a:extLst>
          </p:cNvPr>
          <p:cNvGrpSpPr/>
          <p:nvPr/>
        </p:nvGrpSpPr>
        <p:grpSpPr>
          <a:xfrm>
            <a:off x="2443988" y="2905874"/>
            <a:ext cx="8861479" cy="2983345"/>
            <a:chOff x="341745" y="2179782"/>
            <a:chExt cx="8861479" cy="2983345"/>
          </a:xfrm>
        </p:grpSpPr>
        <p:cxnSp>
          <p:nvCxnSpPr>
            <p:cNvPr id="87" name="Suora yhdysviiva 86">
              <a:extLst>
                <a:ext uri="{FF2B5EF4-FFF2-40B4-BE49-F238E27FC236}">
                  <a16:creationId xmlns:a16="http://schemas.microsoft.com/office/drawing/2014/main" id="{82C17CDD-C2C2-78E1-E2E0-84ED09942335}"/>
                </a:ext>
              </a:extLst>
            </p:cNvPr>
            <p:cNvCxnSpPr>
              <a:cxnSpLocks/>
            </p:cNvCxnSpPr>
            <p:nvPr/>
          </p:nvCxnSpPr>
          <p:spPr>
            <a:xfrm flipV="1">
              <a:off x="341745" y="2179782"/>
              <a:ext cx="8839200" cy="2983345"/>
            </a:xfrm>
            <a:prstGeom prst="line">
              <a:avLst/>
            </a:prstGeom>
            <a:ln w="6350"/>
          </p:spPr>
          <p:style>
            <a:lnRef idx="2">
              <a:schemeClr val="dk1"/>
            </a:lnRef>
            <a:fillRef idx="0">
              <a:schemeClr val="dk1"/>
            </a:fillRef>
            <a:effectRef idx="1">
              <a:schemeClr val="dk1"/>
            </a:effectRef>
            <a:fontRef idx="minor">
              <a:schemeClr val="tx1"/>
            </a:fontRef>
          </p:style>
        </p:cxnSp>
        <p:cxnSp>
          <p:nvCxnSpPr>
            <p:cNvPr id="88" name="Suora yhdysviiva 87">
              <a:extLst>
                <a:ext uri="{FF2B5EF4-FFF2-40B4-BE49-F238E27FC236}">
                  <a16:creationId xmlns:a16="http://schemas.microsoft.com/office/drawing/2014/main" id="{D179AC69-1748-9BAF-0F70-BBE1AD7C9E85}"/>
                </a:ext>
              </a:extLst>
            </p:cNvPr>
            <p:cNvCxnSpPr/>
            <p:nvPr/>
          </p:nvCxnSpPr>
          <p:spPr>
            <a:xfrm>
              <a:off x="478631" y="5074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89" name="Suora yhdysviiva 88">
              <a:extLst>
                <a:ext uri="{FF2B5EF4-FFF2-40B4-BE49-F238E27FC236}">
                  <a16:creationId xmlns:a16="http://schemas.microsoft.com/office/drawing/2014/main" id="{A8513057-C93E-0E3D-F464-C5EC72DCCCED}"/>
                </a:ext>
              </a:extLst>
            </p:cNvPr>
            <p:cNvCxnSpPr/>
            <p:nvPr/>
          </p:nvCxnSpPr>
          <p:spPr>
            <a:xfrm>
              <a:off x="615517" y="5031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0" name="Suora yhdysviiva 89">
              <a:extLst>
                <a:ext uri="{FF2B5EF4-FFF2-40B4-BE49-F238E27FC236}">
                  <a16:creationId xmlns:a16="http://schemas.microsoft.com/office/drawing/2014/main" id="{AC0CB2B7-230C-BDEB-59DD-D742D38B53BD}"/>
                </a:ext>
              </a:extLst>
            </p:cNvPr>
            <p:cNvCxnSpPr/>
            <p:nvPr/>
          </p:nvCxnSpPr>
          <p:spPr>
            <a:xfrm>
              <a:off x="729817" y="4988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1" name="Suora yhdysviiva 90">
              <a:extLst>
                <a:ext uri="{FF2B5EF4-FFF2-40B4-BE49-F238E27FC236}">
                  <a16:creationId xmlns:a16="http://schemas.microsoft.com/office/drawing/2014/main" id="{5D628E7C-514E-324A-698A-1360BF09FDDB}"/>
                </a:ext>
              </a:extLst>
            </p:cNvPr>
            <p:cNvCxnSpPr/>
            <p:nvPr/>
          </p:nvCxnSpPr>
          <p:spPr>
            <a:xfrm>
              <a:off x="844117" y="494585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2" name="Suora yhdysviiva 91">
              <a:extLst>
                <a:ext uri="{FF2B5EF4-FFF2-40B4-BE49-F238E27FC236}">
                  <a16:creationId xmlns:a16="http://schemas.microsoft.com/office/drawing/2014/main" id="{D214ECF0-A594-8BD8-B352-09CB46E40F48}"/>
                </a:ext>
              </a:extLst>
            </p:cNvPr>
            <p:cNvCxnSpPr/>
            <p:nvPr/>
          </p:nvCxnSpPr>
          <p:spPr>
            <a:xfrm>
              <a:off x="958417" y="4924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3" name="Suora yhdysviiva 92">
              <a:extLst>
                <a:ext uri="{FF2B5EF4-FFF2-40B4-BE49-F238E27FC236}">
                  <a16:creationId xmlns:a16="http://schemas.microsoft.com/office/drawing/2014/main" id="{3F35BD61-B647-61AB-5629-E3C50AAB56E3}"/>
                </a:ext>
              </a:extLst>
            </p:cNvPr>
            <p:cNvCxnSpPr/>
            <p:nvPr/>
          </p:nvCxnSpPr>
          <p:spPr>
            <a:xfrm>
              <a:off x="1059584" y="4881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4" name="Suora yhdysviiva 93">
              <a:extLst>
                <a:ext uri="{FF2B5EF4-FFF2-40B4-BE49-F238E27FC236}">
                  <a16:creationId xmlns:a16="http://schemas.microsoft.com/office/drawing/2014/main" id="{20F66C92-21A5-AD9C-6343-4E0A2E6FEBC8}"/>
                </a:ext>
              </a:extLst>
            </p:cNvPr>
            <p:cNvCxnSpPr/>
            <p:nvPr/>
          </p:nvCxnSpPr>
          <p:spPr>
            <a:xfrm>
              <a:off x="1196470" y="4838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5" name="Suora yhdysviiva 94">
              <a:extLst>
                <a:ext uri="{FF2B5EF4-FFF2-40B4-BE49-F238E27FC236}">
                  <a16:creationId xmlns:a16="http://schemas.microsoft.com/office/drawing/2014/main" id="{6367AD3B-9AD6-6E99-0C11-8132E74EE2B3}"/>
                </a:ext>
              </a:extLst>
            </p:cNvPr>
            <p:cNvCxnSpPr/>
            <p:nvPr/>
          </p:nvCxnSpPr>
          <p:spPr>
            <a:xfrm>
              <a:off x="1310770" y="4795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6" name="Suora yhdysviiva 95">
              <a:extLst>
                <a:ext uri="{FF2B5EF4-FFF2-40B4-BE49-F238E27FC236}">
                  <a16:creationId xmlns:a16="http://schemas.microsoft.com/office/drawing/2014/main" id="{ABF71263-A67F-E7F5-E64C-7ACF3CCAF813}"/>
                </a:ext>
              </a:extLst>
            </p:cNvPr>
            <p:cNvCxnSpPr/>
            <p:nvPr/>
          </p:nvCxnSpPr>
          <p:spPr>
            <a:xfrm>
              <a:off x="1425070" y="475297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7" name="Suora yhdysviiva 96">
              <a:extLst>
                <a:ext uri="{FF2B5EF4-FFF2-40B4-BE49-F238E27FC236}">
                  <a16:creationId xmlns:a16="http://schemas.microsoft.com/office/drawing/2014/main" id="{267F0850-D1B6-2AA0-FA68-B4C86EF4FCB9}"/>
                </a:ext>
              </a:extLst>
            </p:cNvPr>
            <p:cNvCxnSpPr/>
            <p:nvPr/>
          </p:nvCxnSpPr>
          <p:spPr>
            <a:xfrm>
              <a:off x="1539370" y="4731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8" name="Suora yhdysviiva 97">
              <a:extLst>
                <a:ext uri="{FF2B5EF4-FFF2-40B4-BE49-F238E27FC236}">
                  <a16:creationId xmlns:a16="http://schemas.microsoft.com/office/drawing/2014/main" id="{4D98E373-EB33-E5AB-5F92-BFCC026E54C1}"/>
                </a:ext>
              </a:extLst>
            </p:cNvPr>
            <p:cNvCxnSpPr/>
            <p:nvPr/>
          </p:nvCxnSpPr>
          <p:spPr>
            <a:xfrm>
              <a:off x="1631156" y="4688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99" name="Suora yhdysviiva 98">
              <a:extLst>
                <a:ext uri="{FF2B5EF4-FFF2-40B4-BE49-F238E27FC236}">
                  <a16:creationId xmlns:a16="http://schemas.microsoft.com/office/drawing/2014/main" id="{5B247803-2DA2-F562-6F0C-FF84EBB9EF0C}"/>
                </a:ext>
              </a:extLst>
            </p:cNvPr>
            <p:cNvCxnSpPr/>
            <p:nvPr/>
          </p:nvCxnSpPr>
          <p:spPr>
            <a:xfrm>
              <a:off x="1768042" y="4645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0" name="Suora yhdysviiva 99">
              <a:extLst>
                <a:ext uri="{FF2B5EF4-FFF2-40B4-BE49-F238E27FC236}">
                  <a16:creationId xmlns:a16="http://schemas.microsoft.com/office/drawing/2014/main" id="{922ADA1B-1555-2477-4B3F-D86BED949A50}"/>
                </a:ext>
              </a:extLst>
            </p:cNvPr>
            <p:cNvCxnSpPr/>
            <p:nvPr/>
          </p:nvCxnSpPr>
          <p:spPr>
            <a:xfrm>
              <a:off x="1882342" y="4602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1" name="Suora yhdysviiva 100">
              <a:extLst>
                <a:ext uri="{FF2B5EF4-FFF2-40B4-BE49-F238E27FC236}">
                  <a16:creationId xmlns:a16="http://schemas.microsoft.com/office/drawing/2014/main" id="{1708C4C1-6A54-44E0-937D-AA3743CEF323}"/>
                </a:ext>
              </a:extLst>
            </p:cNvPr>
            <p:cNvCxnSpPr/>
            <p:nvPr/>
          </p:nvCxnSpPr>
          <p:spPr>
            <a:xfrm>
              <a:off x="1996642" y="45601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2" name="Suora yhdysviiva 101">
              <a:extLst>
                <a:ext uri="{FF2B5EF4-FFF2-40B4-BE49-F238E27FC236}">
                  <a16:creationId xmlns:a16="http://schemas.microsoft.com/office/drawing/2014/main" id="{0E335CF2-B637-0076-BEC2-85FCAE099387}"/>
                </a:ext>
              </a:extLst>
            </p:cNvPr>
            <p:cNvCxnSpPr/>
            <p:nvPr/>
          </p:nvCxnSpPr>
          <p:spPr>
            <a:xfrm>
              <a:off x="2110942" y="453866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3" name="Suora yhdysviiva 102">
              <a:extLst>
                <a:ext uri="{FF2B5EF4-FFF2-40B4-BE49-F238E27FC236}">
                  <a16:creationId xmlns:a16="http://schemas.microsoft.com/office/drawing/2014/main" id="{C3519339-C8CB-71D3-4149-36F7CE630F5A}"/>
                </a:ext>
              </a:extLst>
            </p:cNvPr>
            <p:cNvCxnSpPr/>
            <p:nvPr/>
          </p:nvCxnSpPr>
          <p:spPr>
            <a:xfrm>
              <a:off x="2216780" y="449151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4" name="Suora yhdysviiva 103">
              <a:extLst>
                <a:ext uri="{FF2B5EF4-FFF2-40B4-BE49-F238E27FC236}">
                  <a16:creationId xmlns:a16="http://schemas.microsoft.com/office/drawing/2014/main" id="{89DA8895-4164-411E-7763-2657C517A66A}"/>
                </a:ext>
              </a:extLst>
            </p:cNvPr>
            <p:cNvCxnSpPr/>
            <p:nvPr/>
          </p:nvCxnSpPr>
          <p:spPr>
            <a:xfrm>
              <a:off x="2353666" y="444865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5" name="Suora yhdysviiva 104">
              <a:extLst>
                <a:ext uri="{FF2B5EF4-FFF2-40B4-BE49-F238E27FC236}">
                  <a16:creationId xmlns:a16="http://schemas.microsoft.com/office/drawing/2014/main" id="{E12909FA-21FD-26A7-104E-FC8A519B8AFB}"/>
                </a:ext>
              </a:extLst>
            </p:cNvPr>
            <p:cNvCxnSpPr/>
            <p:nvPr/>
          </p:nvCxnSpPr>
          <p:spPr>
            <a:xfrm>
              <a:off x="2467966" y="440579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6" name="Suora yhdysviiva 105">
              <a:extLst>
                <a:ext uri="{FF2B5EF4-FFF2-40B4-BE49-F238E27FC236}">
                  <a16:creationId xmlns:a16="http://schemas.microsoft.com/office/drawing/2014/main" id="{4F96976A-BBFB-4A04-33BA-58EC18E1458D}"/>
                </a:ext>
              </a:extLst>
            </p:cNvPr>
            <p:cNvCxnSpPr/>
            <p:nvPr/>
          </p:nvCxnSpPr>
          <p:spPr>
            <a:xfrm>
              <a:off x="2582266" y="43629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7" name="Suora yhdysviiva 106">
              <a:extLst>
                <a:ext uri="{FF2B5EF4-FFF2-40B4-BE49-F238E27FC236}">
                  <a16:creationId xmlns:a16="http://schemas.microsoft.com/office/drawing/2014/main" id="{632203D8-1069-CC86-1961-FFD08B65354E}"/>
                </a:ext>
              </a:extLst>
            </p:cNvPr>
            <p:cNvCxnSpPr/>
            <p:nvPr/>
          </p:nvCxnSpPr>
          <p:spPr>
            <a:xfrm>
              <a:off x="2696566" y="434150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8" name="Suora yhdysviiva 107">
              <a:extLst>
                <a:ext uri="{FF2B5EF4-FFF2-40B4-BE49-F238E27FC236}">
                  <a16:creationId xmlns:a16="http://schemas.microsoft.com/office/drawing/2014/main" id="{ABE5218B-6ABA-5DB2-15ED-0172B200D214}"/>
                </a:ext>
              </a:extLst>
            </p:cNvPr>
            <p:cNvCxnSpPr/>
            <p:nvPr/>
          </p:nvCxnSpPr>
          <p:spPr>
            <a:xfrm>
              <a:off x="2797733" y="429863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09" name="Suora yhdysviiva 108">
              <a:extLst>
                <a:ext uri="{FF2B5EF4-FFF2-40B4-BE49-F238E27FC236}">
                  <a16:creationId xmlns:a16="http://schemas.microsoft.com/office/drawing/2014/main" id="{F4F034F0-27BC-4A8A-BA88-B419DCFB99F3}"/>
                </a:ext>
              </a:extLst>
            </p:cNvPr>
            <p:cNvCxnSpPr/>
            <p:nvPr/>
          </p:nvCxnSpPr>
          <p:spPr>
            <a:xfrm>
              <a:off x="2934619" y="425577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0" name="Suora yhdysviiva 109">
              <a:extLst>
                <a:ext uri="{FF2B5EF4-FFF2-40B4-BE49-F238E27FC236}">
                  <a16:creationId xmlns:a16="http://schemas.microsoft.com/office/drawing/2014/main" id="{23315159-CBA3-8B22-2C71-7A5BE78864AB}"/>
                </a:ext>
              </a:extLst>
            </p:cNvPr>
            <p:cNvCxnSpPr/>
            <p:nvPr/>
          </p:nvCxnSpPr>
          <p:spPr>
            <a:xfrm>
              <a:off x="3048919" y="421291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1" name="Suora yhdysviiva 110">
              <a:extLst>
                <a:ext uri="{FF2B5EF4-FFF2-40B4-BE49-F238E27FC236}">
                  <a16:creationId xmlns:a16="http://schemas.microsoft.com/office/drawing/2014/main" id="{38E8410D-A627-3095-25BC-A94AC8F37A30}"/>
                </a:ext>
              </a:extLst>
            </p:cNvPr>
            <p:cNvCxnSpPr/>
            <p:nvPr/>
          </p:nvCxnSpPr>
          <p:spPr>
            <a:xfrm>
              <a:off x="3163219" y="417005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2" name="Suora yhdysviiva 111">
              <a:extLst>
                <a:ext uri="{FF2B5EF4-FFF2-40B4-BE49-F238E27FC236}">
                  <a16:creationId xmlns:a16="http://schemas.microsoft.com/office/drawing/2014/main" id="{0BE0DD01-5AEE-7975-5387-9C5D9E7924AD}"/>
                </a:ext>
              </a:extLst>
            </p:cNvPr>
            <p:cNvCxnSpPr/>
            <p:nvPr/>
          </p:nvCxnSpPr>
          <p:spPr>
            <a:xfrm>
              <a:off x="3277519" y="414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3" name="Suora yhdysviiva 112">
              <a:extLst>
                <a:ext uri="{FF2B5EF4-FFF2-40B4-BE49-F238E27FC236}">
                  <a16:creationId xmlns:a16="http://schemas.microsoft.com/office/drawing/2014/main" id="{BFBF4615-0605-FAC5-2B78-53CAFFE57B64}"/>
                </a:ext>
              </a:extLst>
            </p:cNvPr>
            <p:cNvCxnSpPr/>
            <p:nvPr/>
          </p:nvCxnSpPr>
          <p:spPr>
            <a:xfrm>
              <a:off x="3369305" y="410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4" name="Suora yhdysviiva 113">
              <a:extLst>
                <a:ext uri="{FF2B5EF4-FFF2-40B4-BE49-F238E27FC236}">
                  <a16:creationId xmlns:a16="http://schemas.microsoft.com/office/drawing/2014/main" id="{A65D2B74-D213-E00C-2E34-8591D7BB5DB1}"/>
                </a:ext>
              </a:extLst>
            </p:cNvPr>
            <p:cNvCxnSpPr/>
            <p:nvPr/>
          </p:nvCxnSpPr>
          <p:spPr>
            <a:xfrm>
              <a:off x="3506191" y="406289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5" name="Suora yhdysviiva 114">
              <a:extLst>
                <a:ext uri="{FF2B5EF4-FFF2-40B4-BE49-F238E27FC236}">
                  <a16:creationId xmlns:a16="http://schemas.microsoft.com/office/drawing/2014/main" id="{2BC83F63-B3EA-AC29-56E0-0E910524BDEA}"/>
                </a:ext>
              </a:extLst>
            </p:cNvPr>
            <p:cNvCxnSpPr/>
            <p:nvPr/>
          </p:nvCxnSpPr>
          <p:spPr>
            <a:xfrm>
              <a:off x="3620491" y="402003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6" name="Suora yhdysviiva 115">
              <a:extLst>
                <a:ext uri="{FF2B5EF4-FFF2-40B4-BE49-F238E27FC236}">
                  <a16:creationId xmlns:a16="http://schemas.microsoft.com/office/drawing/2014/main" id="{BE14FDDB-7A47-36B4-9310-0B02AE588E92}"/>
                </a:ext>
              </a:extLst>
            </p:cNvPr>
            <p:cNvCxnSpPr/>
            <p:nvPr/>
          </p:nvCxnSpPr>
          <p:spPr>
            <a:xfrm>
              <a:off x="3734791" y="397717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7" name="Suora yhdysviiva 116">
              <a:extLst>
                <a:ext uri="{FF2B5EF4-FFF2-40B4-BE49-F238E27FC236}">
                  <a16:creationId xmlns:a16="http://schemas.microsoft.com/office/drawing/2014/main" id="{5E3FFDDF-86AF-0E47-3DFB-7218D48322C9}"/>
                </a:ext>
              </a:extLst>
            </p:cNvPr>
            <p:cNvCxnSpPr/>
            <p:nvPr/>
          </p:nvCxnSpPr>
          <p:spPr>
            <a:xfrm>
              <a:off x="3849091" y="395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8" name="Suora yhdysviiva 117">
              <a:extLst>
                <a:ext uri="{FF2B5EF4-FFF2-40B4-BE49-F238E27FC236}">
                  <a16:creationId xmlns:a16="http://schemas.microsoft.com/office/drawing/2014/main" id="{7B830C4B-1FEF-629F-91DA-364415FD6235}"/>
                </a:ext>
              </a:extLst>
            </p:cNvPr>
            <p:cNvCxnSpPr/>
            <p:nvPr/>
          </p:nvCxnSpPr>
          <p:spPr>
            <a:xfrm>
              <a:off x="3963391" y="390030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19" name="Suora yhdysviiva 118">
              <a:extLst>
                <a:ext uri="{FF2B5EF4-FFF2-40B4-BE49-F238E27FC236}">
                  <a16:creationId xmlns:a16="http://schemas.microsoft.com/office/drawing/2014/main" id="{56356114-1C48-C196-8AC5-9E130AA0616F}"/>
                </a:ext>
              </a:extLst>
            </p:cNvPr>
            <p:cNvCxnSpPr/>
            <p:nvPr/>
          </p:nvCxnSpPr>
          <p:spPr>
            <a:xfrm>
              <a:off x="4100277" y="385744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0" name="Suora yhdysviiva 119">
              <a:extLst>
                <a:ext uri="{FF2B5EF4-FFF2-40B4-BE49-F238E27FC236}">
                  <a16:creationId xmlns:a16="http://schemas.microsoft.com/office/drawing/2014/main" id="{1AC9D277-53E5-B2A2-1523-2FFDC78439CE}"/>
                </a:ext>
              </a:extLst>
            </p:cNvPr>
            <p:cNvCxnSpPr/>
            <p:nvPr/>
          </p:nvCxnSpPr>
          <p:spPr>
            <a:xfrm>
              <a:off x="4214577" y="381458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1" name="Suora yhdysviiva 120">
              <a:extLst>
                <a:ext uri="{FF2B5EF4-FFF2-40B4-BE49-F238E27FC236}">
                  <a16:creationId xmlns:a16="http://schemas.microsoft.com/office/drawing/2014/main" id="{CD2DC2B8-EF6A-93FD-43B5-FCD7289A866D}"/>
                </a:ext>
              </a:extLst>
            </p:cNvPr>
            <p:cNvCxnSpPr/>
            <p:nvPr/>
          </p:nvCxnSpPr>
          <p:spPr>
            <a:xfrm>
              <a:off x="4328877" y="377172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2" name="Suora yhdysviiva 121">
              <a:extLst>
                <a:ext uri="{FF2B5EF4-FFF2-40B4-BE49-F238E27FC236}">
                  <a16:creationId xmlns:a16="http://schemas.microsoft.com/office/drawing/2014/main" id="{081424EC-7266-D504-5728-20F68D3E4828}"/>
                </a:ext>
              </a:extLst>
            </p:cNvPr>
            <p:cNvCxnSpPr/>
            <p:nvPr/>
          </p:nvCxnSpPr>
          <p:spPr>
            <a:xfrm>
              <a:off x="4443177" y="375028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3" name="Suora yhdysviiva 122">
              <a:extLst>
                <a:ext uri="{FF2B5EF4-FFF2-40B4-BE49-F238E27FC236}">
                  <a16:creationId xmlns:a16="http://schemas.microsoft.com/office/drawing/2014/main" id="{BF9496B9-169F-DFD7-DBFD-CD2C5D636773}"/>
                </a:ext>
              </a:extLst>
            </p:cNvPr>
            <p:cNvCxnSpPr/>
            <p:nvPr/>
          </p:nvCxnSpPr>
          <p:spPr>
            <a:xfrm>
              <a:off x="4544344" y="370742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4" name="Suora yhdysviiva 123">
              <a:extLst>
                <a:ext uri="{FF2B5EF4-FFF2-40B4-BE49-F238E27FC236}">
                  <a16:creationId xmlns:a16="http://schemas.microsoft.com/office/drawing/2014/main" id="{778B3F57-65F1-A514-8F8D-62CDF31931EC}"/>
                </a:ext>
              </a:extLst>
            </p:cNvPr>
            <p:cNvCxnSpPr/>
            <p:nvPr/>
          </p:nvCxnSpPr>
          <p:spPr>
            <a:xfrm>
              <a:off x="4681230" y="366456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5" name="Suora yhdysviiva 124">
              <a:extLst>
                <a:ext uri="{FF2B5EF4-FFF2-40B4-BE49-F238E27FC236}">
                  <a16:creationId xmlns:a16="http://schemas.microsoft.com/office/drawing/2014/main" id="{C571724C-FD70-50EA-159B-E4D5AE7E68BA}"/>
                </a:ext>
              </a:extLst>
            </p:cNvPr>
            <p:cNvCxnSpPr/>
            <p:nvPr/>
          </p:nvCxnSpPr>
          <p:spPr>
            <a:xfrm>
              <a:off x="4795530" y="362170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6" name="Suora yhdysviiva 125">
              <a:extLst>
                <a:ext uri="{FF2B5EF4-FFF2-40B4-BE49-F238E27FC236}">
                  <a16:creationId xmlns:a16="http://schemas.microsoft.com/office/drawing/2014/main" id="{A7973D9E-9574-0F90-985B-A0AC49737213}"/>
                </a:ext>
              </a:extLst>
            </p:cNvPr>
            <p:cNvCxnSpPr/>
            <p:nvPr/>
          </p:nvCxnSpPr>
          <p:spPr>
            <a:xfrm>
              <a:off x="4909830" y="357884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7" name="Suora yhdysviiva 126">
              <a:extLst>
                <a:ext uri="{FF2B5EF4-FFF2-40B4-BE49-F238E27FC236}">
                  <a16:creationId xmlns:a16="http://schemas.microsoft.com/office/drawing/2014/main" id="{39A428D2-E023-851B-3AA0-4E8099D99D44}"/>
                </a:ext>
              </a:extLst>
            </p:cNvPr>
            <p:cNvCxnSpPr/>
            <p:nvPr/>
          </p:nvCxnSpPr>
          <p:spPr>
            <a:xfrm>
              <a:off x="5024130" y="355741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8" name="Suora yhdysviiva 127">
              <a:extLst>
                <a:ext uri="{FF2B5EF4-FFF2-40B4-BE49-F238E27FC236}">
                  <a16:creationId xmlns:a16="http://schemas.microsoft.com/office/drawing/2014/main" id="{6C50C98E-F38F-557D-355E-D1F357DEA0CF}"/>
                </a:ext>
              </a:extLst>
            </p:cNvPr>
            <p:cNvCxnSpPr/>
            <p:nvPr/>
          </p:nvCxnSpPr>
          <p:spPr>
            <a:xfrm>
              <a:off x="5115916" y="351454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29" name="Suora yhdysviiva 128">
              <a:extLst>
                <a:ext uri="{FF2B5EF4-FFF2-40B4-BE49-F238E27FC236}">
                  <a16:creationId xmlns:a16="http://schemas.microsoft.com/office/drawing/2014/main" id="{10ADE4E5-4B61-C863-78AD-3CD5F3CF46CE}"/>
                </a:ext>
              </a:extLst>
            </p:cNvPr>
            <p:cNvCxnSpPr/>
            <p:nvPr/>
          </p:nvCxnSpPr>
          <p:spPr>
            <a:xfrm>
              <a:off x="5252802" y="347168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0" name="Suora yhdysviiva 129">
              <a:extLst>
                <a:ext uri="{FF2B5EF4-FFF2-40B4-BE49-F238E27FC236}">
                  <a16:creationId xmlns:a16="http://schemas.microsoft.com/office/drawing/2014/main" id="{541E74EB-B7EB-61A1-711E-2B8A19CD8FE4}"/>
                </a:ext>
              </a:extLst>
            </p:cNvPr>
            <p:cNvCxnSpPr/>
            <p:nvPr/>
          </p:nvCxnSpPr>
          <p:spPr>
            <a:xfrm>
              <a:off x="5367102" y="342882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1" name="Suora yhdysviiva 130">
              <a:extLst>
                <a:ext uri="{FF2B5EF4-FFF2-40B4-BE49-F238E27FC236}">
                  <a16:creationId xmlns:a16="http://schemas.microsoft.com/office/drawing/2014/main" id="{708EC61D-AC26-117A-BDFB-001F1E5C05D8}"/>
                </a:ext>
              </a:extLst>
            </p:cNvPr>
            <p:cNvCxnSpPr/>
            <p:nvPr/>
          </p:nvCxnSpPr>
          <p:spPr>
            <a:xfrm>
              <a:off x="5481402" y="338596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2" name="Suora yhdysviiva 131">
              <a:extLst>
                <a:ext uri="{FF2B5EF4-FFF2-40B4-BE49-F238E27FC236}">
                  <a16:creationId xmlns:a16="http://schemas.microsoft.com/office/drawing/2014/main" id="{382C0C64-98F7-3060-7214-C8C27CDE4C59}"/>
                </a:ext>
              </a:extLst>
            </p:cNvPr>
            <p:cNvCxnSpPr/>
            <p:nvPr/>
          </p:nvCxnSpPr>
          <p:spPr>
            <a:xfrm>
              <a:off x="5595702" y="336453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3" name="Suora yhdysviiva 132">
              <a:extLst>
                <a:ext uri="{FF2B5EF4-FFF2-40B4-BE49-F238E27FC236}">
                  <a16:creationId xmlns:a16="http://schemas.microsoft.com/office/drawing/2014/main" id="{4E6BA748-D658-AA8D-841D-133F8769B983}"/>
                </a:ext>
              </a:extLst>
            </p:cNvPr>
            <p:cNvCxnSpPr/>
            <p:nvPr/>
          </p:nvCxnSpPr>
          <p:spPr>
            <a:xfrm>
              <a:off x="5710002" y="331434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4" name="Suora yhdysviiva 133">
              <a:extLst>
                <a:ext uri="{FF2B5EF4-FFF2-40B4-BE49-F238E27FC236}">
                  <a16:creationId xmlns:a16="http://schemas.microsoft.com/office/drawing/2014/main" id="{21EED737-B041-4CAC-7C03-5932D988E36B}"/>
                </a:ext>
              </a:extLst>
            </p:cNvPr>
            <p:cNvCxnSpPr/>
            <p:nvPr/>
          </p:nvCxnSpPr>
          <p:spPr>
            <a:xfrm>
              <a:off x="5846888" y="327148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5" name="Suora yhdysviiva 134">
              <a:extLst>
                <a:ext uri="{FF2B5EF4-FFF2-40B4-BE49-F238E27FC236}">
                  <a16:creationId xmlns:a16="http://schemas.microsoft.com/office/drawing/2014/main" id="{D34DEA07-7D37-C5ED-79A6-CF334B8196DC}"/>
                </a:ext>
              </a:extLst>
            </p:cNvPr>
            <p:cNvCxnSpPr/>
            <p:nvPr/>
          </p:nvCxnSpPr>
          <p:spPr>
            <a:xfrm>
              <a:off x="5961188" y="322862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6" name="Suora yhdysviiva 135">
              <a:extLst>
                <a:ext uri="{FF2B5EF4-FFF2-40B4-BE49-F238E27FC236}">
                  <a16:creationId xmlns:a16="http://schemas.microsoft.com/office/drawing/2014/main" id="{95C506CC-04AF-6EBB-3680-FEEC7FA39A0D}"/>
                </a:ext>
              </a:extLst>
            </p:cNvPr>
            <p:cNvCxnSpPr/>
            <p:nvPr/>
          </p:nvCxnSpPr>
          <p:spPr>
            <a:xfrm>
              <a:off x="6075488" y="318575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7" name="Suora yhdysviiva 136">
              <a:extLst>
                <a:ext uri="{FF2B5EF4-FFF2-40B4-BE49-F238E27FC236}">
                  <a16:creationId xmlns:a16="http://schemas.microsoft.com/office/drawing/2014/main" id="{61F2CA13-3071-5551-7020-29A2718C578A}"/>
                </a:ext>
              </a:extLst>
            </p:cNvPr>
            <p:cNvCxnSpPr/>
            <p:nvPr/>
          </p:nvCxnSpPr>
          <p:spPr>
            <a:xfrm>
              <a:off x="6189788" y="316432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8" name="Suora yhdysviiva 137">
              <a:extLst>
                <a:ext uri="{FF2B5EF4-FFF2-40B4-BE49-F238E27FC236}">
                  <a16:creationId xmlns:a16="http://schemas.microsoft.com/office/drawing/2014/main" id="{5087003B-ED11-AB63-42F1-CBD0BF145706}"/>
                </a:ext>
              </a:extLst>
            </p:cNvPr>
            <p:cNvCxnSpPr/>
            <p:nvPr/>
          </p:nvCxnSpPr>
          <p:spPr>
            <a:xfrm>
              <a:off x="6290955" y="312146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39" name="Suora yhdysviiva 138">
              <a:extLst>
                <a:ext uri="{FF2B5EF4-FFF2-40B4-BE49-F238E27FC236}">
                  <a16:creationId xmlns:a16="http://schemas.microsoft.com/office/drawing/2014/main" id="{8808929E-87C8-F1DB-7B02-2C943D991564}"/>
                </a:ext>
              </a:extLst>
            </p:cNvPr>
            <p:cNvCxnSpPr/>
            <p:nvPr/>
          </p:nvCxnSpPr>
          <p:spPr>
            <a:xfrm>
              <a:off x="6427841" y="307860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0" name="Suora yhdysviiva 139">
              <a:extLst>
                <a:ext uri="{FF2B5EF4-FFF2-40B4-BE49-F238E27FC236}">
                  <a16:creationId xmlns:a16="http://schemas.microsoft.com/office/drawing/2014/main" id="{6DE44FD9-1331-D967-8EAD-A60CDC481BB1}"/>
                </a:ext>
              </a:extLst>
            </p:cNvPr>
            <p:cNvCxnSpPr/>
            <p:nvPr/>
          </p:nvCxnSpPr>
          <p:spPr>
            <a:xfrm>
              <a:off x="6542141" y="303574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1" name="Suora yhdysviiva 140">
              <a:extLst>
                <a:ext uri="{FF2B5EF4-FFF2-40B4-BE49-F238E27FC236}">
                  <a16:creationId xmlns:a16="http://schemas.microsoft.com/office/drawing/2014/main" id="{5F4C1C93-3BE8-EEB8-D6F1-840CE86EF16E}"/>
                </a:ext>
              </a:extLst>
            </p:cNvPr>
            <p:cNvCxnSpPr/>
            <p:nvPr/>
          </p:nvCxnSpPr>
          <p:spPr>
            <a:xfrm>
              <a:off x="6656441" y="299288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2" name="Suora yhdysviiva 141">
              <a:extLst>
                <a:ext uri="{FF2B5EF4-FFF2-40B4-BE49-F238E27FC236}">
                  <a16:creationId xmlns:a16="http://schemas.microsoft.com/office/drawing/2014/main" id="{714323DD-3A52-7C13-17C0-D81FA7F9BFCF}"/>
                </a:ext>
              </a:extLst>
            </p:cNvPr>
            <p:cNvCxnSpPr/>
            <p:nvPr/>
          </p:nvCxnSpPr>
          <p:spPr>
            <a:xfrm>
              <a:off x="6770741" y="297144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3" name="Suora yhdysviiva 142">
              <a:extLst>
                <a:ext uri="{FF2B5EF4-FFF2-40B4-BE49-F238E27FC236}">
                  <a16:creationId xmlns:a16="http://schemas.microsoft.com/office/drawing/2014/main" id="{B9A012B2-2D76-8A5F-1DCF-97203D7936A2}"/>
                </a:ext>
              </a:extLst>
            </p:cNvPr>
            <p:cNvCxnSpPr/>
            <p:nvPr/>
          </p:nvCxnSpPr>
          <p:spPr>
            <a:xfrm>
              <a:off x="6862527" y="292858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4" name="Suora yhdysviiva 143">
              <a:extLst>
                <a:ext uri="{FF2B5EF4-FFF2-40B4-BE49-F238E27FC236}">
                  <a16:creationId xmlns:a16="http://schemas.microsoft.com/office/drawing/2014/main" id="{AB14B8C1-2492-8FC2-007B-91D9F83FB07F}"/>
                </a:ext>
              </a:extLst>
            </p:cNvPr>
            <p:cNvCxnSpPr/>
            <p:nvPr/>
          </p:nvCxnSpPr>
          <p:spPr>
            <a:xfrm>
              <a:off x="6999413" y="288572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5" name="Suora yhdysviiva 144">
              <a:extLst>
                <a:ext uri="{FF2B5EF4-FFF2-40B4-BE49-F238E27FC236}">
                  <a16:creationId xmlns:a16="http://schemas.microsoft.com/office/drawing/2014/main" id="{524D4A88-7894-ED4E-A012-0BB3B4521461}"/>
                </a:ext>
              </a:extLst>
            </p:cNvPr>
            <p:cNvCxnSpPr/>
            <p:nvPr/>
          </p:nvCxnSpPr>
          <p:spPr>
            <a:xfrm>
              <a:off x="7113713" y="284286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6" name="Suora yhdysviiva 145">
              <a:extLst>
                <a:ext uri="{FF2B5EF4-FFF2-40B4-BE49-F238E27FC236}">
                  <a16:creationId xmlns:a16="http://schemas.microsoft.com/office/drawing/2014/main" id="{60E99463-4021-9220-9955-46C68EACB75C}"/>
                </a:ext>
              </a:extLst>
            </p:cNvPr>
            <p:cNvCxnSpPr/>
            <p:nvPr/>
          </p:nvCxnSpPr>
          <p:spPr>
            <a:xfrm>
              <a:off x="7228013" y="280000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7" name="Suora yhdysviiva 146">
              <a:extLst>
                <a:ext uri="{FF2B5EF4-FFF2-40B4-BE49-F238E27FC236}">
                  <a16:creationId xmlns:a16="http://schemas.microsoft.com/office/drawing/2014/main" id="{8E6EC498-B5BF-2C0F-27F7-142A0DABB5DA}"/>
                </a:ext>
              </a:extLst>
            </p:cNvPr>
            <p:cNvCxnSpPr/>
            <p:nvPr/>
          </p:nvCxnSpPr>
          <p:spPr>
            <a:xfrm>
              <a:off x="7342313" y="277857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8" name="Suora yhdysviiva 147">
              <a:extLst>
                <a:ext uri="{FF2B5EF4-FFF2-40B4-BE49-F238E27FC236}">
                  <a16:creationId xmlns:a16="http://schemas.microsoft.com/office/drawing/2014/main" id="{F9FD5E4F-6F46-871B-3F3C-C0813D885B35}"/>
                </a:ext>
              </a:extLst>
            </p:cNvPr>
            <p:cNvCxnSpPr/>
            <p:nvPr/>
          </p:nvCxnSpPr>
          <p:spPr>
            <a:xfrm>
              <a:off x="7456613" y="271648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49" name="Suora yhdysviiva 148">
              <a:extLst>
                <a:ext uri="{FF2B5EF4-FFF2-40B4-BE49-F238E27FC236}">
                  <a16:creationId xmlns:a16="http://schemas.microsoft.com/office/drawing/2014/main" id="{BE56549B-3037-8AB0-E0DC-234933273B40}"/>
                </a:ext>
              </a:extLst>
            </p:cNvPr>
            <p:cNvCxnSpPr/>
            <p:nvPr/>
          </p:nvCxnSpPr>
          <p:spPr>
            <a:xfrm>
              <a:off x="7593499" y="267361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0" name="Suora yhdysviiva 149">
              <a:extLst>
                <a:ext uri="{FF2B5EF4-FFF2-40B4-BE49-F238E27FC236}">
                  <a16:creationId xmlns:a16="http://schemas.microsoft.com/office/drawing/2014/main" id="{26693D10-4E2B-3D54-5F7B-A04917FAC5EE}"/>
                </a:ext>
              </a:extLst>
            </p:cNvPr>
            <p:cNvCxnSpPr/>
            <p:nvPr/>
          </p:nvCxnSpPr>
          <p:spPr>
            <a:xfrm>
              <a:off x="7707799" y="263075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1" name="Suora yhdysviiva 150">
              <a:extLst>
                <a:ext uri="{FF2B5EF4-FFF2-40B4-BE49-F238E27FC236}">
                  <a16:creationId xmlns:a16="http://schemas.microsoft.com/office/drawing/2014/main" id="{D483F083-8113-3C84-D496-77A96A971DD0}"/>
                </a:ext>
              </a:extLst>
            </p:cNvPr>
            <p:cNvCxnSpPr/>
            <p:nvPr/>
          </p:nvCxnSpPr>
          <p:spPr>
            <a:xfrm>
              <a:off x="7822099" y="258789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2" name="Suora yhdysviiva 151">
              <a:extLst>
                <a:ext uri="{FF2B5EF4-FFF2-40B4-BE49-F238E27FC236}">
                  <a16:creationId xmlns:a16="http://schemas.microsoft.com/office/drawing/2014/main" id="{F7718E83-78E1-515F-CDAD-FF5BFF34D38C}"/>
                </a:ext>
              </a:extLst>
            </p:cNvPr>
            <p:cNvCxnSpPr/>
            <p:nvPr/>
          </p:nvCxnSpPr>
          <p:spPr>
            <a:xfrm>
              <a:off x="7936399" y="2566464"/>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3" name="Suora yhdysviiva 152">
              <a:extLst>
                <a:ext uri="{FF2B5EF4-FFF2-40B4-BE49-F238E27FC236}">
                  <a16:creationId xmlns:a16="http://schemas.microsoft.com/office/drawing/2014/main" id="{7BDF557F-05A8-D8C8-EF4F-4E5A905BEC29}"/>
                </a:ext>
              </a:extLst>
            </p:cNvPr>
            <p:cNvCxnSpPr/>
            <p:nvPr/>
          </p:nvCxnSpPr>
          <p:spPr>
            <a:xfrm>
              <a:off x="8037566" y="2523602"/>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4" name="Suora yhdysviiva 153">
              <a:extLst>
                <a:ext uri="{FF2B5EF4-FFF2-40B4-BE49-F238E27FC236}">
                  <a16:creationId xmlns:a16="http://schemas.microsoft.com/office/drawing/2014/main" id="{07D0B9AF-A8B7-FA56-B36E-FB6F5F80ABB8}"/>
                </a:ext>
              </a:extLst>
            </p:cNvPr>
            <p:cNvCxnSpPr/>
            <p:nvPr/>
          </p:nvCxnSpPr>
          <p:spPr>
            <a:xfrm>
              <a:off x="8174452" y="2480740"/>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5" name="Suora yhdysviiva 154">
              <a:extLst>
                <a:ext uri="{FF2B5EF4-FFF2-40B4-BE49-F238E27FC236}">
                  <a16:creationId xmlns:a16="http://schemas.microsoft.com/office/drawing/2014/main" id="{C9E3D82C-CFC3-CA90-75AD-DA231C3CE337}"/>
                </a:ext>
              </a:extLst>
            </p:cNvPr>
            <p:cNvCxnSpPr/>
            <p:nvPr/>
          </p:nvCxnSpPr>
          <p:spPr>
            <a:xfrm>
              <a:off x="8288752" y="2437878"/>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6" name="Suora yhdysviiva 155">
              <a:extLst>
                <a:ext uri="{FF2B5EF4-FFF2-40B4-BE49-F238E27FC236}">
                  <a16:creationId xmlns:a16="http://schemas.microsoft.com/office/drawing/2014/main" id="{57406A48-7ABE-4DC9-8B7E-778544EA1460}"/>
                </a:ext>
              </a:extLst>
            </p:cNvPr>
            <p:cNvCxnSpPr/>
            <p:nvPr/>
          </p:nvCxnSpPr>
          <p:spPr>
            <a:xfrm>
              <a:off x="8403052" y="2395016"/>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7" name="Suora yhdysviiva 156">
              <a:extLst>
                <a:ext uri="{FF2B5EF4-FFF2-40B4-BE49-F238E27FC236}">
                  <a16:creationId xmlns:a16="http://schemas.microsoft.com/office/drawing/2014/main" id="{37885DAA-9695-EF29-F056-D28519EB1BBB}"/>
                </a:ext>
              </a:extLst>
            </p:cNvPr>
            <p:cNvCxnSpPr/>
            <p:nvPr/>
          </p:nvCxnSpPr>
          <p:spPr>
            <a:xfrm>
              <a:off x="8517352" y="2373585"/>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8" name="Suora yhdysviiva 157">
              <a:extLst>
                <a:ext uri="{FF2B5EF4-FFF2-40B4-BE49-F238E27FC236}">
                  <a16:creationId xmlns:a16="http://schemas.microsoft.com/office/drawing/2014/main" id="{5003AF7B-806B-36BD-BA12-7F60EE7C94D3}"/>
                </a:ext>
              </a:extLst>
            </p:cNvPr>
            <p:cNvCxnSpPr/>
            <p:nvPr/>
          </p:nvCxnSpPr>
          <p:spPr>
            <a:xfrm>
              <a:off x="8609138" y="2330723"/>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59" name="Suora yhdysviiva 158">
              <a:extLst>
                <a:ext uri="{FF2B5EF4-FFF2-40B4-BE49-F238E27FC236}">
                  <a16:creationId xmlns:a16="http://schemas.microsoft.com/office/drawing/2014/main" id="{E9017CD6-B233-32F8-8A99-7D713AA54ED3}"/>
                </a:ext>
              </a:extLst>
            </p:cNvPr>
            <p:cNvCxnSpPr/>
            <p:nvPr/>
          </p:nvCxnSpPr>
          <p:spPr>
            <a:xfrm>
              <a:off x="8746024" y="2287861"/>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0" name="Suora yhdysviiva 159">
              <a:extLst>
                <a:ext uri="{FF2B5EF4-FFF2-40B4-BE49-F238E27FC236}">
                  <a16:creationId xmlns:a16="http://schemas.microsoft.com/office/drawing/2014/main" id="{7B5C4863-2318-33A9-9BE7-55611CBE77CB}"/>
                </a:ext>
              </a:extLst>
            </p:cNvPr>
            <p:cNvCxnSpPr/>
            <p:nvPr/>
          </p:nvCxnSpPr>
          <p:spPr>
            <a:xfrm>
              <a:off x="8860324" y="2244999"/>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1" name="Suora yhdysviiva 160">
              <a:extLst>
                <a:ext uri="{FF2B5EF4-FFF2-40B4-BE49-F238E27FC236}">
                  <a16:creationId xmlns:a16="http://schemas.microsoft.com/office/drawing/2014/main" id="{B675CB3F-98D5-4628-3114-1F104D0EB2BA}"/>
                </a:ext>
              </a:extLst>
            </p:cNvPr>
            <p:cNvCxnSpPr/>
            <p:nvPr/>
          </p:nvCxnSpPr>
          <p:spPr>
            <a:xfrm>
              <a:off x="8974624" y="2202137"/>
              <a:ext cx="114300" cy="42862"/>
            </a:xfrm>
            <a:prstGeom prst="line">
              <a:avLst/>
            </a:prstGeom>
            <a:ln w="6350"/>
          </p:spPr>
          <p:style>
            <a:lnRef idx="2">
              <a:schemeClr val="dk1"/>
            </a:lnRef>
            <a:fillRef idx="0">
              <a:schemeClr val="dk1"/>
            </a:fillRef>
            <a:effectRef idx="1">
              <a:schemeClr val="dk1"/>
            </a:effectRef>
            <a:fontRef idx="minor">
              <a:schemeClr val="tx1"/>
            </a:fontRef>
          </p:style>
        </p:cxnSp>
        <p:cxnSp>
          <p:nvCxnSpPr>
            <p:cNvPr id="162" name="Suora yhdysviiva 161">
              <a:extLst>
                <a:ext uri="{FF2B5EF4-FFF2-40B4-BE49-F238E27FC236}">
                  <a16:creationId xmlns:a16="http://schemas.microsoft.com/office/drawing/2014/main" id="{67AD6818-9F26-46AB-88C5-5C5CA15C637E}"/>
                </a:ext>
              </a:extLst>
            </p:cNvPr>
            <p:cNvCxnSpPr/>
            <p:nvPr/>
          </p:nvCxnSpPr>
          <p:spPr>
            <a:xfrm>
              <a:off x="9088924" y="2180706"/>
              <a:ext cx="114300" cy="42862"/>
            </a:xfrm>
            <a:prstGeom prst="line">
              <a:avLst/>
            </a:prstGeom>
            <a:ln w="6350"/>
          </p:spPr>
          <p:style>
            <a:lnRef idx="2">
              <a:schemeClr val="dk1"/>
            </a:lnRef>
            <a:fillRef idx="0">
              <a:schemeClr val="dk1"/>
            </a:fillRef>
            <a:effectRef idx="1">
              <a:schemeClr val="dk1"/>
            </a:effectRef>
            <a:fontRef idx="minor">
              <a:schemeClr val="tx1"/>
            </a:fontRef>
          </p:style>
        </p:cxnSp>
      </p:grpSp>
      <p:sp>
        <p:nvSpPr>
          <p:cNvPr id="163" name="Tekstiruutu 162">
            <a:extLst>
              <a:ext uri="{FF2B5EF4-FFF2-40B4-BE49-F238E27FC236}">
                <a16:creationId xmlns:a16="http://schemas.microsoft.com/office/drawing/2014/main" id="{E9EBD081-03DC-5BE4-5590-D9BD35D9D45C}"/>
              </a:ext>
            </a:extLst>
          </p:cNvPr>
          <p:cNvSpPr txBox="1"/>
          <p:nvPr/>
        </p:nvSpPr>
        <p:spPr>
          <a:xfrm rot="20439951">
            <a:off x="8318497" y="3559677"/>
            <a:ext cx="3289683" cy="369332"/>
          </a:xfrm>
          <a:prstGeom prst="rect">
            <a:avLst/>
          </a:prstGeom>
          <a:noFill/>
        </p:spPr>
        <p:txBody>
          <a:bodyPr wrap="none" rtlCol="0">
            <a:spAutoFit/>
          </a:bodyPr>
          <a:lstStyle/>
          <a:p>
            <a:r>
              <a:rPr lang="fi-FI" dirty="0"/>
              <a:t>Maanalainen asemakaava</a:t>
            </a:r>
          </a:p>
        </p:txBody>
      </p:sp>
      <p:sp>
        <p:nvSpPr>
          <p:cNvPr id="164" name="Tekstiruutu 163">
            <a:extLst>
              <a:ext uri="{FF2B5EF4-FFF2-40B4-BE49-F238E27FC236}">
                <a16:creationId xmlns:a16="http://schemas.microsoft.com/office/drawing/2014/main" id="{5C8DE3A2-13AE-692C-04E5-3F115D4183F0}"/>
              </a:ext>
            </a:extLst>
          </p:cNvPr>
          <p:cNvSpPr txBox="1"/>
          <p:nvPr/>
        </p:nvSpPr>
        <p:spPr>
          <a:xfrm rot="20439951">
            <a:off x="1572721" y="2541281"/>
            <a:ext cx="3501280" cy="369332"/>
          </a:xfrm>
          <a:prstGeom prst="rect">
            <a:avLst/>
          </a:prstGeom>
          <a:noFill/>
        </p:spPr>
        <p:txBody>
          <a:bodyPr wrap="none" rtlCol="0">
            <a:spAutoFit/>
          </a:bodyPr>
          <a:lstStyle/>
          <a:p>
            <a:r>
              <a:rPr lang="fi-FI" dirty="0"/>
              <a:t>Maanpäällinen asemakaava</a:t>
            </a:r>
          </a:p>
        </p:txBody>
      </p:sp>
      <p:sp>
        <p:nvSpPr>
          <p:cNvPr id="166" name="Vapaamuotoinen: Muoto 165">
            <a:extLst>
              <a:ext uri="{FF2B5EF4-FFF2-40B4-BE49-F238E27FC236}">
                <a16:creationId xmlns:a16="http://schemas.microsoft.com/office/drawing/2014/main" id="{4F2FBDFE-87A7-5048-C165-0FF2E7DC2AD2}"/>
              </a:ext>
            </a:extLst>
          </p:cNvPr>
          <p:cNvSpPr/>
          <p:nvPr/>
        </p:nvSpPr>
        <p:spPr>
          <a:xfrm>
            <a:off x="5211525" y="2731589"/>
            <a:ext cx="787825" cy="1736755"/>
          </a:xfrm>
          <a:custGeom>
            <a:avLst/>
            <a:gdLst>
              <a:gd name="csX0" fmla="*/ 0 w 728662"/>
              <a:gd name="csY0" fmla="*/ 0 h 1695450"/>
              <a:gd name="csX1" fmla="*/ 0 w 728662"/>
              <a:gd name="csY1" fmla="*/ 1533525 h 1695450"/>
              <a:gd name="csX2" fmla="*/ 247650 w 728662"/>
              <a:gd name="csY2" fmla="*/ 1695450 h 1695450"/>
              <a:gd name="csX3" fmla="*/ 728662 w 728662"/>
              <a:gd name="csY3" fmla="*/ 1509712 h 1695450"/>
              <a:gd name="csX4" fmla="*/ 728662 w 728662"/>
              <a:gd name="csY4" fmla="*/ 266700 h 1695450"/>
              <a:gd name="csX0" fmla="*/ 0 w 728662"/>
              <a:gd name="csY0" fmla="*/ 0 h 1695450"/>
              <a:gd name="csX1" fmla="*/ 0 w 728662"/>
              <a:gd name="csY1" fmla="*/ 1586865 h 1695450"/>
              <a:gd name="csX2" fmla="*/ 247650 w 728662"/>
              <a:gd name="csY2" fmla="*/ 1695450 h 1695450"/>
              <a:gd name="csX3" fmla="*/ 728662 w 728662"/>
              <a:gd name="csY3" fmla="*/ 1509712 h 1695450"/>
              <a:gd name="csX4" fmla="*/ 728662 w 728662"/>
              <a:gd name="csY4" fmla="*/ 266700 h 1695450"/>
              <a:gd name="csX0" fmla="*/ 0 w 728662"/>
              <a:gd name="csY0" fmla="*/ 0 h 1679820"/>
              <a:gd name="csX1" fmla="*/ 0 w 728662"/>
              <a:gd name="csY1" fmla="*/ 1586865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8662 w 728662"/>
              <a:gd name="csY4" fmla="*/ 266700 h 1679820"/>
              <a:gd name="csX0" fmla="*/ 0 w 728662"/>
              <a:gd name="csY0" fmla="*/ 0 h 1679820"/>
              <a:gd name="csX1" fmla="*/ 6362 w 728662"/>
              <a:gd name="csY1" fmla="*/ 1552479 h 1679820"/>
              <a:gd name="csX2" fmla="*/ 301725 w 728662"/>
              <a:gd name="csY2" fmla="*/ 1679820 h 1679820"/>
              <a:gd name="csX3" fmla="*/ 728662 w 728662"/>
              <a:gd name="csY3" fmla="*/ 1509712 h 1679820"/>
              <a:gd name="csX4" fmla="*/ 725481 w 728662"/>
              <a:gd name="csY4" fmla="*/ 125961 h 1679820"/>
              <a:gd name="csX0" fmla="*/ 0 w 728662"/>
              <a:gd name="csY0" fmla="*/ 0 h 1679820"/>
              <a:gd name="csX1" fmla="*/ 3181 w 728662"/>
              <a:gd name="csY1" fmla="*/ 1534436 h 1679820"/>
              <a:gd name="csX2" fmla="*/ 301725 w 728662"/>
              <a:gd name="csY2" fmla="*/ 1679820 h 1679820"/>
              <a:gd name="csX3" fmla="*/ 728662 w 728662"/>
              <a:gd name="csY3" fmla="*/ 1509712 h 1679820"/>
              <a:gd name="csX4" fmla="*/ 725481 w 728662"/>
              <a:gd name="csY4" fmla="*/ 125961 h 1679820"/>
              <a:gd name="csX0" fmla="*/ 0 w 728662"/>
              <a:gd name="csY0" fmla="*/ 262300 h 1942120"/>
              <a:gd name="csX1" fmla="*/ 3181 w 728662"/>
              <a:gd name="csY1" fmla="*/ 1796736 h 1942120"/>
              <a:gd name="csX2" fmla="*/ 301725 w 728662"/>
              <a:gd name="csY2" fmla="*/ 1942120 h 1942120"/>
              <a:gd name="csX3" fmla="*/ 728662 w 728662"/>
              <a:gd name="csY3" fmla="*/ 1772012 h 1942120"/>
              <a:gd name="csX4" fmla="*/ 725481 w 728662"/>
              <a:gd name="csY4" fmla="*/ 0 h 1942120"/>
              <a:gd name="csX0" fmla="*/ 0 w 730871"/>
              <a:gd name="csY0" fmla="*/ 0 h 1952941"/>
              <a:gd name="csX1" fmla="*/ 5390 w 730871"/>
              <a:gd name="csY1" fmla="*/ 1807557 h 1952941"/>
              <a:gd name="csX2" fmla="*/ 303934 w 730871"/>
              <a:gd name="csY2" fmla="*/ 1952941 h 1952941"/>
              <a:gd name="csX3" fmla="*/ 730871 w 730871"/>
              <a:gd name="csY3" fmla="*/ 1782833 h 1952941"/>
              <a:gd name="csX4" fmla="*/ 727690 w 730871"/>
              <a:gd name="csY4" fmla="*/ 10821 h 1952941"/>
            </a:gdLst>
            <a:ahLst/>
            <a:cxnLst>
              <a:cxn ang="0">
                <a:pos x="csX0" y="csY0"/>
              </a:cxn>
              <a:cxn ang="0">
                <a:pos x="csX1" y="csY1"/>
              </a:cxn>
              <a:cxn ang="0">
                <a:pos x="csX2" y="csY2"/>
              </a:cxn>
              <a:cxn ang="0">
                <a:pos x="csX3" y="csY3"/>
              </a:cxn>
              <a:cxn ang="0">
                <a:pos x="csX4" y="csY4"/>
              </a:cxn>
            </a:cxnLst>
            <a:rect l="l" t="t" r="r" b="b"/>
            <a:pathLst>
              <a:path w="730871" h="1952941">
                <a:moveTo>
                  <a:pt x="0" y="0"/>
                </a:moveTo>
                <a:cubicBezTo>
                  <a:pt x="2121" y="517493"/>
                  <a:pt x="3269" y="1290064"/>
                  <a:pt x="5390" y="1807557"/>
                </a:cubicBezTo>
                <a:lnTo>
                  <a:pt x="303934" y="1952941"/>
                </a:lnTo>
                <a:lnTo>
                  <a:pt x="730871" y="1782833"/>
                </a:lnTo>
                <a:cubicBezTo>
                  <a:pt x="729811" y="1321583"/>
                  <a:pt x="728750" y="472071"/>
                  <a:pt x="727690" y="10821"/>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cxnSp>
        <p:nvCxnSpPr>
          <p:cNvPr id="167" name="Suora yhdysviiva 166">
            <a:extLst>
              <a:ext uri="{FF2B5EF4-FFF2-40B4-BE49-F238E27FC236}">
                <a16:creationId xmlns:a16="http://schemas.microsoft.com/office/drawing/2014/main" id="{62B76648-583A-1817-2A09-6B86058A3956}"/>
              </a:ext>
            </a:extLst>
          </p:cNvPr>
          <p:cNvCxnSpPr>
            <a:cxnSpLocks/>
            <a:stCxn id="166" idx="2"/>
          </p:cNvCxnSpPr>
          <p:nvPr/>
        </p:nvCxnSpPr>
        <p:spPr>
          <a:xfrm flipH="1" flipV="1">
            <a:off x="5521409" y="2864499"/>
            <a:ext cx="17734" cy="1603845"/>
          </a:xfrm>
          <a:prstGeom prst="line">
            <a:avLst/>
          </a:prstGeom>
          <a:ln w="12700"/>
        </p:spPr>
        <p:style>
          <a:lnRef idx="2">
            <a:schemeClr val="dk1"/>
          </a:lnRef>
          <a:fillRef idx="0">
            <a:schemeClr val="dk1"/>
          </a:fillRef>
          <a:effectRef idx="1">
            <a:schemeClr val="dk1"/>
          </a:effectRef>
          <a:fontRef idx="minor">
            <a:schemeClr val="tx1"/>
          </a:fontRef>
        </p:style>
      </p:cxnSp>
      <p:sp>
        <p:nvSpPr>
          <p:cNvPr id="8" name="Vapaamuotoinen: Muoto 7">
            <a:extLst>
              <a:ext uri="{FF2B5EF4-FFF2-40B4-BE49-F238E27FC236}">
                <a16:creationId xmlns:a16="http://schemas.microsoft.com/office/drawing/2014/main" id="{3C44A09F-87AB-06C5-0B9D-0E5B0C3EDC17}"/>
              </a:ext>
            </a:extLst>
          </p:cNvPr>
          <p:cNvSpPr/>
          <p:nvPr/>
        </p:nvSpPr>
        <p:spPr>
          <a:xfrm>
            <a:off x="4581332" y="2067507"/>
            <a:ext cx="2304190" cy="796992"/>
          </a:xfrm>
          <a:custGeom>
            <a:avLst/>
            <a:gdLst>
              <a:gd name="csX0" fmla="*/ 0 w 2743200"/>
              <a:gd name="csY0" fmla="*/ 484095 h 941295"/>
              <a:gd name="csX1" fmla="*/ 1658471 w 2743200"/>
              <a:gd name="csY1" fmla="*/ 0 h 941295"/>
              <a:gd name="csX2" fmla="*/ 2743200 w 2743200"/>
              <a:gd name="csY2" fmla="*/ 367553 h 941295"/>
              <a:gd name="csX3" fmla="*/ 1021977 w 2743200"/>
              <a:gd name="csY3" fmla="*/ 941295 h 941295"/>
              <a:gd name="csX4" fmla="*/ 0 w 2743200"/>
              <a:gd name="csY4" fmla="*/ 484095 h 941295"/>
              <a:gd name="csX0" fmla="*/ 0 w 3238500"/>
              <a:gd name="csY0" fmla="*/ 263115 h 941295"/>
              <a:gd name="csX1" fmla="*/ 2153771 w 3238500"/>
              <a:gd name="csY1" fmla="*/ 0 h 941295"/>
              <a:gd name="csX2" fmla="*/ 3238500 w 3238500"/>
              <a:gd name="csY2" fmla="*/ 367553 h 941295"/>
              <a:gd name="csX3" fmla="*/ 1517277 w 3238500"/>
              <a:gd name="csY3" fmla="*/ 941295 h 941295"/>
              <a:gd name="csX4" fmla="*/ 0 w 3238500"/>
              <a:gd name="csY4" fmla="*/ 263115 h 941295"/>
              <a:gd name="csX0" fmla="*/ 0 w 3238500"/>
              <a:gd name="csY0" fmla="*/ 445995 h 1124175"/>
              <a:gd name="csX1" fmla="*/ 1650851 w 3238500"/>
              <a:gd name="csY1" fmla="*/ 0 h 1124175"/>
              <a:gd name="csX2" fmla="*/ 3238500 w 3238500"/>
              <a:gd name="csY2" fmla="*/ 550433 h 1124175"/>
              <a:gd name="csX3" fmla="*/ 1517277 w 3238500"/>
              <a:gd name="csY3" fmla="*/ 1124175 h 1124175"/>
              <a:gd name="csX4" fmla="*/ 0 w 3238500"/>
              <a:gd name="csY4" fmla="*/ 445995 h 1124175"/>
              <a:gd name="csX0" fmla="*/ 0 w 3238500"/>
              <a:gd name="csY0" fmla="*/ 556832 h 1124175"/>
              <a:gd name="csX1" fmla="*/ 1650851 w 3238500"/>
              <a:gd name="csY1" fmla="*/ 0 h 1124175"/>
              <a:gd name="csX2" fmla="*/ 3238500 w 3238500"/>
              <a:gd name="csY2" fmla="*/ 550433 h 1124175"/>
              <a:gd name="csX3" fmla="*/ 1517277 w 3238500"/>
              <a:gd name="csY3" fmla="*/ 1124175 h 1124175"/>
              <a:gd name="csX4" fmla="*/ 0 w 3238500"/>
              <a:gd name="csY4" fmla="*/ 556832 h 1124175"/>
              <a:gd name="csX0" fmla="*/ 0 w 3238500"/>
              <a:gd name="csY0" fmla="*/ 556832 h 1124175"/>
              <a:gd name="csX1" fmla="*/ 301980 w 3238500"/>
              <a:gd name="csY1" fmla="*/ 434966 h 1124175"/>
              <a:gd name="csX2" fmla="*/ 1650851 w 3238500"/>
              <a:gd name="csY2" fmla="*/ 0 h 1124175"/>
              <a:gd name="csX3" fmla="*/ 3238500 w 3238500"/>
              <a:gd name="csY3" fmla="*/ 550433 h 1124175"/>
              <a:gd name="csX4" fmla="*/ 1517277 w 3238500"/>
              <a:gd name="csY4" fmla="*/ 1124175 h 1124175"/>
              <a:gd name="csX5" fmla="*/ 0 w 3238500"/>
              <a:gd name="csY5" fmla="*/ 556832 h 1124175"/>
              <a:gd name="csX0" fmla="*/ 1298220 w 4536720"/>
              <a:gd name="csY0" fmla="*/ 556832 h 1124175"/>
              <a:gd name="csX1" fmla="*/ 0 w 4536720"/>
              <a:gd name="csY1" fmla="*/ 47616 h 1124175"/>
              <a:gd name="csX2" fmla="*/ 2949071 w 4536720"/>
              <a:gd name="csY2" fmla="*/ 0 h 1124175"/>
              <a:gd name="csX3" fmla="*/ 4536720 w 4536720"/>
              <a:gd name="csY3" fmla="*/ 550433 h 1124175"/>
              <a:gd name="csX4" fmla="*/ 2815497 w 4536720"/>
              <a:gd name="csY4" fmla="*/ 1124175 h 1124175"/>
              <a:gd name="csX5" fmla="*/ 1298220 w 4536720"/>
              <a:gd name="csY5" fmla="*/ 556832 h 1124175"/>
              <a:gd name="csX0" fmla="*/ 1298220 w 4536720"/>
              <a:gd name="csY0" fmla="*/ 556832 h 1124175"/>
              <a:gd name="csX1" fmla="*/ 0 w 4536720"/>
              <a:gd name="csY1" fmla="*/ 47616 h 1124175"/>
              <a:gd name="csX2" fmla="*/ 1606550 w 4536720"/>
              <a:gd name="csY2" fmla="*/ 28566 h 1124175"/>
              <a:gd name="csX3" fmla="*/ 2949071 w 4536720"/>
              <a:gd name="csY3" fmla="*/ 0 h 1124175"/>
              <a:gd name="csX4" fmla="*/ 4536720 w 4536720"/>
              <a:gd name="csY4" fmla="*/ 550433 h 1124175"/>
              <a:gd name="csX5" fmla="*/ 2815497 w 4536720"/>
              <a:gd name="csY5" fmla="*/ 1124175 h 1124175"/>
              <a:gd name="csX6" fmla="*/ 1298220 w 4536720"/>
              <a:gd name="csY6" fmla="*/ 556832 h 1124175"/>
              <a:gd name="csX0" fmla="*/ 1298220 w 4536720"/>
              <a:gd name="csY0" fmla="*/ 991816 h 1559159"/>
              <a:gd name="csX1" fmla="*/ 0 w 4536720"/>
              <a:gd name="csY1" fmla="*/ 482600 h 1559159"/>
              <a:gd name="csX2" fmla="*/ 1663700 w 4536720"/>
              <a:gd name="csY2" fmla="*/ 0 h 1559159"/>
              <a:gd name="csX3" fmla="*/ 2949071 w 4536720"/>
              <a:gd name="csY3" fmla="*/ 434984 h 1559159"/>
              <a:gd name="csX4" fmla="*/ 4536720 w 4536720"/>
              <a:gd name="csY4" fmla="*/ 985417 h 1559159"/>
              <a:gd name="csX5" fmla="*/ 2815497 w 4536720"/>
              <a:gd name="csY5" fmla="*/ 1559159 h 1559159"/>
              <a:gd name="csX6" fmla="*/ 1298220 w 4536720"/>
              <a:gd name="csY6" fmla="*/ 991816 h 155915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298220 w 4536720"/>
              <a:gd name="csY6" fmla="*/ 1045156 h 1612499"/>
              <a:gd name="csX0" fmla="*/ 1298220 w 4536720"/>
              <a:gd name="csY0" fmla="*/ 1045156 h 1612499"/>
              <a:gd name="csX1" fmla="*/ 0 w 4536720"/>
              <a:gd name="csY1" fmla="*/ 535940 h 1612499"/>
              <a:gd name="csX2" fmla="*/ 1549400 w 4536720"/>
              <a:gd name="csY2" fmla="*/ 0 h 1612499"/>
              <a:gd name="csX3" fmla="*/ 2949071 w 4536720"/>
              <a:gd name="csY3" fmla="*/ 488324 h 1612499"/>
              <a:gd name="csX4" fmla="*/ 4536720 w 4536720"/>
              <a:gd name="csY4" fmla="*/ 1038757 h 1612499"/>
              <a:gd name="csX5" fmla="*/ 2815497 w 4536720"/>
              <a:gd name="csY5" fmla="*/ 1612499 h 1612499"/>
              <a:gd name="csX6" fmla="*/ 1845001 w 4536720"/>
              <a:gd name="csY6" fmla="*/ 1256382 h 1612499"/>
              <a:gd name="csX7" fmla="*/ 1298220 w 4536720"/>
              <a:gd name="csY7"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949071 w 4536720"/>
              <a:gd name="csY4" fmla="*/ 488324 h 1612499"/>
              <a:gd name="csX5" fmla="*/ 4536720 w 4536720"/>
              <a:gd name="csY5" fmla="*/ 1038757 h 1612499"/>
              <a:gd name="csX6" fmla="*/ 2815497 w 4536720"/>
              <a:gd name="csY6" fmla="*/ 1612499 h 1612499"/>
              <a:gd name="csX7" fmla="*/ 1845001 w 4536720"/>
              <a:gd name="csY7" fmla="*/ 1256382 h 1612499"/>
              <a:gd name="csX8" fmla="*/ 1298220 w 4536720"/>
              <a:gd name="csY8"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949071 w 4536720"/>
              <a:gd name="csY4" fmla="*/ 488324 h 1612499"/>
              <a:gd name="csX5" fmla="*/ 3590674 w 4536720"/>
              <a:gd name="csY5" fmla="*/ 711436 h 1612499"/>
              <a:gd name="csX6" fmla="*/ 4536720 w 4536720"/>
              <a:gd name="csY6" fmla="*/ 1038757 h 1612499"/>
              <a:gd name="csX7" fmla="*/ 2815497 w 4536720"/>
              <a:gd name="csY7" fmla="*/ 1612499 h 1612499"/>
              <a:gd name="csX8" fmla="*/ 1845001 w 4536720"/>
              <a:gd name="csY8" fmla="*/ 1256382 h 1612499"/>
              <a:gd name="csX9" fmla="*/ 1298220 w 4536720"/>
              <a:gd name="csY9" fmla="*/ 1045156 h 1612499"/>
              <a:gd name="csX0" fmla="*/ 1298220 w 4536720"/>
              <a:gd name="csY0" fmla="*/ 1045156 h 1612499"/>
              <a:gd name="csX1" fmla="*/ 1041437 w 4536720"/>
              <a:gd name="csY1" fmla="*/ 923873 h 1612499"/>
              <a:gd name="csX2" fmla="*/ 0 w 4536720"/>
              <a:gd name="csY2" fmla="*/ 535940 h 1612499"/>
              <a:gd name="csX3" fmla="*/ 1549400 w 4536720"/>
              <a:gd name="csY3" fmla="*/ 0 h 1612499"/>
              <a:gd name="csX4" fmla="*/ 2657801 w 4536720"/>
              <a:gd name="csY4" fmla="*/ 388163 h 1612499"/>
              <a:gd name="csX5" fmla="*/ 2949071 w 4536720"/>
              <a:gd name="csY5" fmla="*/ 488324 h 1612499"/>
              <a:gd name="csX6" fmla="*/ 3590674 w 4536720"/>
              <a:gd name="csY6" fmla="*/ 711436 h 1612499"/>
              <a:gd name="csX7" fmla="*/ 4536720 w 4536720"/>
              <a:gd name="csY7" fmla="*/ 1038757 h 1612499"/>
              <a:gd name="csX8" fmla="*/ 2815497 w 4536720"/>
              <a:gd name="csY8" fmla="*/ 1612499 h 1612499"/>
              <a:gd name="csX9" fmla="*/ 1845001 w 4536720"/>
              <a:gd name="csY9" fmla="*/ 1256382 h 1612499"/>
              <a:gd name="csX10" fmla="*/ 1298220 w 4536720"/>
              <a:gd name="csY10" fmla="*/ 1045156 h 1612499"/>
              <a:gd name="csX0" fmla="*/ 1298220 w 4536720"/>
              <a:gd name="csY0" fmla="*/ 656993 h 1224336"/>
              <a:gd name="csX1" fmla="*/ 1041437 w 4536720"/>
              <a:gd name="csY1" fmla="*/ 535710 h 1224336"/>
              <a:gd name="csX2" fmla="*/ 0 w 4536720"/>
              <a:gd name="csY2" fmla="*/ 147777 h 1224336"/>
              <a:gd name="csX3" fmla="*/ 2657801 w 4536720"/>
              <a:gd name="csY3" fmla="*/ 0 h 1224336"/>
              <a:gd name="csX4" fmla="*/ 2949071 w 4536720"/>
              <a:gd name="csY4" fmla="*/ 100161 h 1224336"/>
              <a:gd name="csX5" fmla="*/ 3590674 w 4536720"/>
              <a:gd name="csY5" fmla="*/ 323273 h 1224336"/>
              <a:gd name="csX6" fmla="*/ 4536720 w 4536720"/>
              <a:gd name="csY6" fmla="*/ 650594 h 1224336"/>
              <a:gd name="csX7" fmla="*/ 2815497 w 4536720"/>
              <a:gd name="csY7" fmla="*/ 1224336 h 1224336"/>
              <a:gd name="csX8" fmla="*/ 1845001 w 4536720"/>
              <a:gd name="csY8" fmla="*/ 868219 h 1224336"/>
              <a:gd name="csX9" fmla="*/ 1298220 w 4536720"/>
              <a:gd name="csY9" fmla="*/ 656993 h 1224336"/>
              <a:gd name="csX0" fmla="*/ 256783 w 3495283"/>
              <a:gd name="csY0" fmla="*/ 656993 h 1224336"/>
              <a:gd name="csX1" fmla="*/ 0 w 3495283"/>
              <a:gd name="csY1" fmla="*/ 535710 h 1224336"/>
              <a:gd name="csX2" fmla="*/ 1616364 w 3495283"/>
              <a:gd name="csY2" fmla="*/ 0 h 1224336"/>
              <a:gd name="csX3" fmla="*/ 1907634 w 3495283"/>
              <a:gd name="csY3" fmla="*/ 100161 h 1224336"/>
              <a:gd name="csX4" fmla="*/ 2549237 w 3495283"/>
              <a:gd name="csY4" fmla="*/ 323273 h 1224336"/>
              <a:gd name="csX5" fmla="*/ 3495283 w 3495283"/>
              <a:gd name="csY5" fmla="*/ 650594 h 1224336"/>
              <a:gd name="csX6" fmla="*/ 1774060 w 3495283"/>
              <a:gd name="csY6" fmla="*/ 1224336 h 1224336"/>
              <a:gd name="csX7" fmla="*/ 803564 w 3495283"/>
              <a:gd name="csY7" fmla="*/ 868219 h 1224336"/>
              <a:gd name="csX8" fmla="*/ 256783 w 3495283"/>
              <a:gd name="csY8" fmla="*/ 656993 h 1224336"/>
              <a:gd name="csX0" fmla="*/ 256783 w 3495283"/>
              <a:gd name="csY0" fmla="*/ 656993 h 868219"/>
              <a:gd name="csX1" fmla="*/ 0 w 3495283"/>
              <a:gd name="csY1" fmla="*/ 535710 h 868219"/>
              <a:gd name="csX2" fmla="*/ 1616364 w 3495283"/>
              <a:gd name="csY2" fmla="*/ 0 h 868219"/>
              <a:gd name="csX3" fmla="*/ 1907634 w 3495283"/>
              <a:gd name="csY3" fmla="*/ 100161 h 868219"/>
              <a:gd name="csX4" fmla="*/ 2549237 w 3495283"/>
              <a:gd name="csY4" fmla="*/ 323273 h 868219"/>
              <a:gd name="csX5" fmla="*/ 3495283 w 3495283"/>
              <a:gd name="csY5" fmla="*/ 650594 h 868219"/>
              <a:gd name="csX6" fmla="*/ 803564 w 3495283"/>
              <a:gd name="csY6" fmla="*/ 868219 h 868219"/>
              <a:gd name="csX7" fmla="*/ 256783 w 3495283"/>
              <a:gd name="csY7" fmla="*/ 656993 h 868219"/>
              <a:gd name="csX0" fmla="*/ 256783 w 2549237"/>
              <a:gd name="csY0" fmla="*/ 656993 h 868219"/>
              <a:gd name="csX1" fmla="*/ 0 w 2549237"/>
              <a:gd name="csY1" fmla="*/ 535710 h 868219"/>
              <a:gd name="csX2" fmla="*/ 1616364 w 2549237"/>
              <a:gd name="csY2" fmla="*/ 0 h 868219"/>
              <a:gd name="csX3" fmla="*/ 1907634 w 2549237"/>
              <a:gd name="csY3" fmla="*/ 100161 h 868219"/>
              <a:gd name="csX4" fmla="*/ 2549237 w 2549237"/>
              <a:gd name="csY4" fmla="*/ 323273 h 868219"/>
              <a:gd name="csX5" fmla="*/ 803564 w 2549237"/>
              <a:gd name="csY5" fmla="*/ 868219 h 868219"/>
              <a:gd name="csX6" fmla="*/ 256783 w 2549237"/>
              <a:gd name="csY6" fmla="*/ 656993 h 868219"/>
              <a:gd name="csX0" fmla="*/ 256783 w 2549237"/>
              <a:gd name="csY0" fmla="*/ 656993 h 868219"/>
              <a:gd name="csX1" fmla="*/ 0 w 2549237"/>
              <a:gd name="csY1" fmla="*/ 535710 h 868219"/>
              <a:gd name="csX2" fmla="*/ 1616364 w 2549237"/>
              <a:gd name="csY2" fmla="*/ 0 h 868219"/>
              <a:gd name="csX3" fmla="*/ 1907634 w 2549237"/>
              <a:gd name="csY3" fmla="*/ 100161 h 868219"/>
              <a:gd name="csX4" fmla="*/ 2549237 w 2549237"/>
              <a:gd name="csY4" fmla="*/ 323273 h 868219"/>
              <a:gd name="csX5" fmla="*/ 1224761 w 2549237"/>
              <a:gd name="csY5" fmla="*/ 719871 h 868219"/>
              <a:gd name="csX6" fmla="*/ 803564 w 2549237"/>
              <a:gd name="csY6" fmla="*/ 868219 h 868219"/>
              <a:gd name="csX7" fmla="*/ 256783 w 2549237"/>
              <a:gd name="csY7" fmla="*/ 656993 h 868219"/>
              <a:gd name="csX0" fmla="*/ 256783 w 2549237"/>
              <a:gd name="csY0" fmla="*/ 656993 h 868219"/>
              <a:gd name="csX1" fmla="*/ 0 w 2549237"/>
              <a:gd name="csY1" fmla="*/ 535710 h 868219"/>
              <a:gd name="csX2" fmla="*/ 496973 w 2549237"/>
              <a:gd name="csY2" fmla="*/ 346647 h 868219"/>
              <a:gd name="csX3" fmla="*/ 1616364 w 2549237"/>
              <a:gd name="csY3" fmla="*/ 0 h 868219"/>
              <a:gd name="csX4" fmla="*/ 1907634 w 2549237"/>
              <a:gd name="csY4" fmla="*/ 100161 h 868219"/>
              <a:gd name="csX5" fmla="*/ 2549237 w 2549237"/>
              <a:gd name="csY5" fmla="*/ 323273 h 868219"/>
              <a:gd name="csX6" fmla="*/ 1224761 w 2549237"/>
              <a:gd name="csY6" fmla="*/ 719871 h 868219"/>
              <a:gd name="csX7" fmla="*/ 803564 w 2549237"/>
              <a:gd name="csY7" fmla="*/ 868219 h 868219"/>
              <a:gd name="csX8" fmla="*/ 256783 w 2549237"/>
              <a:gd name="csY8" fmla="*/ 656993 h 868219"/>
              <a:gd name="csX0" fmla="*/ 0 w 2292454"/>
              <a:gd name="csY0" fmla="*/ 656993 h 868219"/>
              <a:gd name="csX1" fmla="*/ 240190 w 2292454"/>
              <a:gd name="csY1" fmla="*/ 346647 h 868219"/>
              <a:gd name="csX2" fmla="*/ 1359581 w 2292454"/>
              <a:gd name="csY2" fmla="*/ 0 h 868219"/>
              <a:gd name="csX3" fmla="*/ 1650851 w 2292454"/>
              <a:gd name="csY3" fmla="*/ 100161 h 868219"/>
              <a:gd name="csX4" fmla="*/ 2292454 w 2292454"/>
              <a:gd name="csY4" fmla="*/ 323273 h 868219"/>
              <a:gd name="csX5" fmla="*/ 967978 w 2292454"/>
              <a:gd name="csY5" fmla="*/ 719871 h 868219"/>
              <a:gd name="csX6" fmla="*/ 546781 w 2292454"/>
              <a:gd name="csY6" fmla="*/ 868219 h 868219"/>
              <a:gd name="csX7" fmla="*/ 0 w 2292454"/>
              <a:gd name="csY7" fmla="*/ 656993 h 868219"/>
              <a:gd name="csX0" fmla="*/ 306591 w 2052264"/>
              <a:gd name="csY0" fmla="*/ 868219 h 868219"/>
              <a:gd name="csX1" fmla="*/ 0 w 2052264"/>
              <a:gd name="csY1" fmla="*/ 346647 h 868219"/>
              <a:gd name="csX2" fmla="*/ 1119391 w 2052264"/>
              <a:gd name="csY2" fmla="*/ 0 h 868219"/>
              <a:gd name="csX3" fmla="*/ 1410661 w 2052264"/>
              <a:gd name="csY3" fmla="*/ 100161 h 868219"/>
              <a:gd name="csX4" fmla="*/ 2052264 w 2052264"/>
              <a:gd name="csY4" fmla="*/ 323273 h 868219"/>
              <a:gd name="csX5" fmla="*/ 727788 w 2052264"/>
              <a:gd name="csY5" fmla="*/ 719871 h 868219"/>
              <a:gd name="csX6" fmla="*/ 306591 w 2052264"/>
              <a:gd name="csY6" fmla="*/ 868219 h 868219"/>
              <a:gd name="csX0" fmla="*/ 727788 w 2052264"/>
              <a:gd name="csY0" fmla="*/ 719871 h 719871"/>
              <a:gd name="csX1" fmla="*/ 0 w 2052264"/>
              <a:gd name="csY1" fmla="*/ 346647 h 719871"/>
              <a:gd name="csX2" fmla="*/ 1119391 w 2052264"/>
              <a:gd name="csY2" fmla="*/ 0 h 719871"/>
              <a:gd name="csX3" fmla="*/ 1410661 w 2052264"/>
              <a:gd name="csY3" fmla="*/ 100161 h 719871"/>
              <a:gd name="csX4" fmla="*/ 2052264 w 2052264"/>
              <a:gd name="csY4" fmla="*/ 323273 h 719871"/>
              <a:gd name="csX5" fmla="*/ 727788 w 2052264"/>
              <a:gd name="csY5" fmla="*/ 719871 h 719871"/>
              <a:gd name="csX0" fmla="*/ 905069 w 2052264"/>
              <a:gd name="csY0" fmla="*/ 673218 h 673218"/>
              <a:gd name="csX1" fmla="*/ 0 w 2052264"/>
              <a:gd name="csY1" fmla="*/ 346647 h 673218"/>
              <a:gd name="csX2" fmla="*/ 1119391 w 2052264"/>
              <a:gd name="csY2" fmla="*/ 0 h 673218"/>
              <a:gd name="csX3" fmla="*/ 1410661 w 2052264"/>
              <a:gd name="csY3" fmla="*/ 100161 h 673218"/>
              <a:gd name="csX4" fmla="*/ 2052264 w 2052264"/>
              <a:gd name="csY4" fmla="*/ 323273 h 673218"/>
              <a:gd name="csX5" fmla="*/ 905069 w 2052264"/>
              <a:gd name="csY5" fmla="*/ 673218 h 673218"/>
              <a:gd name="csX0" fmla="*/ 905069 w 2248207"/>
              <a:gd name="csY0" fmla="*/ 673218 h 673218"/>
              <a:gd name="csX1" fmla="*/ 0 w 2248207"/>
              <a:gd name="csY1" fmla="*/ 346647 h 673218"/>
              <a:gd name="csX2" fmla="*/ 1119391 w 2248207"/>
              <a:gd name="csY2" fmla="*/ 0 h 673218"/>
              <a:gd name="csX3" fmla="*/ 1410661 w 2248207"/>
              <a:gd name="csY3" fmla="*/ 100161 h 673218"/>
              <a:gd name="csX4" fmla="*/ 2248207 w 2248207"/>
              <a:gd name="csY4" fmla="*/ 388587 h 673218"/>
              <a:gd name="csX5" fmla="*/ 905069 w 2248207"/>
              <a:gd name="csY5" fmla="*/ 673218 h 673218"/>
              <a:gd name="csX0" fmla="*/ 1054359 w 2248207"/>
              <a:gd name="csY0" fmla="*/ 729202 h 729202"/>
              <a:gd name="csX1" fmla="*/ 0 w 2248207"/>
              <a:gd name="csY1" fmla="*/ 346647 h 729202"/>
              <a:gd name="csX2" fmla="*/ 1119391 w 2248207"/>
              <a:gd name="csY2" fmla="*/ 0 h 729202"/>
              <a:gd name="csX3" fmla="*/ 1410661 w 2248207"/>
              <a:gd name="csY3" fmla="*/ 100161 h 729202"/>
              <a:gd name="csX4" fmla="*/ 2248207 w 2248207"/>
              <a:gd name="csY4" fmla="*/ 388587 h 729202"/>
              <a:gd name="csX5" fmla="*/ 1054359 w 2248207"/>
              <a:gd name="csY5" fmla="*/ 729202 h 729202"/>
              <a:gd name="csX0" fmla="*/ 1054359 w 2490802"/>
              <a:gd name="csY0" fmla="*/ 729202 h 729202"/>
              <a:gd name="csX1" fmla="*/ 0 w 2490802"/>
              <a:gd name="csY1" fmla="*/ 346647 h 729202"/>
              <a:gd name="csX2" fmla="*/ 1119391 w 2490802"/>
              <a:gd name="csY2" fmla="*/ 0 h 729202"/>
              <a:gd name="csX3" fmla="*/ 1410661 w 2490802"/>
              <a:gd name="csY3" fmla="*/ 100161 h 729202"/>
              <a:gd name="csX4" fmla="*/ 2490802 w 2490802"/>
              <a:gd name="csY4" fmla="*/ 481893 h 729202"/>
              <a:gd name="csX5" fmla="*/ 1054359 w 2490802"/>
              <a:gd name="csY5" fmla="*/ 729202 h 729202"/>
              <a:gd name="csX0" fmla="*/ 1343608 w 2490802"/>
              <a:gd name="csY0" fmla="*/ 841169 h 841169"/>
              <a:gd name="csX1" fmla="*/ 0 w 2490802"/>
              <a:gd name="csY1" fmla="*/ 346647 h 841169"/>
              <a:gd name="csX2" fmla="*/ 1119391 w 2490802"/>
              <a:gd name="csY2" fmla="*/ 0 h 841169"/>
              <a:gd name="csX3" fmla="*/ 1410661 w 2490802"/>
              <a:gd name="csY3" fmla="*/ 100161 h 841169"/>
              <a:gd name="csX4" fmla="*/ 2490802 w 2490802"/>
              <a:gd name="csY4" fmla="*/ 481893 h 841169"/>
              <a:gd name="csX5" fmla="*/ 1343608 w 2490802"/>
              <a:gd name="csY5" fmla="*/ 841169 h 841169"/>
              <a:gd name="csX0" fmla="*/ 1156996 w 2304190"/>
              <a:gd name="csY0" fmla="*/ 841169 h 841169"/>
              <a:gd name="csX1" fmla="*/ 0 w 2304190"/>
              <a:gd name="csY1" fmla="*/ 495937 h 841169"/>
              <a:gd name="csX2" fmla="*/ 932779 w 2304190"/>
              <a:gd name="csY2" fmla="*/ 0 h 841169"/>
              <a:gd name="csX3" fmla="*/ 1224049 w 2304190"/>
              <a:gd name="csY3" fmla="*/ 100161 h 841169"/>
              <a:gd name="csX4" fmla="*/ 2304190 w 2304190"/>
              <a:gd name="csY4" fmla="*/ 481893 h 841169"/>
              <a:gd name="csX5" fmla="*/ 1156996 w 2304190"/>
              <a:gd name="csY5" fmla="*/ 841169 h 841169"/>
              <a:gd name="csX0" fmla="*/ 979714 w 2304190"/>
              <a:gd name="csY0" fmla="*/ 897153 h 897153"/>
              <a:gd name="csX1" fmla="*/ 0 w 2304190"/>
              <a:gd name="csY1" fmla="*/ 495937 h 897153"/>
              <a:gd name="csX2" fmla="*/ 932779 w 2304190"/>
              <a:gd name="csY2" fmla="*/ 0 h 897153"/>
              <a:gd name="csX3" fmla="*/ 1224049 w 2304190"/>
              <a:gd name="csY3" fmla="*/ 100161 h 897153"/>
              <a:gd name="csX4" fmla="*/ 2304190 w 2304190"/>
              <a:gd name="csY4" fmla="*/ 481893 h 897153"/>
              <a:gd name="csX5" fmla="*/ 979714 w 2304190"/>
              <a:gd name="csY5" fmla="*/ 897153 h 897153"/>
              <a:gd name="csX0" fmla="*/ 979714 w 2304190"/>
              <a:gd name="csY0" fmla="*/ 796992 h 796992"/>
              <a:gd name="csX1" fmla="*/ 0 w 2304190"/>
              <a:gd name="csY1" fmla="*/ 395776 h 796992"/>
              <a:gd name="csX2" fmla="*/ 1224049 w 2304190"/>
              <a:gd name="csY2" fmla="*/ 0 h 796992"/>
              <a:gd name="csX3" fmla="*/ 2304190 w 2304190"/>
              <a:gd name="csY3" fmla="*/ 381732 h 796992"/>
              <a:gd name="csX4" fmla="*/ 979714 w 2304190"/>
              <a:gd name="csY4" fmla="*/ 796992 h 796992"/>
            </a:gdLst>
            <a:ahLst/>
            <a:cxnLst>
              <a:cxn ang="0">
                <a:pos x="csX0" y="csY0"/>
              </a:cxn>
              <a:cxn ang="0">
                <a:pos x="csX1" y="csY1"/>
              </a:cxn>
              <a:cxn ang="0">
                <a:pos x="csX2" y="csY2"/>
              </a:cxn>
              <a:cxn ang="0">
                <a:pos x="csX3" y="csY3"/>
              </a:cxn>
              <a:cxn ang="0">
                <a:pos x="csX4" y="csY4"/>
              </a:cxn>
            </a:cxnLst>
            <a:rect l="l" t="t" r="r" b="b"/>
            <a:pathLst>
              <a:path w="2304190" h="796992">
                <a:moveTo>
                  <a:pt x="979714" y="796992"/>
                </a:moveTo>
                <a:lnTo>
                  <a:pt x="0" y="395776"/>
                </a:lnTo>
                <a:lnTo>
                  <a:pt x="1224049" y="0"/>
                </a:lnTo>
                <a:lnTo>
                  <a:pt x="2304190" y="381732"/>
                </a:lnTo>
                <a:lnTo>
                  <a:pt x="979714" y="796992"/>
                </a:lnTo>
                <a:close/>
              </a:path>
            </a:pathLst>
          </a:custGeom>
          <a:solidFill>
            <a:schemeClr val="accent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ln w="0"/>
              <a:solidFill>
                <a:schemeClr val="tx1"/>
              </a:solidFill>
              <a:effectLst>
                <a:outerShdw blurRad="38100" dist="19050" dir="2700000" algn="tl" rotWithShape="0">
                  <a:schemeClr val="dk1">
                    <a:alpha val="40000"/>
                  </a:schemeClr>
                </a:outerShdw>
              </a:effectLst>
            </a:endParaRPr>
          </a:p>
        </p:txBody>
      </p:sp>
      <p:sp>
        <p:nvSpPr>
          <p:cNvPr id="176" name="Vapaamuotoinen: Muoto 175">
            <a:extLst>
              <a:ext uri="{FF2B5EF4-FFF2-40B4-BE49-F238E27FC236}">
                <a16:creationId xmlns:a16="http://schemas.microsoft.com/office/drawing/2014/main" id="{F6789269-6A32-845A-FFDC-FCB3CBB99FB5}"/>
              </a:ext>
            </a:extLst>
          </p:cNvPr>
          <p:cNvSpPr/>
          <p:nvPr/>
        </p:nvSpPr>
        <p:spPr>
          <a:xfrm>
            <a:off x="5221240" y="2358313"/>
            <a:ext cx="744046" cy="238209"/>
          </a:xfrm>
          <a:custGeom>
            <a:avLst/>
            <a:gdLst>
              <a:gd name="csX0" fmla="*/ 0 w 639271"/>
              <a:gd name="csY0" fmla="*/ 121380 h 202301"/>
              <a:gd name="csX1" fmla="*/ 388418 w 639271"/>
              <a:gd name="csY1" fmla="*/ 0 h 202301"/>
              <a:gd name="csX2" fmla="*/ 639271 w 639271"/>
              <a:gd name="csY2" fmla="*/ 80920 h 202301"/>
              <a:gd name="csX3" fmla="*/ 267038 w 639271"/>
              <a:gd name="csY3" fmla="*/ 202301 h 202301"/>
              <a:gd name="csX4" fmla="*/ 0 w 639271"/>
              <a:gd name="csY4" fmla="*/ 121380 h 202301"/>
              <a:gd name="csX0" fmla="*/ 0 w 691658"/>
              <a:gd name="csY0" fmla="*/ 101553 h 202301"/>
              <a:gd name="csX1" fmla="*/ 440805 w 691658"/>
              <a:gd name="csY1" fmla="*/ 0 h 202301"/>
              <a:gd name="csX2" fmla="*/ 691658 w 691658"/>
              <a:gd name="csY2" fmla="*/ 80920 h 202301"/>
              <a:gd name="csX3" fmla="*/ 319425 w 691658"/>
              <a:gd name="csY3" fmla="*/ 202301 h 202301"/>
              <a:gd name="csX4" fmla="*/ 0 w 691658"/>
              <a:gd name="csY4" fmla="*/ 101553 h 202301"/>
              <a:gd name="csX0" fmla="*/ 0 w 744046"/>
              <a:gd name="csY0" fmla="*/ 101553 h 202301"/>
              <a:gd name="csX1" fmla="*/ 440805 w 744046"/>
              <a:gd name="csY1" fmla="*/ 0 h 202301"/>
              <a:gd name="csX2" fmla="*/ 744046 w 744046"/>
              <a:gd name="csY2" fmla="*/ 100746 h 202301"/>
              <a:gd name="csX3" fmla="*/ 319425 w 744046"/>
              <a:gd name="csY3" fmla="*/ 202301 h 202301"/>
              <a:gd name="csX4" fmla="*/ 0 w 744046"/>
              <a:gd name="csY4" fmla="*/ 101553 h 202301"/>
              <a:gd name="csX0" fmla="*/ 0 w 744046"/>
              <a:gd name="csY0" fmla="*/ 109484 h 210232"/>
              <a:gd name="csX1" fmla="*/ 421755 w 744046"/>
              <a:gd name="csY1" fmla="*/ 0 h 210232"/>
              <a:gd name="csX2" fmla="*/ 744046 w 744046"/>
              <a:gd name="csY2" fmla="*/ 108677 h 210232"/>
              <a:gd name="csX3" fmla="*/ 319425 w 744046"/>
              <a:gd name="csY3" fmla="*/ 210232 h 210232"/>
              <a:gd name="csX4" fmla="*/ 0 w 744046"/>
              <a:gd name="csY4" fmla="*/ 109484 h 210232"/>
              <a:gd name="csX0" fmla="*/ 0 w 744046"/>
              <a:gd name="csY0" fmla="*/ 109484 h 210232"/>
              <a:gd name="csX1" fmla="*/ 42175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109484 h 210232"/>
              <a:gd name="csX1" fmla="*/ 440805 w 744046"/>
              <a:gd name="csY1" fmla="*/ 0 h 210232"/>
              <a:gd name="csX2" fmla="*/ 744046 w 744046"/>
              <a:gd name="csY2" fmla="*/ 108677 h 210232"/>
              <a:gd name="csX3" fmla="*/ 314662 w 744046"/>
              <a:gd name="csY3" fmla="*/ 210232 h 210232"/>
              <a:gd name="csX4" fmla="*/ 0 w 744046"/>
              <a:gd name="csY4" fmla="*/ 109484 h 210232"/>
              <a:gd name="csX0" fmla="*/ 0 w 744046"/>
              <a:gd name="csY0" fmla="*/ 97588 h 198336"/>
              <a:gd name="csX1" fmla="*/ 402705 w 744046"/>
              <a:gd name="csY1" fmla="*/ 0 h 198336"/>
              <a:gd name="csX2" fmla="*/ 744046 w 744046"/>
              <a:gd name="csY2" fmla="*/ 96781 h 198336"/>
              <a:gd name="csX3" fmla="*/ 314662 w 744046"/>
              <a:gd name="csY3" fmla="*/ 198336 h 198336"/>
              <a:gd name="csX4" fmla="*/ 0 w 744046"/>
              <a:gd name="csY4" fmla="*/ 97588 h 198336"/>
            </a:gdLst>
            <a:ahLst/>
            <a:cxnLst>
              <a:cxn ang="0">
                <a:pos x="csX0" y="csY0"/>
              </a:cxn>
              <a:cxn ang="0">
                <a:pos x="csX1" y="csY1"/>
              </a:cxn>
              <a:cxn ang="0">
                <a:pos x="csX2" y="csY2"/>
              </a:cxn>
              <a:cxn ang="0">
                <a:pos x="csX3" y="csY3"/>
              </a:cxn>
              <a:cxn ang="0">
                <a:pos x="csX4" y="csY4"/>
              </a:cxn>
            </a:cxnLst>
            <a:rect l="l" t="t" r="r" b="b"/>
            <a:pathLst>
              <a:path w="744046" h="198336">
                <a:moveTo>
                  <a:pt x="0" y="97588"/>
                </a:moveTo>
                <a:lnTo>
                  <a:pt x="402705" y="0"/>
                </a:lnTo>
                <a:lnTo>
                  <a:pt x="744046" y="96781"/>
                </a:lnTo>
                <a:lnTo>
                  <a:pt x="314662" y="198336"/>
                </a:lnTo>
                <a:lnTo>
                  <a:pt x="0" y="97588"/>
                </a:lnTo>
                <a:close/>
              </a:path>
            </a:pathLst>
          </a:custGeom>
          <a:solidFill>
            <a:schemeClr val="bg1"/>
          </a:solidFill>
          <a:ln w="381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96" name="Suora yhdysviiva 195">
            <a:extLst>
              <a:ext uri="{FF2B5EF4-FFF2-40B4-BE49-F238E27FC236}">
                <a16:creationId xmlns:a16="http://schemas.microsoft.com/office/drawing/2014/main" id="{FB3C93DD-E629-82CE-89F9-DD1B4F7919F7}"/>
              </a:ext>
            </a:extLst>
          </p:cNvPr>
          <p:cNvCxnSpPr>
            <a:cxnSpLocks/>
          </p:cNvCxnSpPr>
          <p:nvPr/>
        </p:nvCxnSpPr>
        <p:spPr>
          <a:xfrm flipV="1">
            <a:off x="5991196" y="2499012"/>
            <a:ext cx="0" cy="251332"/>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197" name="Suora yhdysviiva 196">
            <a:extLst>
              <a:ext uri="{FF2B5EF4-FFF2-40B4-BE49-F238E27FC236}">
                <a16:creationId xmlns:a16="http://schemas.microsoft.com/office/drawing/2014/main" id="{52D5AB25-8FB6-4E47-A319-F1964917F92A}"/>
              </a:ext>
            </a:extLst>
          </p:cNvPr>
          <p:cNvCxnSpPr>
            <a:cxnSpLocks/>
          </p:cNvCxnSpPr>
          <p:nvPr/>
        </p:nvCxnSpPr>
        <p:spPr>
          <a:xfrm flipV="1">
            <a:off x="5213907" y="2477418"/>
            <a:ext cx="0" cy="253082"/>
          </a:xfrm>
          <a:prstGeom prst="line">
            <a:avLst/>
          </a:prstGeom>
          <a:ln w="12700">
            <a:prstDash val="sysDot"/>
          </a:ln>
        </p:spPr>
        <p:style>
          <a:lnRef idx="2">
            <a:schemeClr val="dk1"/>
          </a:lnRef>
          <a:fillRef idx="0">
            <a:schemeClr val="dk1"/>
          </a:fillRef>
          <a:effectRef idx="1">
            <a:schemeClr val="dk1"/>
          </a:effectRef>
          <a:fontRef idx="minor">
            <a:schemeClr val="tx1"/>
          </a:fontRef>
        </p:style>
      </p:cxnSp>
      <p:cxnSp>
        <p:nvCxnSpPr>
          <p:cNvPr id="210" name="Suora yhdysviiva 209">
            <a:extLst>
              <a:ext uri="{FF2B5EF4-FFF2-40B4-BE49-F238E27FC236}">
                <a16:creationId xmlns:a16="http://schemas.microsoft.com/office/drawing/2014/main" id="{87801729-2A97-159A-6A82-029C1DC456EF}"/>
              </a:ext>
            </a:extLst>
          </p:cNvPr>
          <p:cNvCxnSpPr>
            <a:cxnSpLocks/>
          </p:cNvCxnSpPr>
          <p:nvPr/>
        </p:nvCxnSpPr>
        <p:spPr>
          <a:xfrm flipV="1">
            <a:off x="5523233" y="2619375"/>
            <a:ext cx="0" cy="245124"/>
          </a:xfrm>
          <a:prstGeom prst="line">
            <a:avLst/>
          </a:prstGeom>
          <a:ln w="12700">
            <a:prstDash val="sysDot"/>
          </a:ln>
        </p:spPr>
        <p:style>
          <a:lnRef idx="2">
            <a:schemeClr val="dk1"/>
          </a:lnRef>
          <a:fillRef idx="0">
            <a:schemeClr val="dk1"/>
          </a:fillRef>
          <a:effectRef idx="1">
            <a:schemeClr val="dk1"/>
          </a:effectRef>
          <a:fontRef idx="minor">
            <a:schemeClr val="tx1"/>
          </a:fontRef>
        </p:style>
      </p:cxnSp>
      <p:sp>
        <p:nvSpPr>
          <p:cNvPr id="212" name="Tekstiruutu 211">
            <a:extLst>
              <a:ext uri="{FF2B5EF4-FFF2-40B4-BE49-F238E27FC236}">
                <a16:creationId xmlns:a16="http://schemas.microsoft.com/office/drawing/2014/main" id="{3A41B7A2-AC71-89E9-EEC0-D3801F3855D0}"/>
              </a:ext>
            </a:extLst>
          </p:cNvPr>
          <p:cNvSpPr txBox="1"/>
          <p:nvPr/>
        </p:nvSpPr>
        <p:spPr>
          <a:xfrm>
            <a:off x="6096000" y="894989"/>
            <a:ext cx="2885726" cy="584775"/>
          </a:xfrm>
          <a:prstGeom prst="rect">
            <a:avLst/>
          </a:prstGeom>
          <a:noFill/>
        </p:spPr>
        <p:txBody>
          <a:bodyPr wrap="none" rtlCol="0">
            <a:spAutoFit/>
          </a:bodyPr>
          <a:lstStyle/>
          <a:p>
            <a:r>
              <a:rPr lang="fi-FI" sz="3200" dirty="0">
                <a:solidFill>
                  <a:srgbClr val="0042A5"/>
                </a:solidFill>
              </a:rPr>
              <a:t>Kuilun paikka</a:t>
            </a:r>
          </a:p>
        </p:txBody>
      </p:sp>
      <p:sp>
        <p:nvSpPr>
          <p:cNvPr id="219" name="Kaari 218">
            <a:extLst>
              <a:ext uri="{FF2B5EF4-FFF2-40B4-BE49-F238E27FC236}">
                <a16:creationId xmlns:a16="http://schemas.microsoft.com/office/drawing/2014/main" id="{5E80F86D-2BC2-D7CB-FBC2-6D6F36043D99}"/>
              </a:ext>
            </a:extLst>
          </p:cNvPr>
          <p:cNvSpPr/>
          <p:nvPr/>
        </p:nvSpPr>
        <p:spPr>
          <a:xfrm flipH="1">
            <a:off x="5435836" y="1227570"/>
            <a:ext cx="1129307" cy="1502930"/>
          </a:xfrm>
          <a:prstGeom prst="arc">
            <a:avLst>
              <a:gd name="adj1" fmla="val 15958105"/>
              <a:gd name="adj2" fmla="val 1520190"/>
            </a:avLst>
          </a:prstGeom>
          <a:ln>
            <a:headEnd type="none" w="med" len="med"/>
            <a:tailEnd type="triangle" w="lg" len="lg"/>
          </a:ln>
        </p:spPr>
        <p:style>
          <a:lnRef idx="2">
            <a:schemeClr val="dk1"/>
          </a:lnRef>
          <a:fillRef idx="0">
            <a:schemeClr val="dk1"/>
          </a:fillRef>
          <a:effectRef idx="1">
            <a:schemeClr val="dk1"/>
          </a:effectRef>
          <a:fontRef idx="minor">
            <a:schemeClr val="tx1"/>
          </a:fontRef>
        </p:style>
        <p:txBody>
          <a:bodyPr rtlCol="0" anchor="ctr"/>
          <a:lstStyle/>
          <a:p>
            <a:pPr algn="ctr"/>
            <a:endParaRPr lang="fi-FI"/>
          </a:p>
        </p:txBody>
      </p:sp>
      <p:sp>
        <p:nvSpPr>
          <p:cNvPr id="165" name="Tekstiruutu 164">
            <a:extLst>
              <a:ext uri="{FF2B5EF4-FFF2-40B4-BE49-F238E27FC236}">
                <a16:creationId xmlns:a16="http://schemas.microsoft.com/office/drawing/2014/main" id="{4DFC617C-1821-09D7-DF5F-A1121EB0C31C}"/>
              </a:ext>
            </a:extLst>
          </p:cNvPr>
          <p:cNvSpPr txBox="1"/>
          <p:nvPr/>
        </p:nvSpPr>
        <p:spPr>
          <a:xfrm rot="20481716">
            <a:off x="5941529" y="2228688"/>
            <a:ext cx="590226" cy="523220"/>
          </a:xfrm>
          <a:prstGeom prst="rect">
            <a:avLst/>
          </a:prstGeom>
          <a:noFill/>
        </p:spPr>
        <p:txBody>
          <a:bodyPr wrap="none" rtlCol="0">
            <a:spAutoFit/>
          </a:bodyPr>
          <a:lstStyle/>
          <a:p>
            <a:r>
              <a:rPr lang="fi-FI" sz="2800" b="1" dirty="0"/>
              <a:t>ET</a:t>
            </a:r>
          </a:p>
        </p:txBody>
      </p:sp>
      <p:sp>
        <p:nvSpPr>
          <p:cNvPr id="168" name="Tekstiruutu 167">
            <a:extLst>
              <a:ext uri="{FF2B5EF4-FFF2-40B4-BE49-F238E27FC236}">
                <a16:creationId xmlns:a16="http://schemas.microsoft.com/office/drawing/2014/main" id="{B1682FAA-6CB8-E550-A3C4-C0F69343AF62}"/>
              </a:ext>
            </a:extLst>
          </p:cNvPr>
          <p:cNvSpPr txBox="1"/>
          <p:nvPr/>
        </p:nvSpPr>
        <p:spPr>
          <a:xfrm rot="20446283">
            <a:off x="6480410" y="1793608"/>
            <a:ext cx="2034342" cy="523220"/>
          </a:xfrm>
          <a:prstGeom prst="rect">
            <a:avLst/>
          </a:prstGeom>
          <a:noFill/>
        </p:spPr>
        <p:txBody>
          <a:bodyPr wrap="square">
            <a:spAutoFit/>
          </a:bodyPr>
          <a:lstStyle/>
          <a:p>
            <a:r>
              <a:rPr lang="fi-FI" sz="1400" dirty="0"/>
              <a:t>Yhdyskuntateknisen</a:t>
            </a:r>
          </a:p>
          <a:p>
            <a:r>
              <a:rPr lang="fi-FI" sz="1400" dirty="0"/>
              <a:t>       huollon alue.</a:t>
            </a:r>
          </a:p>
        </p:txBody>
      </p:sp>
      <p:grpSp>
        <p:nvGrpSpPr>
          <p:cNvPr id="169" name="Ryhmä 168">
            <a:extLst>
              <a:ext uri="{FF2B5EF4-FFF2-40B4-BE49-F238E27FC236}">
                <a16:creationId xmlns:a16="http://schemas.microsoft.com/office/drawing/2014/main" id="{9597E516-D3ED-545C-E286-D3E65129041E}"/>
              </a:ext>
            </a:extLst>
          </p:cNvPr>
          <p:cNvGrpSpPr/>
          <p:nvPr/>
        </p:nvGrpSpPr>
        <p:grpSpPr>
          <a:xfrm>
            <a:off x="5227512" y="2181224"/>
            <a:ext cx="742656" cy="433612"/>
            <a:chOff x="4738982" y="2085008"/>
            <a:chExt cx="742656" cy="601042"/>
          </a:xfrm>
        </p:grpSpPr>
        <p:sp>
          <p:nvSpPr>
            <p:cNvPr id="170" name="Vapaamuotoinen: Muoto 169">
              <a:extLst>
                <a:ext uri="{FF2B5EF4-FFF2-40B4-BE49-F238E27FC236}">
                  <a16:creationId xmlns:a16="http://schemas.microsoft.com/office/drawing/2014/main" id="{48B46B77-D250-9096-845C-9B4F386F0EF5}"/>
                </a:ext>
              </a:extLst>
            </p:cNvPr>
            <p:cNvSpPr/>
            <p:nvPr/>
          </p:nvSpPr>
          <p:spPr>
            <a:xfrm>
              <a:off x="4738982" y="2270953"/>
              <a:ext cx="278311" cy="415097"/>
            </a:xfrm>
            <a:custGeom>
              <a:avLst/>
              <a:gdLst>
                <a:gd name="csX0" fmla="*/ 16611 w 266642"/>
                <a:gd name="csY0" fmla="*/ 8297 h 417872"/>
                <a:gd name="csX1" fmla="*/ 266642 w 266642"/>
                <a:gd name="csY1" fmla="*/ 103547 h 417872"/>
                <a:gd name="csX2" fmla="*/ 261879 w 266642"/>
                <a:gd name="csY2" fmla="*/ 417872 h 417872"/>
                <a:gd name="csX3" fmla="*/ 23754 w 266642"/>
                <a:gd name="csY3" fmla="*/ 329766 h 417872"/>
                <a:gd name="csX4" fmla="*/ 16611 w 266642"/>
                <a:gd name="csY4" fmla="*/ 8297 h 417872"/>
                <a:gd name="csX0" fmla="*/ 23530 w 273561"/>
                <a:gd name="csY0" fmla="*/ 4876 h 414451"/>
                <a:gd name="csX1" fmla="*/ 273561 w 273561"/>
                <a:gd name="csY1" fmla="*/ 100126 h 414451"/>
                <a:gd name="csX2" fmla="*/ 268798 w 273561"/>
                <a:gd name="csY2" fmla="*/ 414451 h 414451"/>
                <a:gd name="csX3" fmla="*/ 11623 w 273561"/>
                <a:gd name="csY3" fmla="*/ 260330 h 414451"/>
                <a:gd name="csX4" fmla="*/ 23530 w 273561"/>
                <a:gd name="csY4" fmla="*/ 4876 h 414451"/>
                <a:gd name="csX0" fmla="*/ 45876 w 295907"/>
                <a:gd name="csY0" fmla="*/ 5522 h 415097"/>
                <a:gd name="csX1" fmla="*/ 295907 w 295907"/>
                <a:gd name="csY1" fmla="*/ 100772 h 415097"/>
                <a:gd name="csX2" fmla="*/ 291144 w 295907"/>
                <a:gd name="csY2" fmla="*/ 415097 h 415097"/>
                <a:gd name="csX3" fmla="*/ 631 w 295907"/>
                <a:gd name="csY3" fmla="*/ 274179 h 415097"/>
                <a:gd name="csX4" fmla="*/ 45876 w 295907"/>
                <a:gd name="csY4" fmla="*/ 5522 h 415097"/>
                <a:gd name="csX0" fmla="*/ 28280 w 278311"/>
                <a:gd name="csY0" fmla="*/ 5522 h 415097"/>
                <a:gd name="csX1" fmla="*/ 278311 w 278311"/>
                <a:gd name="csY1" fmla="*/ 100772 h 415097"/>
                <a:gd name="csX2" fmla="*/ 273548 w 278311"/>
                <a:gd name="csY2" fmla="*/ 415097 h 415097"/>
                <a:gd name="csX3" fmla="*/ 6847 w 278311"/>
                <a:gd name="csY3" fmla="*/ 274179 h 415097"/>
                <a:gd name="csX4" fmla="*/ 28280 w 278311"/>
                <a:gd name="csY4" fmla="*/ 5522 h 415097"/>
              </a:gdLst>
              <a:ahLst/>
              <a:cxnLst>
                <a:cxn ang="0">
                  <a:pos x="csX0" y="csY0"/>
                </a:cxn>
                <a:cxn ang="0">
                  <a:pos x="csX1" y="csY1"/>
                </a:cxn>
                <a:cxn ang="0">
                  <a:pos x="csX2" y="csY2"/>
                </a:cxn>
                <a:cxn ang="0">
                  <a:pos x="csX3" y="csY3"/>
                </a:cxn>
                <a:cxn ang="0">
                  <a:pos x="csX4" y="csY4"/>
                </a:cxn>
              </a:cxnLst>
              <a:rect l="l" t="t" r="r" b="b"/>
              <a:pathLst>
                <a:path w="278311" h="415097">
                  <a:moveTo>
                    <a:pt x="28280" y="5522"/>
                  </a:moveTo>
                  <a:cubicBezTo>
                    <a:pt x="73524" y="-23379"/>
                    <a:pt x="194967" y="69022"/>
                    <a:pt x="278311" y="100772"/>
                  </a:cubicBezTo>
                  <a:cubicBezTo>
                    <a:pt x="276723" y="205547"/>
                    <a:pt x="275136" y="310322"/>
                    <a:pt x="273548" y="415097"/>
                  </a:cubicBezTo>
                  <a:cubicBezTo>
                    <a:pt x="194173" y="385728"/>
                    <a:pt x="86222" y="303548"/>
                    <a:pt x="6847" y="274179"/>
                  </a:cubicBezTo>
                  <a:cubicBezTo>
                    <a:pt x="5260" y="170198"/>
                    <a:pt x="-16964" y="34423"/>
                    <a:pt x="28280" y="5522"/>
                  </a:cubicBezTo>
                  <a:close/>
                </a:path>
              </a:pathLst>
            </a:custGeom>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i-FI"/>
            </a:p>
          </p:txBody>
        </p:sp>
        <p:sp>
          <p:nvSpPr>
            <p:cNvPr id="171" name="Vapaamuotoinen: Muoto 170">
              <a:extLst>
                <a:ext uri="{FF2B5EF4-FFF2-40B4-BE49-F238E27FC236}">
                  <a16:creationId xmlns:a16="http://schemas.microsoft.com/office/drawing/2014/main" id="{532BFB98-FCF2-0B38-6AEB-4F03F6D238A9}"/>
                </a:ext>
              </a:extLst>
            </p:cNvPr>
            <p:cNvSpPr/>
            <p:nvPr/>
          </p:nvSpPr>
          <p:spPr>
            <a:xfrm>
              <a:off x="5012531" y="2177335"/>
              <a:ext cx="469107" cy="508715"/>
            </a:xfrm>
            <a:custGeom>
              <a:avLst/>
              <a:gdLst>
                <a:gd name="csX0" fmla="*/ 466725 w 469107"/>
                <a:gd name="csY0" fmla="*/ 0 h 469106"/>
                <a:gd name="csX1" fmla="*/ 469107 w 469107"/>
                <a:gd name="csY1" fmla="*/ 300037 h 469106"/>
                <a:gd name="csX2" fmla="*/ 0 w 469107"/>
                <a:gd name="csY2" fmla="*/ 469106 h 469106"/>
                <a:gd name="csX3" fmla="*/ 2382 w 469107"/>
                <a:gd name="csY3" fmla="*/ 152400 h 469106"/>
                <a:gd name="csX4" fmla="*/ 466725 w 469107"/>
                <a:gd name="csY4" fmla="*/ 0 h 469106"/>
                <a:gd name="csX0" fmla="*/ 466725 w 469107"/>
                <a:gd name="csY0" fmla="*/ 0 h 508715"/>
                <a:gd name="csX1" fmla="*/ 469107 w 469107"/>
                <a:gd name="csY1" fmla="*/ 339646 h 508715"/>
                <a:gd name="csX2" fmla="*/ 0 w 469107"/>
                <a:gd name="csY2" fmla="*/ 508715 h 508715"/>
                <a:gd name="csX3" fmla="*/ 2382 w 469107"/>
                <a:gd name="csY3" fmla="*/ 192009 h 508715"/>
                <a:gd name="csX4" fmla="*/ 466725 w 469107"/>
                <a:gd name="csY4" fmla="*/ 0 h 508715"/>
              </a:gdLst>
              <a:ahLst/>
              <a:cxnLst>
                <a:cxn ang="0">
                  <a:pos x="csX0" y="csY0"/>
                </a:cxn>
                <a:cxn ang="0">
                  <a:pos x="csX1" y="csY1"/>
                </a:cxn>
                <a:cxn ang="0">
                  <a:pos x="csX2" y="csY2"/>
                </a:cxn>
                <a:cxn ang="0">
                  <a:pos x="csX3" y="csY3"/>
                </a:cxn>
                <a:cxn ang="0">
                  <a:pos x="csX4" y="csY4"/>
                </a:cxn>
              </a:cxnLst>
              <a:rect l="l" t="t" r="r" b="b"/>
              <a:pathLst>
                <a:path w="469107" h="508715">
                  <a:moveTo>
                    <a:pt x="466725" y="0"/>
                  </a:moveTo>
                  <a:lnTo>
                    <a:pt x="469107" y="339646"/>
                  </a:lnTo>
                  <a:lnTo>
                    <a:pt x="0" y="508715"/>
                  </a:lnTo>
                  <a:lnTo>
                    <a:pt x="2382" y="192009"/>
                  </a:lnTo>
                  <a:lnTo>
                    <a:pt x="466725" y="0"/>
                  </a:lnTo>
                  <a:close/>
                </a:path>
              </a:pathLst>
            </a:custGeom>
            <a:solidFill>
              <a:schemeClr val="accent1">
                <a:lumMod val="20000"/>
                <a:lumOff val="80000"/>
              </a:schemeClr>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i-FI"/>
            </a:p>
          </p:txBody>
        </p:sp>
        <p:sp>
          <p:nvSpPr>
            <p:cNvPr id="172" name="Vapaamuotoinen: Muoto 171">
              <a:extLst>
                <a:ext uri="{FF2B5EF4-FFF2-40B4-BE49-F238E27FC236}">
                  <a16:creationId xmlns:a16="http://schemas.microsoft.com/office/drawing/2014/main" id="{5F4EA9FB-89A3-3443-D9EE-5150DBF97441}"/>
                </a:ext>
              </a:extLst>
            </p:cNvPr>
            <p:cNvSpPr/>
            <p:nvPr/>
          </p:nvSpPr>
          <p:spPr>
            <a:xfrm>
              <a:off x="4788694" y="2085008"/>
              <a:ext cx="685800" cy="284335"/>
            </a:xfrm>
            <a:custGeom>
              <a:avLst/>
              <a:gdLst>
                <a:gd name="csX0" fmla="*/ 0 w 690562"/>
                <a:gd name="csY0" fmla="*/ 135731 h 238125"/>
                <a:gd name="csX1" fmla="*/ 440531 w 690562"/>
                <a:gd name="csY1" fmla="*/ 0 h 238125"/>
                <a:gd name="csX2" fmla="*/ 690562 w 690562"/>
                <a:gd name="csY2" fmla="*/ 88106 h 238125"/>
                <a:gd name="csX3" fmla="*/ 228600 w 690562"/>
                <a:gd name="csY3" fmla="*/ 238125 h 238125"/>
                <a:gd name="csX4" fmla="*/ 0 w 690562"/>
                <a:gd name="csY4" fmla="*/ 135731 h 238125"/>
                <a:gd name="csX0" fmla="*/ 0 w 690562"/>
                <a:gd name="csY0" fmla="*/ 181942 h 284336"/>
                <a:gd name="csX1" fmla="*/ 426244 w 690562"/>
                <a:gd name="csY1" fmla="*/ 0 h 284336"/>
                <a:gd name="csX2" fmla="*/ 690562 w 690562"/>
                <a:gd name="csY2" fmla="*/ 134317 h 284336"/>
                <a:gd name="csX3" fmla="*/ 228600 w 690562"/>
                <a:gd name="csY3" fmla="*/ 284336 h 284336"/>
                <a:gd name="csX4" fmla="*/ 0 w 690562"/>
                <a:gd name="csY4" fmla="*/ 181942 h 284336"/>
                <a:gd name="csX0" fmla="*/ 0 w 685800"/>
                <a:gd name="csY0" fmla="*/ 181942 h 284336"/>
                <a:gd name="csX1" fmla="*/ 426244 w 685800"/>
                <a:gd name="csY1" fmla="*/ 0 h 284336"/>
                <a:gd name="csX2" fmla="*/ 685800 w 685800"/>
                <a:gd name="csY2" fmla="*/ 94709 h 284336"/>
                <a:gd name="csX3" fmla="*/ 228600 w 685800"/>
                <a:gd name="csY3" fmla="*/ 284336 h 284336"/>
                <a:gd name="csX4" fmla="*/ 0 w 685800"/>
                <a:gd name="csY4" fmla="*/ 181942 h 284336"/>
              </a:gdLst>
              <a:ahLst/>
              <a:cxnLst>
                <a:cxn ang="0">
                  <a:pos x="csX0" y="csY0"/>
                </a:cxn>
                <a:cxn ang="0">
                  <a:pos x="csX1" y="csY1"/>
                </a:cxn>
                <a:cxn ang="0">
                  <a:pos x="csX2" y="csY2"/>
                </a:cxn>
                <a:cxn ang="0">
                  <a:pos x="csX3" y="csY3"/>
                </a:cxn>
                <a:cxn ang="0">
                  <a:pos x="csX4" y="csY4"/>
                </a:cxn>
              </a:cxnLst>
              <a:rect l="l" t="t" r="r" b="b"/>
              <a:pathLst>
                <a:path w="685800" h="284336">
                  <a:moveTo>
                    <a:pt x="0" y="181942"/>
                  </a:moveTo>
                  <a:lnTo>
                    <a:pt x="426244" y="0"/>
                  </a:lnTo>
                  <a:lnTo>
                    <a:pt x="685800" y="94709"/>
                  </a:lnTo>
                  <a:lnTo>
                    <a:pt x="228600" y="284336"/>
                  </a:lnTo>
                  <a:lnTo>
                    <a:pt x="0" y="181942"/>
                  </a:lnTo>
                  <a:close/>
                </a:path>
              </a:pathLst>
            </a:cu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cxnSp>
        <p:nvCxnSpPr>
          <p:cNvPr id="179" name="Suora yhdysviiva 178">
            <a:extLst>
              <a:ext uri="{FF2B5EF4-FFF2-40B4-BE49-F238E27FC236}">
                <a16:creationId xmlns:a16="http://schemas.microsoft.com/office/drawing/2014/main" id="{34E0CB06-BBE5-2936-6B44-FC48CE23865D}"/>
              </a:ext>
            </a:extLst>
          </p:cNvPr>
          <p:cNvCxnSpPr>
            <a:cxnSpLocks/>
          </p:cNvCxnSpPr>
          <p:nvPr/>
        </p:nvCxnSpPr>
        <p:spPr>
          <a:xfrm>
            <a:off x="5819532" y="2795075"/>
            <a:ext cx="7036" cy="1138075"/>
          </a:xfrm>
          <a:prstGeom prst="line">
            <a:avLst/>
          </a:prstGeom>
          <a:ln w="12700">
            <a:prstDash val="dash"/>
          </a:ln>
        </p:spPr>
        <p:style>
          <a:lnRef idx="2">
            <a:schemeClr val="dk1"/>
          </a:lnRef>
          <a:fillRef idx="0">
            <a:schemeClr val="dk1"/>
          </a:fillRef>
          <a:effectRef idx="1">
            <a:schemeClr val="dk1"/>
          </a:effectRef>
          <a:fontRef idx="minor">
            <a:schemeClr val="tx1"/>
          </a:fontRef>
        </p:style>
      </p:cxnSp>
      <p:cxnSp>
        <p:nvCxnSpPr>
          <p:cNvPr id="189" name="Suora yhdysviiva 188">
            <a:extLst>
              <a:ext uri="{FF2B5EF4-FFF2-40B4-BE49-F238E27FC236}">
                <a16:creationId xmlns:a16="http://schemas.microsoft.com/office/drawing/2014/main" id="{46E48877-37AE-CB17-DC1D-F59EF92B9D45}"/>
              </a:ext>
            </a:extLst>
          </p:cNvPr>
          <p:cNvCxnSpPr>
            <a:cxnSpLocks/>
            <a:stCxn id="8" idx="2"/>
          </p:cNvCxnSpPr>
          <p:nvPr/>
        </p:nvCxnSpPr>
        <p:spPr>
          <a:xfrm>
            <a:off x="5805381" y="2067507"/>
            <a:ext cx="13589" cy="726479"/>
          </a:xfrm>
          <a:prstGeom prst="line">
            <a:avLst/>
          </a:prstGeom>
          <a:ln w="6350">
            <a:prstDash val="dash"/>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954505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0CFD6-BAB9-3CEB-BAC7-7209D6A5F6DD}"/>
            </a:ext>
          </a:extLst>
        </p:cNvPr>
        <p:cNvGrpSpPr/>
        <p:nvPr/>
      </p:nvGrpSpPr>
      <p:grpSpPr>
        <a:xfrm>
          <a:off x="0" y="0"/>
          <a:ext cx="0" cy="0"/>
          <a:chOff x="0" y="0"/>
          <a:chExt cx="0" cy="0"/>
        </a:xfrm>
      </p:grpSpPr>
      <p:pic>
        <p:nvPicPr>
          <p:cNvPr id="173" name="Kuva 172">
            <a:extLst>
              <a:ext uri="{FF2B5EF4-FFF2-40B4-BE49-F238E27FC236}">
                <a16:creationId xmlns:a16="http://schemas.microsoft.com/office/drawing/2014/main" id="{A68D2428-087E-859E-8B97-08BE23DEDEDD}"/>
              </a:ext>
            </a:extLst>
          </p:cNvPr>
          <p:cNvPicPr>
            <a:picLocks noChangeAspect="1"/>
          </p:cNvPicPr>
          <p:nvPr/>
        </p:nvPicPr>
        <p:blipFill>
          <a:blip r:embed="rId2" cstate="screen">
            <a:extLst>
              <a:ext uri="{28A0092B-C50C-407E-A947-70E740481C1C}">
                <a14:useLocalDpi xmlns:a14="http://schemas.microsoft.com/office/drawing/2010/main" val="0"/>
              </a:ext>
            </a:extLst>
          </a:blip>
          <a:srcRect t="2778" b="16481"/>
          <a:stretch>
            <a:fillRect/>
          </a:stretch>
        </p:blipFill>
        <p:spPr>
          <a:xfrm>
            <a:off x="347370" y="793792"/>
            <a:ext cx="4341165" cy="4958003"/>
          </a:xfrm>
          <a:prstGeom prst="rect">
            <a:avLst/>
          </a:prstGeom>
        </p:spPr>
      </p:pic>
      <p:pic>
        <p:nvPicPr>
          <p:cNvPr id="175" name="Kuva 174">
            <a:extLst>
              <a:ext uri="{FF2B5EF4-FFF2-40B4-BE49-F238E27FC236}">
                <a16:creationId xmlns:a16="http://schemas.microsoft.com/office/drawing/2014/main" id="{F7D0E383-62E0-3A0F-BBC5-DD2DA3ED9B2C}"/>
              </a:ext>
            </a:extLst>
          </p:cNvPr>
          <p:cNvPicPr>
            <a:picLocks noChangeAspect="1"/>
          </p:cNvPicPr>
          <p:nvPr/>
        </p:nvPicPr>
        <p:blipFill>
          <a:blip r:embed="rId3"/>
          <a:stretch>
            <a:fillRect/>
          </a:stretch>
        </p:blipFill>
        <p:spPr>
          <a:xfrm>
            <a:off x="5131836" y="793792"/>
            <a:ext cx="6438035" cy="4925553"/>
          </a:xfrm>
          <a:prstGeom prst="rect">
            <a:avLst/>
          </a:prstGeom>
        </p:spPr>
      </p:pic>
      <p:sp>
        <p:nvSpPr>
          <p:cNvPr id="177" name="Nuoli: Oikea 176">
            <a:extLst>
              <a:ext uri="{FF2B5EF4-FFF2-40B4-BE49-F238E27FC236}">
                <a16:creationId xmlns:a16="http://schemas.microsoft.com/office/drawing/2014/main" id="{ACF01661-D5C4-3430-7B36-C5B4F77BA72F}"/>
              </a:ext>
            </a:extLst>
          </p:cNvPr>
          <p:cNvSpPr/>
          <p:nvPr/>
        </p:nvSpPr>
        <p:spPr>
          <a:xfrm rot="904198">
            <a:off x="9311274" y="3423104"/>
            <a:ext cx="545786" cy="33560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78" name="Tekstiruutu 177">
            <a:extLst>
              <a:ext uri="{FF2B5EF4-FFF2-40B4-BE49-F238E27FC236}">
                <a16:creationId xmlns:a16="http://schemas.microsoft.com/office/drawing/2014/main" id="{A3AFD86D-FC33-23A2-5E1C-3E738E74BB81}"/>
              </a:ext>
            </a:extLst>
          </p:cNvPr>
          <p:cNvSpPr txBox="1"/>
          <p:nvPr/>
        </p:nvSpPr>
        <p:spPr>
          <a:xfrm>
            <a:off x="1931436" y="2323323"/>
            <a:ext cx="327334" cy="369332"/>
          </a:xfrm>
          <a:prstGeom prst="rect">
            <a:avLst/>
          </a:prstGeom>
          <a:noFill/>
        </p:spPr>
        <p:txBody>
          <a:bodyPr wrap="none" rtlCol="0">
            <a:spAutoFit/>
          </a:bodyPr>
          <a:lstStyle/>
          <a:p>
            <a:r>
              <a:rPr lang="fi-FI" dirty="0"/>
              <a:t>e</a:t>
            </a:r>
          </a:p>
        </p:txBody>
      </p:sp>
      <p:pic>
        <p:nvPicPr>
          <p:cNvPr id="181" name="Kuva 180">
            <a:extLst>
              <a:ext uri="{FF2B5EF4-FFF2-40B4-BE49-F238E27FC236}">
                <a16:creationId xmlns:a16="http://schemas.microsoft.com/office/drawing/2014/main" id="{85AD1A53-2C88-2550-1D27-A1333E4C77FA}"/>
              </a:ext>
            </a:extLst>
          </p:cNvPr>
          <p:cNvPicPr>
            <a:picLocks noChangeAspect="1"/>
          </p:cNvPicPr>
          <p:nvPr/>
        </p:nvPicPr>
        <p:blipFill>
          <a:blip r:embed="rId4"/>
          <a:srcRect l="7662" r="7470"/>
          <a:stretch>
            <a:fillRect/>
          </a:stretch>
        </p:blipFill>
        <p:spPr>
          <a:xfrm>
            <a:off x="191073" y="1240983"/>
            <a:ext cx="5904927" cy="46998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182" name="Otsikko 1">
            <a:extLst>
              <a:ext uri="{FF2B5EF4-FFF2-40B4-BE49-F238E27FC236}">
                <a16:creationId xmlns:a16="http://schemas.microsoft.com/office/drawing/2014/main" id="{92E3B5B6-6964-3FE6-5652-B0FAE2E43675}"/>
              </a:ext>
            </a:extLst>
          </p:cNvPr>
          <p:cNvSpPr txBox="1">
            <a:spLocks/>
          </p:cNvSpPr>
          <p:nvPr/>
        </p:nvSpPr>
        <p:spPr>
          <a:xfrm>
            <a:off x="257828" y="86904"/>
            <a:ext cx="10515600" cy="1009651"/>
          </a:xfrm>
          <a:prstGeom prst="rect">
            <a:avLst/>
          </a:prstGeom>
        </p:spPr>
        <p:txBody>
          <a:bodyPr/>
          <a:lstStyle>
            <a:lvl1pPr algn="l" defTabSz="914400" rtl="0" eaLnBrk="1" latinLnBrk="0" hangingPunct="1">
              <a:lnSpc>
                <a:spcPct val="100000"/>
              </a:lnSpc>
              <a:spcBef>
                <a:spcPct val="0"/>
              </a:spcBef>
              <a:buNone/>
              <a:defRPr sz="4400" b="1" i="0" kern="1200">
                <a:solidFill>
                  <a:srgbClr val="152B96"/>
                </a:solidFill>
                <a:latin typeface="+mj-lt"/>
                <a:ea typeface="+mj-ea"/>
                <a:cs typeface="Poppins" pitchFamily="2" charset="77"/>
              </a:defRPr>
            </a:lvl1pPr>
          </a:lstStyle>
          <a:p>
            <a:r>
              <a:rPr lang="fi-FI" dirty="0"/>
              <a:t>Rampin sijainti</a:t>
            </a:r>
          </a:p>
        </p:txBody>
      </p:sp>
    </p:spTree>
    <p:extLst>
      <p:ext uri="{BB962C8B-B14F-4D97-AF65-F5344CB8AC3E}">
        <p14:creationId xmlns:p14="http://schemas.microsoft.com/office/powerpoint/2010/main" val="2322851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AF35E-018B-A5FA-6147-28AA351C311E}"/>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ABC64E85-4895-5181-75B4-C39730B7194C}"/>
              </a:ext>
            </a:extLst>
          </p:cNvPr>
          <p:cNvPicPr>
            <a:picLocks noChangeAspect="1"/>
          </p:cNvPicPr>
          <p:nvPr/>
        </p:nvPicPr>
        <p:blipFill>
          <a:blip r:embed="rId3"/>
          <a:srcRect r="14353" b="1172"/>
          <a:stretch>
            <a:fillRect/>
          </a:stretch>
        </p:blipFill>
        <p:spPr>
          <a:xfrm>
            <a:off x="349129" y="0"/>
            <a:ext cx="12075623" cy="6858000"/>
          </a:xfrm>
          <a:prstGeom prst="rect">
            <a:avLst/>
          </a:prstGeom>
        </p:spPr>
      </p:pic>
      <p:sp>
        <p:nvSpPr>
          <p:cNvPr id="3" name="bg object 17">
            <a:extLst>
              <a:ext uri="{FF2B5EF4-FFF2-40B4-BE49-F238E27FC236}">
                <a16:creationId xmlns:a16="http://schemas.microsoft.com/office/drawing/2014/main" id="{94D84C8C-8DA0-11F1-272A-A11A2E34254D}"/>
              </a:ext>
            </a:extLst>
          </p:cNvPr>
          <p:cNvSpPr/>
          <p:nvPr/>
        </p:nvSpPr>
        <p:spPr>
          <a:xfrm>
            <a:off x="1" y="0"/>
            <a:ext cx="7132320" cy="6858000"/>
          </a:xfrm>
          <a:custGeom>
            <a:avLst/>
            <a:gdLst/>
            <a:ahLst/>
            <a:cxnLst/>
            <a:rect l="l" t="t" r="r" b="b"/>
            <a:pathLst>
              <a:path w="10304780" h="11308715">
                <a:moveTo>
                  <a:pt x="10304335" y="0"/>
                </a:moveTo>
                <a:lnTo>
                  <a:pt x="0" y="0"/>
                </a:lnTo>
                <a:lnTo>
                  <a:pt x="0" y="11308556"/>
                </a:lnTo>
                <a:lnTo>
                  <a:pt x="8391629" y="11308556"/>
                </a:lnTo>
                <a:lnTo>
                  <a:pt x="10304335" y="0"/>
                </a:lnTo>
                <a:close/>
              </a:path>
            </a:pathLst>
          </a:custGeom>
          <a:solidFill>
            <a:srgbClr val="00124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5" name="bg object 18">
            <a:extLst>
              <a:ext uri="{FF2B5EF4-FFF2-40B4-BE49-F238E27FC236}">
                <a16:creationId xmlns:a16="http://schemas.microsoft.com/office/drawing/2014/main" id="{BFAB2E87-1CC3-EB0C-BA6A-0C92ECCF8031}"/>
              </a:ext>
            </a:extLst>
          </p:cNvPr>
          <p:cNvPicPr/>
          <p:nvPr/>
        </p:nvPicPr>
        <p:blipFill>
          <a:blip r:embed="rId4" cstate="print"/>
          <a:srcRect l="7049" r="4273" b="24034"/>
          <a:stretch>
            <a:fillRect/>
          </a:stretch>
        </p:blipFill>
        <p:spPr>
          <a:xfrm>
            <a:off x="16626" y="2433317"/>
            <a:ext cx="5647127" cy="3603186"/>
          </a:xfrm>
          <a:prstGeom prst="rect">
            <a:avLst/>
          </a:prstGeom>
        </p:spPr>
      </p:pic>
      <p:sp>
        <p:nvSpPr>
          <p:cNvPr id="6" name="bg object 19">
            <a:extLst>
              <a:ext uri="{FF2B5EF4-FFF2-40B4-BE49-F238E27FC236}">
                <a16:creationId xmlns:a16="http://schemas.microsoft.com/office/drawing/2014/main" id="{46F073F8-67E9-E79E-0D48-325591AC988B}"/>
              </a:ext>
            </a:extLst>
          </p:cNvPr>
          <p:cNvSpPr/>
          <p:nvPr/>
        </p:nvSpPr>
        <p:spPr>
          <a:xfrm>
            <a:off x="565857" y="836173"/>
            <a:ext cx="3047498" cy="403973"/>
          </a:xfrm>
          <a:custGeom>
            <a:avLst/>
            <a:gdLst/>
            <a:ahLst/>
            <a:cxnLst/>
            <a:rect l="l" t="t" r="r" b="b"/>
            <a:pathLst>
              <a:path w="5754370" h="742950">
                <a:moveTo>
                  <a:pt x="649516" y="644042"/>
                </a:moveTo>
                <a:lnTo>
                  <a:pt x="230708" y="644042"/>
                </a:lnTo>
                <a:lnTo>
                  <a:pt x="191897" y="641184"/>
                </a:lnTo>
                <a:lnTo>
                  <a:pt x="150164" y="632142"/>
                </a:lnTo>
                <a:lnTo>
                  <a:pt x="107848" y="616165"/>
                </a:lnTo>
                <a:lnTo>
                  <a:pt x="67221" y="592493"/>
                </a:lnTo>
                <a:lnTo>
                  <a:pt x="30581" y="560374"/>
                </a:lnTo>
                <a:lnTo>
                  <a:pt x="228" y="519074"/>
                </a:lnTo>
                <a:lnTo>
                  <a:pt x="8928" y="566229"/>
                </a:lnTo>
                <a:lnTo>
                  <a:pt x="27762" y="609346"/>
                </a:lnTo>
                <a:lnTo>
                  <a:pt x="55511" y="647255"/>
                </a:lnTo>
                <a:lnTo>
                  <a:pt x="90919" y="678789"/>
                </a:lnTo>
                <a:lnTo>
                  <a:pt x="132753" y="702754"/>
                </a:lnTo>
                <a:lnTo>
                  <a:pt x="179768" y="718007"/>
                </a:lnTo>
                <a:lnTo>
                  <a:pt x="230708" y="723341"/>
                </a:lnTo>
                <a:lnTo>
                  <a:pt x="649516" y="723341"/>
                </a:lnTo>
                <a:lnTo>
                  <a:pt x="649516" y="644042"/>
                </a:lnTo>
                <a:close/>
              </a:path>
              <a:path w="5754370" h="742950">
                <a:moveTo>
                  <a:pt x="649744" y="485419"/>
                </a:moveTo>
                <a:lnTo>
                  <a:pt x="252196" y="485419"/>
                </a:lnTo>
                <a:lnTo>
                  <a:pt x="252196" y="472071"/>
                </a:lnTo>
                <a:lnTo>
                  <a:pt x="252196" y="0"/>
                </a:lnTo>
                <a:lnTo>
                  <a:pt x="168135" y="0"/>
                </a:lnTo>
                <a:lnTo>
                  <a:pt x="168135" y="472071"/>
                </a:lnTo>
                <a:lnTo>
                  <a:pt x="134048" y="450888"/>
                </a:lnTo>
                <a:lnTo>
                  <a:pt x="107480" y="421817"/>
                </a:lnTo>
                <a:lnTo>
                  <a:pt x="90220" y="386575"/>
                </a:lnTo>
                <a:lnTo>
                  <a:pt x="84061" y="346849"/>
                </a:lnTo>
                <a:lnTo>
                  <a:pt x="84061" y="0"/>
                </a:lnTo>
                <a:lnTo>
                  <a:pt x="0" y="0"/>
                </a:lnTo>
                <a:lnTo>
                  <a:pt x="0" y="346849"/>
                </a:lnTo>
                <a:lnTo>
                  <a:pt x="4699" y="390702"/>
                </a:lnTo>
                <a:lnTo>
                  <a:pt x="18186" y="431571"/>
                </a:lnTo>
                <a:lnTo>
                  <a:pt x="39497" y="468579"/>
                </a:lnTo>
                <a:lnTo>
                  <a:pt x="67716" y="500837"/>
                </a:lnTo>
                <a:lnTo>
                  <a:pt x="101917" y="527456"/>
                </a:lnTo>
                <a:lnTo>
                  <a:pt x="141135" y="547573"/>
                </a:lnTo>
                <a:lnTo>
                  <a:pt x="184759" y="560374"/>
                </a:lnTo>
                <a:lnTo>
                  <a:pt x="185394" y="560374"/>
                </a:lnTo>
                <a:lnTo>
                  <a:pt x="230936" y="564718"/>
                </a:lnTo>
                <a:lnTo>
                  <a:pt x="649744" y="564718"/>
                </a:lnTo>
                <a:lnTo>
                  <a:pt x="649744" y="485419"/>
                </a:lnTo>
                <a:close/>
              </a:path>
              <a:path w="5754370" h="742950">
                <a:moveTo>
                  <a:pt x="1346631" y="467220"/>
                </a:moveTo>
                <a:lnTo>
                  <a:pt x="1341361" y="400799"/>
                </a:lnTo>
                <a:lnTo>
                  <a:pt x="1325689" y="341680"/>
                </a:lnTo>
                <a:lnTo>
                  <a:pt x="1299870" y="289864"/>
                </a:lnTo>
                <a:lnTo>
                  <a:pt x="1264742" y="246926"/>
                </a:lnTo>
                <a:lnTo>
                  <a:pt x="1220482" y="212877"/>
                </a:lnTo>
                <a:lnTo>
                  <a:pt x="1167371" y="187947"/>
                </a:lnTo>
                <a:lnTo>
                  <a:pt x="1159611" y="185623"/>
                </a:lnTo>
                <a:lnTo>
                  <a:pt x="1159611" y="377431"/>
                </a:lnTo>
                <a:lnTo>
                  <a:pt x="930579" y="377431"/>
                </a:lnTo>
                <a:lnTo>
                  <a:pt x="943711" y="340372"/>
                </a:lnTo>
                <a:lnTo>
                  <a:pt x="983373" y="302653"/>
                </a:lnTo>
                <a:lnTo>
                  <a:pt x="1020965" y="291249"/>
                </a:lnTo>
                <a:lnTo>
                  <a:pt x="1020267" y="291249"/>
                </a:lnTo>
                <a:lnTo>
                  <a:pt x="1041527" y="289864"/>
                </a:lnTo>
                <a:lnTo>
                  <a:pt x="1045210" y="289864"/>
                </a:lnTo>
                <a:lnTo>
                  <a:pt x="1084376" y="295744"/>
                </a:lnTo>
                <a:lnTo>
                  <a:pt x="1118692" y="313740"/>
                </a:lnTo>
                <a:lnTo>
                  <a:pt x="1153325" y="358571"/>
                </a:lnTo>
                <a:lnTo>
                  <a:pt x="1159611" y="377431"/>
                </a:lnTo>
                <a:lnTo>
                  <a:pt x="1159611" y="185623"/>
                </a:lnTo>
                <a:lnTo>
                  <a:pt x="1137691" y="179044"/>
                </a:lnTo>
                <a:lnTo>
                  <a:pt x="1106233" y="172681"/>
                </a:lnTo>
                <a:lnTo>
                  <a:pt x="1072959" y="168859"/>
                </a:lnTo>
                <a:lnTo>
                  <a:pt x="1037907" y="167589"/>
                </a:lnTo>
                <a:lnTo>
                  <a:pt x="1002322" y="168859"/>
                </a:lnTo>
                <a:lnTo>
                  <a:pt x="936752" y="179044"/>
                </a:lnTo>
                <a:lnTo>
                  <a:pt x="878674" y="199275"/>
                </a:lnTo>
                <a:lnTo>
                  <a:pt x="829284" y="228180"/>
                </a:lnTo>
                <a:lnTo>
                  <a:pt x="788441" y="265696"/>
                </a:lnTo>
                <a:lnTo>
                  <a:pt x="756920" y="311365"/>
                </a:lnTo>
                <a:lnTo>
                  <a:pt x="734987" y="364934"/>
                </a:lnTo>
                <a:lnTo>
                  <a:pt x="723925" y="425234"/>
                </a:lnTo>
                <a:lnTo>
                  <a:pt x="722541" y="457809"/>
                </a:lnTo>
                <a:lnTo>
                  <a:pt x="723887" y="487045"/>
                </a:lnTo>
                <a:lnTo>
                  <a:pt x="723988" y="489394"/>
                </a:lnTo>
                <a:lnTo>
                  <a:pt x="735622" y="547865"/>
                </a:lnTo>
                <a:lnTo>
                  <a:pt x="758609" y="599935"/>
                </a:lnTo>
                <a:lnTo>
                  <a:pt x="791527" y="644829"/>
                </a:lnTo>
                <a:lnTo>
                  <a:pt x="833983" y="682244"/>
                </a:lnTo>
                <a:lnTo>
                  <a:pt x="885164" y="711212"/>
                </a:lnTo>
                <a:lnTo>
                  <a:pt x="944613" y="731367"/>
                </a:lnTo>
                <a:lnTo>
                  <a:pt x="1010437" y="741553"/>
                </a:lnTo>
                <a:lnTo>
                  <a:pt x="1045654" y="742835"/>
                </a:lnTo>
                <a:lnTo>
                  <a:pt x="1101547" y="739965"/>
                </a:lnTo>
                <a:lnTo>
                  <a:pt x="1151801" y="731367"/>
                </a:lnTo>
                <a:lnTo>
                  <a:pt x="1196835" y="716991"/>
                </a:lnTo>
                <a:lnTo>
                  <a:pt x="1236243" y="696899"/>
                </a:lnTo>
                <a:lnTo>
                  <a:pt x="1270152" y="671055"/>
                </a:lnTo>
                <a:lnTo>
                  <a:pt x="1298549" y="639470"/>
                </a:lnTo>
                <a:lnTo>
                  <a:pt x="1321460" y="602145"/>
                </a:lnTo>
                <a:lnTo>
                  <a:pt x="1338884" y="559079"/>
                </a:lnTo>
                <a:lnTo>
                  <a:pt x="1145235" y="559079"/>
                </a:lnTo>
                <a:lnTo>
                  <a:pt x="1126629" y="580999"/>
                </a:lnTo>
                <a:lnTo>
                  <a:pt x="1104023" y="596658"/>
                </a:lnTo>
                <a:lnTo>
                  <a:pt x="1077391" y="606056"/>
                </a:lnTo>
                <a:lnTo>
                  <a:pt x="1046746" y="609193"/>
                </a:lnTo>
                <a:lnTo>
                  <a:pt x="993495" y="601560"/>
                </a:lnTo>
                <a:lnTo>
                  <a:pt x="955459" y="578662"/>
                </a:lnTo>
                <a:lnTo>
                  <a:pt x="932649" y="540486"/>
                </a:lnTo>
                <a:lnTo>
                  <a:pt x="925042" y="487045"/>
                </a:lnTo>
                <a:lnTo>
                  <a:pt x="1346631" y="487045"/>
                </a:lnTo>
                <a:lnTo>
                  <a:pt x="1346631" y="467220"/>
                </a:lnTo>
                <a:close/>
              </a:path>
              <a:path w="5754370" h="742950">
                <a:moveTo>
                  <a:pt x="2059216" y="382651"/>
                </a:moveTo>
                <a:lnTo>
                  <a:pt x="2056993" y="342201"/>
                </a:lnTo>
                <a:lnTo>
                  <a:pt x="2044954" y="290131"/>
                </a:lnTo>
                <a:lnTo>
                  <a:pt x="2017166" y="245884"/>
                </a:lnTo>
                <a:lnTo>
                  <a:pt x="1984108" y="216268"/>
                </a:lnTo>
                <a:lnTo>
                  <a:pt x="1944687" y="194208"/>
                </a:lnTo>
                <a:lnTo>
                  <a:pt x="1897799" y="180517"/>
                </a:lnTo>
                <a:lnTo>
                  <a:pt x="1842325" y="175945"/>
                </a:lnTo>
                <a:lnTo>
                  <a:pt x="1815007" y="176949"/>
                </a:lnTo>
                <a:lnTo>
                  <a:pt x="1765769" y="185039"/>
                </a:lnTo>
                <a:lnTo>
                  <a:pt x="1722894" y="202145"/>
                </a:lnTo>
                <a:lnTo>
                  <a:pt x="1681391" y="233730"/>
                </a:lnTo>
                <a:lnTo>
                  <a:pt x="1660855" y="255295"/>
                </a:lnTo>
                <a:lnTo>
                  <a:pt x="1660855" y="187426"/>
                </a:lnTo>
                <a:lnTo>
                  <a:pt x="1460588" y="187426"/>
                </a:lnTo>
                <a:lnTo>
                  <a:pt x="1460588" y="722998"/>
                </a:lnTo>
                <a:lnTo>
                  <a:pt x="1660855" y="722998"/>
                </a:lnTo>
                <a:lnTo>
                  <a:pt x="1660855" y="436943"/>
                </a:lnTo>
                <a:lnTo>
                  <a:pt x="1662557" y="411848"/>
                </a:lnTo>
                <a:lnTo>
                  <a:pt x="1676107" y="370878"/>
                </a:lnTo>
                <a:lnTo>
                  <a:pt x="1703019" y="342430"/>
                </a:lnTo>
                <a:lnTo>
                  <a:pt x="1742020" y="328066"/>
                </a:lnTo>
                <a:lnTo>
                  <a:pt x="1765985" y="326275"/>
                </a:lnTo>
                <a:lnTo>
                  <a:pt x="1775256" y="326605"/>
                </a:lnTo>
                <a:lnTo>
                  <a:pt x="1817154" y="338543"/>
                </a:lnTo>
                <a:lnTo>
                  <a:pt x="1844408" y="366344"/>
                </a:lnTo>
                <a:lnTo>
                  <a:pt x="1857400" y="416712"/>
                </a:lnTo>
                <a:lnTo>
                  <a:pt x="1858924" y="452602"/>
                </a:lnTo>
                <a:lnTo>
                  <a:pt x="1858924" y="722998"/>
                </a:lnTo>
                <a:lnTo>
                  <a:pt x="2059216" y="722998"/>
                </a:lnTo>
                <a:lnTo>
                  <a:pt x="2059216" y="382651"/>
                </a:lnTo>
                <a:close/>
              </a:path>
              <a:path w="5754370" h="742950">
                <a:moveTo>
                  <a:pt x="2532786" y="187591"/>
                </a:moveTo>
                <a:lnTo>
                  <a:pt x="2418816" y="187591"/>
                </a:lnTo>
                <a:lnTo>
                  <a:pt x="2418816" y="26301"/>
                </a:lnTo>
                <a:lnTo>
                  <a:pt x="2218537" y="26301"/>
                </a:lnTo>
                <a:lnTo>
                  <a:pt x="2218537" y="187591"/>
                </a:lnTo>
                <a:lnTo>
                  <a:pt x="2152142" y="187591"/>
                </a:lnTo>
                <a:lnTo>
                  <a:pt x="2152142" y="345071"/>
                </a:lnTo>
                <a:lnTo>
                  <a:pt x="2218537" y="345071"/>
                </a:lnTo>
                <a:lnTo>
                  <a:pt x="2218537" y="723531"/>
                </a:lnTo>
                <a:lnTo>
                  <a:pt x="2418816" y="723531"/>
                </a:lnTo>
                <a:lnTo>
                  <a:pt x="2418816" y="345071"/>
                </a:lnTo>
                <a:lnTo>
                  <a:pt x="2532786" y="345071"/>
                </a:lnTo>
                <a:lnTo>
                  <a:pt x="2532786" y="187591"/>
                </a:lnTo>
                <a:close/>
              </a:path>
              <a:path w="5754370" h="742950">
                <a:moveTo>
                  <a:pt x="3277438" y="455739"/>
                </a:moveTo>
                <a:lnTo>
                  <a:pt x="3275850" y="424586"/>
                </a:lnTo>
                <a:lnTo>
                  <a:pt x="3271164" y="395274"/>
                </a:lnTo>
                <a:lnTo>
                  <a:pt x="3271088" y="394792"/>
                </a:lnTo>
                <a:lnTo>
                  <a:pt x="3263125" y="366382"/>
                </a:lnTo>
                <a:lnTo>
                  <a:pt x="3252000" y="339331"/>
                </a:lnTo>
                <a:lnTo>
                  <a:pt x="3247682" y="331495"/>
                </a:lnTo>
                <a:lnTo>
                  <a:pt x="3237979" y="313880"/>
                </a:lnTo>
                <a:lnTo>
                  <a:pt x="3202292" y="268478"/>
                </a:lnTo>
                <a:lnTo>
                  <a:pt x="3156623" y="230492"/>
                </a:lnTo>
                <a:lnTo>
                  <a:pt x="3102394" y="200736"/>
                </a:lnTo>
                <a:lnTo>
                  <a:pt x="3065996" y="187185"/>
                </a:lnTo>
                <a:lnTo>
                  <a:pt x="3065996" y="455739"/>
                </a:lnTo>
                <a:lnTo>
                  <a:pt x="3065475" y="465886"/>
                </a:lnTo>
                <a:lnTo>
                  <a:pt x="3065437" y="466458"/>
                </a:lnTo>
                <a:lnTo>
                  <a:pt x="3063506" y="478574"/>
                </a:lnTo>
                <a:lnTo>
                  <a:pt x="3063468" y="478828"/>
                </a:lnTo>
                <a:lnTo>
                  <a:pt x="3043415" y="523201"/>
                </a:lnTo>
                <a:lnTo>
                  <a:pt x="3009100" y="556209"/>
                </a:lnTo>
                <a:lnTo>
                  <a:pt x="2962503" y="574484"/>
                </a:lnTo>
                <a:lnTo>
                  <a:pt x="2936633" y="576834"/>
                </a:lnTo>
                <a:lnTo>
                  <a:pt x="2923527" y="576237"/>
                </a:lnTo>
                <a:lnTo>
                  <a:pt x="2886291" y="567436"/>
                </a:lnTo>
                <a:lnTo>
                  <a:pt x="2845346" y="541337"/>
                </a:lnTo>
                <a:lnTo>
                  <a:pt x="2817685" y="502196"/>
                </a:lnTo>
                <a:lnTo>
                  <a:pt x="2807919" y="466458"/>
                </a:lnTo>
                <a:lnTo>
                  <a:pt x="2807830" y="465886"/>
                </a:lnTo>
                <a:lnTo>
                  <a:pt x="2807335" y="455739"/>
                </a:lnTo>
                <a:lnTo>
                  <a:pt x="2807284" y="450507"/>
                </a:lnTo>
                <a:lnTo>
                  <a:pt x="2807779" y="441274"/>
                </a:lnTo>
                <a:lnTo>
                  <a:pt x="2807830" y="440270"/>
                </a:lnTo>
                <a:lnTo>
                  <a:pt x="2823362" y="394982"/>
                </a:lnTo>
                <a:lnTo>
                  <a:pt x="2829776" y="385127"/>
                </a:lnTo>
                <a:lnTo>
                  <a:pt x="2829852" y="385000"/>
                </a:lnTo>
                <a:lnTo>
                  <a:pt x="2864154" y="352120"/>
                </a:lnTo>
                <a:lnTo>
                  <a:pt x="2910776" y="333844"/>
                </a:lnTo>
                <a:lnTo>
                  <a:pt x="2936633" y="331495"/>
                </a:lnTo>
                <a:lnTo>
                  <a:pt x="2949740" y="332079"/>
                </a:lnTo>
                <a:lnTo>
                  <a:pt x="2986976" y="340893"/>
                </a:lnTo>
                <a:lnTo>
                  <a:pt x="3027921" y="366991"/>
                </a:lnTo>
                <a:lnTo>
                  <a:pt x="3043313" y="385000"/>
                </a:lnTo>
                <a:lnTo>
                  <a:pt x="3043415" y="385127"/>
                </a:lnTo>
                <a:lnTo>
                  <a:pt x="3063468" y="429247"/>
                </a:lnTo>
                <a:lnTo>
                  <a:pt x="3065996" y="455739"/>
                </a:lnTo>
                <a:lnTo>
                  <a:pt x="3065996" y="187185"/>
                </a:lnTo>
                <a:lnTo>
                  <a:pt x="3040265" y="179628"/>
                </a:lnTo>
                <a:lnTo>
                  <a:pt x="3007652" y="173062"/>
                </a:lnTo>
                <a:lnTo>
                  <a:pt x="3008109" y="173062"/>
                </a:lnTo>
                <a:lnTo>
                  <a:pt x="2972752" y="168960"/>
                </a:lnTo>
                <a:lnTo>
                  <a:pt x="2973311" y="168960"/>
                </a:lnTo>
                <a:lnTo>
                  <a:pt x="2936633" y="167589"/>
                </a:lnTo>
                <a:lnTo>
                  <a:pt x="2865399" y="173062"/>
                </a:lnTo>
                <a:lnTo>
                  <a:pt x="2799981" y="189509"/>
                </a:lnTo>
                <a:lnTo>
                  <a:pt x="2741752" y="215480"/>
                </a:lnTo>
                <a:lnTo>
                  <a:pt x="2692095" y="249555"/>
                </a:lnTo>
                <a:lnTo>
                  <a:pt x="2651696" y="291045"/>
                </a:lnTo>
                <a:lnTo>
                  <a:pt x="2621280" y="339331"/>
                </a:lnTo>
                <a:lnTo>
                  <a:pt x="2602192" y="392963"/>
                </a:lnTo>
                <a:lnTo>
                  <a:pt x="2595829" y="450507"/>
                </a:lnTo>
                <a:lnTo>
                  <a:pt x="2597416" y="482650"/>
                </a:lnTo>
                <a:lnTo>
                  <a:pt x="2610142" y="542417"/>
                </a:lnTo>
                <a:lnTo>
                  <a:pt x="2635212" y="595985"/>
                </a:lnTo>
                <a:lnTo>
                  <a:pt x="2670352" y="642188"/>
                </a:lnTo>
                <a:lnTo>
                  <a:pt x="2715018" y="680643"/>
                </a:lnTo>
                <a:lnTo>
                  <a:pt x="2768485" y="710438"/>
                </a:lnTo>
                <a:lnTo>
                  <a:pt x="2829991" y="731075"/>
                </a:lnTo>
                <a:lnTo>
                  <a:pt x="2897492" y="741514"/>
                </a:lnTo>
                <a:lnTo>
                  <a:pt x="2933319" y="742823"/>
                </a:lnTo>
                <a:lnTo>
                  <a:pt x="2969717" y="741514"/>
                </a:lnTo>
                <a:lnTo>
                  <a:pt x="3038602" y="731075"/>
                </a:lnTo>
                <a:lnTo>
                  <a:pt x="3101746" y="710438"/>
                </a:lnTo>
                <a:lnTo>
                  <a:pt x="3156242" y="680948"/>
                </a:lnTo>
                <a:lnTo>
                  <a:pt x="3201543" y="643001"/>
                </a:lnTo>
                <a:lnTo>
                  <a:pt x="3237230" y="597585"/>
                </a:lnTo>
                <a:lnTo>
                  <a:pt x="3262807" y="545096"/>
                </a:lnTo>
                <a:lnTo>
                  <a:pt x="3275812" y="486892"/>
                </a:lnTo>
                <a:lnTo>
                  <a:pt x="3277438" y="455739"/>
                </a:lnTo>
                <a:close/>
              </a:path>
              <a:path w="5754370" h="742950">
                <a:moveTo>
                  <a:pt x="3818534" y="178028"/>
                </a:moveTo>
                <a:lnTo>
                  <a:pt x="3810406" y="176644"/>
                </a:lnTo>
                <a:lnTo>
                  <a:pt x="3803218" y="175945"/>
                </a:lnTo>
                <a:lnTo>
                  <a:pt x="3779799" y="175945"/>
                </a:lnTo>
                <a:lnTo>
                  <a:pt x="3721697" y="182333"/>
                </a:lnTo>
                <a:lnTo>
                  <a:pt x="3671354" y="201523"/>
                </a:lnTo>
                <a:lnTo>
                  <a:pt x="3628479" y="232714"/>
                </a:lnTo>
                <a:lnTo>
                  <a:pt x="3592792" y="275120"/>
                </a:lnTo>
                <a:lnTo>
                  <a:pt x="3592792" y="187426"/>
                </a:lnTo>
                <a:lnTo>
                  <a:pt x="3392513" y="187426"/>
                </a:lnTo>
                <a:lnTo>
                  <a:pt x="3392513" y="722998"/>
                </a:lnTo>
                <a:lnTo>
                  <a:pt x="3592792" y="722998"/>
                </a:lnTo>
                <a:lnTo>
                  <a:pt x="3592792" y="493318"/>
                </a:lnTo>
                <a:lnTo>
                  <a:pt x="3594976" y="457987"/>
                </a:lnTo>
                <a:lnTo>
                  <a:pt x="3612400" y="400824"/>
                </a:lnTo>
                <a:lnTo>
                  <a:pt x="3647262" y="361873"/>
                </a:lnTo>
                <a:lnTo>
                  <a:pt x="3699535" y="342303"/>
                </a:lnTo>
                <a:lnTo>
                  <a:pt x="3732212" y="339852"/>
                </a:lnTo>
                <a:lnTo>
                  <a:pt x="3755034" y="341033"/>
                </a:lnTo>
                <a:lnTo>
                  <a:pt x="3777030" y="344551"/>
                </a:lnTo>
                <a:lnTo>
                  <a:pt x="3798201" y="350418"/>
                </a:lnTo>
                <a:lnTo>
                  <a:pt x="3818534" y="358648"/>
                </a:lnTo>
                <a:lnTo>
                  <a:pt x="3818534" y="178028"/>
                </a:lnTo>
                <a:close/>
              </a:path>
              <a:path w="5754370" h="742950">
                <a:moveTo>
                  <a:pt x="4554347" y="187426"/>
                </a:moveTo>
                <a:lnTo>
                  <a:pt x="4359592" y="187426"/>
                </a:lnTo>
                <a:lnTo>
                  <a:pt x="4359592" y="455739"/>
                </a:lnTo>
                <a:lnTo>
                  <a:pt x="4359021" y="466458"/>
                </a:lnTo>
                <a:lnTo>
                  <a:pt x="4343412" y="513346"/>
                </a:lnTo>
                <a:lnTo>
                  <a:pt x="4312424" y="549236"/>
                </a:lnTo>
                <a:lnTo>
                  <a:pt x="4268406" y="571550"/>
                </a:lnTo>
                <a:lnTo>
                  <a:pt x="4230128" y="576834"/>
                </a:lnTo>
                <a:lnTo>
                  <a:pt x="4216539" y="576249"/>
                </a:lnTo>
                <a:lnTo>
                  <a:pt x="4178681" y="567436"/>
                </a:lnTo>
                <a:lnTo>
                  <a:pt x="4137736" y="541337"/>
                </a:lnTo>
                <a:lnTo>
                  <a:pt x="4110634" y="502183"/>
                </a:lnTo>
                <a:lnTo>
                  <a:pt x="4100779" y="455739"/>
                </a:lnTo>
                <a:lnTo>
                  <a:pt x="4100677" y="453644"/>
                </a:lnTo>
                <a:lnTo>
                  <a:pt x="4101185" y="443369"/>
                </a:lnTo>
                <a:lnTo>
                  <a:pt x="4116057" y="396786"/>
                </a:lnTo>
                <a:lnTo>
                  <a:pt x="4146727" y="361188"/>
                </a:lnTo>
                <a:lnTo>
                  <a:pt x="4190809" y="338874"/>
                </a:lnTo>
                <a:lnTo>
                  <a:pt x="4230128" y="333578"/>
                </a:lnTo>
                <a:lnTo>
                  <a:pt x="4243235" y="334175"/>
                </a:lnTo>
                <a:lnTo>
                  <a:pt x="4280484" y="342988"/>
                </a:lnTo>
                <a:lnTo>
                  <a:pt x="4321429" y="369087"/>
                </a:lnTo>
                <a:lnTo>
                  <a:pt x="4349089" y="408228"/>
                </a:lnTo>
                <a:lnTo>
                  <a:pt x="4359491" y="453644"/>
                </a:lnTo>
                <a:lnTo>
                  <a:pt x="4359592" y="455739"/>
                </a:lnTo>
                <a:lnTo>
                  <a:pt x="4359592" y="187426"/>
                </a:lnTo>
                <a:lnTo>
                  <a:pt x="4352963" y="187426"/>
                </a:lnTo>
                <a:lnTo>
                  <a:pt x="4352963" y="240677"/>
                </a:lnTo>
                <a:lnTo>
                  <a:pt x="4315828" y="210070"/>
                </a:lnTo>
                <a:lnTo>
                  <a:pt x="4274121" y="188214"/>
                </a:lnTo>
                <a:lnTo>
                  <a:pt x="4227855" y="175094"/>
                </a:lnTo>
                <a:lnTo>
                  <a:pt x="4177030" y="170713"/>
                </a:lnTo>
                <a:lnTo>
                  <a:pt x="4146181" y="172123"/>
                </a:lnTo>
                <a:lnTo>
                  <a:pt x="4088638" y="183349"/>
                </a:lnTo>
                <a:lnTo>
                  <a:pt x="4036834" y="205409"/>
                </a:lnTo>
                <a:lnTo>
                  <a:pt x="3992016" y="235940"/>
                </a:lnTo>
                <a:lnTo>
                  <a:pt x="3954538" y="274370"/>
                </a:lnTo>
                <a:lnTo>
                  <a:pt x="3925214" y="319519"/>
                </a:lnTo>
                <a:lnTo>
                  <a:pt x="3904475" y="370751"/>
                </a:lnTo>
                <a:lnTo>
                  <a:pt x="3897973" y="397370"/>
                </a:lnTo>
                <a:lnTo>
                  <a:pt x="3897896" y="397662"/>
                </a:lnTo>
                <a:lnTo>
                  <a:pt x="3893959" y="425297"/>
                </a:lnTo>
                <a:lnTo>
                  <a:pt x="3892651" y="453644"/>
                </a:lnTo>
                <a:lnTo>
                  <a:pt x="3893997" y="483857"/>
                </a:lnTo>
                <a:lnTo>
                  <a:pt x="3904780" y="540753"/>
                </a:lnTo>
                <a:lnTo>
                  <a:pt x="3926078" y="592696"/>
                </a:lnTo>
                <a:lnTo>
                  <a:pt x="3956227" y="638111"/>
                </a:lnTo>
                <a:lnTo>
                  <a:pt x="3994721" y="676503"/>
                </a:lnTo>
                <a:lnTo>
                  <a:pt x="4040086" y="706513"/>
                </a:lnTo>
                <a:lnTo>
                  <a:pt x="4091889" y="727646"/>
                </a:lnTo>
                <a:lnTo>
                  <a:pt x="4148874" y="738352"/>
                </a:lnTo>
                <a:lnTo>
                  <a:pt x="4179239" y="739698"/>
                </a:lnTo>
                <a:lnTo>
                  <a:pt x="4231170" y="734936"/>
                </a:lnTo>
                <a:lnTo>
                  <a:pt x="4277436" y="720636"/>
                </a:lnTo>
                <a:lnTo>
                  <a:pt x="4318038" y="696823"/>
                </a:lnTo>
                <a:lnTo>
                  <a:pt x="4352963" y="663473"/>
                </a:lnTo>
                <a:lnTo>
                  <a:pt x="4352963" y="722998"/>
                </a:lnTo>
                <a:lnTo>
                  <a:pt x="4554347" y="722998"/>
                </a:lnTo>
                <a:lnTo>
                  <a:pt x="4554347" y="663473"/>
                </a:lnTo>
                <a:lnTo>
                  <a:pt x="4554347" y="576834"/>
                </a:lnTo>
                <a:lnTo>
                  <a:pt x="4554347" y="333578"/>
                </a:lnTo>
                <a:lnTo>
                  <a:pt x="4554347" y="240677"/>
                </a:lnTo>
                <a:lnTo>
                  <a:pt x="4554347" y="187426"/>
                </a:lnTo>
                <a:close/>
              </a:path>
              <a:path w="5754370" h="742950">
                <a:moveTo>
                  <a:pt x="5027930" y="187591"/>
                </a:moveTo>
                <a:lnTo>
                  <a:pt x="4913960" y="187591"/>
                </a:lnTo>
                <a:lnTo>
                  <a:pt x="4913960" y="26301"/>
                </a:lnTo>
                <a:lnTo>
                  <a:pt x="4713681" y="26301"/>
                </a:lnTo>
                <a:lnTo>
                  <a:pt x="4713681" y="187591"/>
                </a:lnTo>
                <a:lnTo>
                  <a:pt x="4647285" y="187591"/>
                </a:lnTo>
                <a:lnTo>
                  <a:pt x="4647285" y="345071"/>
                </a:lnTo>
                <a:lnTo>
                  <a:pt x="4713681" y="345071"/>
                </a:lnTo>
                <a:lnTo>
                  <a:pt x="4713681" y="723531"/>
                </a:lnTo>
                <a:lnTo>
                  <a:pt x="4913960" y="723531"/>
                </a:lnTo>
                <a:lnTo>
                  <a:pt x="4913960" y="345071"/>
                </a:lnTo>
                <a:lnTo>
                  <a:pt x="5027930" y="345071"/>
                </a:lnTo>
                <a:lnTo>
                  <a:pt x="5027930" y="187591"/>
                </a:lnTo>
                <a:close/>
              </a:path>
              <a:path w="5754370" h="742950">
                <a:moveTo>
                  <a:pt x="5753786" y="187426"/>
                </a:moveTo>
                <a:lnTo>
                  <a:pt x="5559031" y="187426"/>
                </a:lnTo>
                <a:lnTo>
                  <a:pt x="5559031" y="455739"/>
                </a:lnTo>
                <a:lnTo>
                  <a:pt x="5558460" y="466458"/>
                </a:lnTo>
                <a:lnTo>
                  <a:pt x="5542851" y="513346"/>
                </a:lnTo>
                <a:lnTo>
                  <a:pt x="5511863" y="549236"/>
                </a:lnTo>
                <a:lnTo>
                  <a:pt x="5467845" y="571550"/>
                </a:lnTo>
                <a:lnTo>
                  <a:pt x="5429567" y="576834"/>
                </a:lnTo>
                <a:lnTo>
                  <a:pt x="5415978" y="576249"/>
                </a:lnTo>
                <a:lnTo>
                  <a:pt x="5378120" y="567436"/>
                </a:lnTo>
                <a:lnTo>
                  <a:pt x="5337175" y="541337"/>
                </a:lnTo>
                <a:lnTo>
                  <a:pt x="5310060" y="502183"/>
                </a:lnTo>
                <a:lnTo>
                  <a:pt x="5300205" y="455739"/>
                </a:lnTo>
                <a:lnTo>
                  <a:pt x="5300103" y="453644"/>
                </a:lnTo>
                <a:lnTo>
                  <a:pt x="5300624" y="443369"/>
                </a:lnTo>
                <a:lnTo>
                  <a:pt x="5300726" y="441337"/>
                </a:lnTo>
                <a:lnTo>
                  <a:pt x="5315496" y="396786"/>
                </a:lnTo>
                <a:lnTo>
                  <a:pt x="5346154" y="361188"/>
                </a:lnTo>
                <a:lnTo>
                  <a:pt x="5390248" y="338874"/>
                </a:lnTo>
                <a:lnTo>
                  <a:pt x="5429567" y="333578"/>
                </a:lnTo>
                <a:lnTo>
                  <a:pt x="5442674" y="334175"/>
                </a:lnTo>
                <a:lnTo>
                  <a:pt x="5479910" y="342988"/>
                </a:lnTo>
                <a:lnTo>
                  <a:pt x="5520868" y="369087"/>
                </a:lnTo>
                <a:lnTo>
                  <a:pt x="5548515" y="408228"/>
                </a:lnTo>
                <a:lnTo>
                  <a:pt x="5558917" y="453644"/>
                </a:lnTo>
                <a:lnTo>
                  <a:pt x="5559031" y="455739"/>
                </a:lnTo>
                <a:lnTo>
                  <a:pt x="5559031" y="187426"/>
                </a:lnTo>
                <a:lnTo>
                  <a:pt x="5552389" y="187426"/>
                </a:lnTo>
                <a:lnTo>
                  <a:pt x="5552389" y="240677"/>
                </a:lnTo>
                <a:lnTo>
                  <a:pt x="5515254" y="210070"/>
                </a:lnTo>
                <a:lnTo>
                  <a:pt x="5473560" y="188214"/>
                </a:lnTo>
                <a:lnTo>
                  <a:pt x="5427294" y="175094"/>
                </a:lnTo>
                <a:lnTo>
                  <a:pt x="5376469" y="170713"/>
                </a:lnTo>
                <a:lnTo>
                  <a:pt x="5345620" y="172123"/>
                </a:lnTo>
                <a:lnTo>
                  <a:pt x="5288077" y="183349"/>
                </a:lnTo>
                <a:lnTo>
                  <a:pt x="5236273" y="205409"/>
                </a:lnTo>
                <a:lnTo>
                  <a:pt x="5191455" y="235940"/>
                </a:lnTo>
                <a:lnTo>
                  <a:pt x="5153977" y="274370"/>
                </a:lnTo>
                <a:lnTo>
                  <a:pt x="5124653" y="319519"/>
                </a:lnTo>
                <a:lnTo>
                  <a:pt x="5103914" y="370751"/>
                </a:lnTo>
                <a:lnTo>
                  <a:pt x="5097411" y="397370"/>
                </a:lnTo>
                <a:lnTo>
                  <a:pt x="5097335" y="397662"/>
                </a:lnTo>
                <a:lnTo>
                  <a:pt x="5093398" y="425297"/>
                </a:lnTo>
                <a:lnTo>
                  <a:pt x="5092077" y="453644"/>
                </a:lnTo>
                <a:lnTo>
                  <a:pt x="5093436" y="483857"/>
                </a:lnTo>
                <a:lnTo>
                  <a:pt x="5104219" y="540753"/>
                </a:lnTo>
                <a:lnTo>
                  <a:pt x="5125517" y="592696"/>
                </a:lnTo>
                <a:lnTo>
                  <a:pt x="5155666" y="638111"/>
                </a:lnTo>
                <a:lnTo>
                  <a:pt x="5194160" y="676503"/>
                </a:lnTo>
                <a:lnTo>
                  <a:pt x="5239524" y="706513"/>
                </a:lnTo>
                <a:lnTo>
                  <a:pt x="5291315" y="727646"/>
                </a:lnTo>
                <a:lnTo>
                  <a:pt x="5348313" y="738352"/>
                </a:lnTo>
                <a:lnTo>
                  <a:pt x="5378666" y="739698"/>
                </a:lnTo>
                <a:lnTo>
                  <a:pt x="5430609" y="734936"/>
                </a:lnTo>
                <a:lnTo>
                  <a:pt x="5476875" y="720636"/>
                </a:lnTo>
                <a:lnTo>
                  <a:pt x="5517477" y="696823"/>
                </a:lnTo>
                <a:lnTo>
                  <a:pt x="5552389" y="663473"/>
                </a:lnTo>
                <a:lnTo>
                  <a:pt x="5552389" y="722998"/>
                </a:lnTo>
                <a:lnTo>
                  <a:pt x="5753786" y="722998"/>
                </a:lnTo>
                <a:lnTo>
                  <a:pt x="5753786" y="663473"/>
                </a:lnTo>
                <a:lnTo>
                  <a:pt x="5753786" y="576834"/>
                </a:lnTo>
                <a:lnTo>
                  <a:pt x="5753786" y="333578"/>
                </a:lnTo>
                <a:lnTo>
                  <a:pt x="5753786" y="240677"/>
                </a:lnTo>
                <a:lnTo>
                  <a:pt x="5753786" y="187426"/>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Title 3">
            <a:extLst>
              <a:ext uri="{FF2B5EF4-FFF2-40B4-BE49-F238E27FC236}">
                <a16:creationId xmlns:a16="http://schemas.microsoft.com/office/drawing/2014/main" id="{ECC85FBD-9874-F093-8FB7-C2FE3B002632}"/>
              </a:ext>
            </a:extLst>
          </p:cNvPr>
          <p:cNvSpPr>
            <a:spLocks noGrp="1"/>
          </p:cNvSpPr>
          <p:nvPr>
            <p:ph type="ctrTitle"/>
          </p:nvPr>
        </p:nvSpPr>
        <p:spPr>
          <a:xfrm>
            <a:off x="565857" y="2548851"/>
            <a:ext cx="6946611" cy="1258922"/>
          </a:xfrm>
        </p:spPr>
        <p:txBody>
          <a:bodyPr/>
          <a:lstStyle/>
          <a:p>
            <a:br>
              <a:rPr lang="fi-FI" sz="2800" dirty="0"/>
            </a:br>
            <a:r>
              <a:rPr lang="fi-FI" sz="2800" dirty="0">
                <a:cs typeface="Calibri"/>
              </a:rPr>
              <a:t>Lentorata – </a:t>
            </a:r>
            <a:br>
              <a:rPr lang="fi-FI" sz="2800" dirty="0">
                <a:cs typeface="Calibri"/>
              </a:rPr>
            </a:br>
            <a:r>
              <a:rPr lang="fi-FI" sz="2800">
                <a:cs typeface="Calibri"/>
              </a:rPr>
              <a:t>suunnittelu etenee</a:t>
            </a:r>
            <a:endParaRPr lang="fi-FI" sz="2800" dirty="0"/>
          </a:p>
        </p:txBody>
      </p:sp>
      <p:sp>
        <p:nvSpPr>
          <p:cNvPr id="7" name="Otsikon paikkamerkki 9">
            <a:extLst>
              <a:ext uri="{FF2B5EF4-FFF2-40B4-BE49-F238E27FC236}">
                <a16:creationId xmlns:a16="http://schemas.microsoft.com/office/drawing/2014/main" id="{A516AF0C-6EF0-B0AA-9710-71C8ABFFD65B}"/>
              </a:ext>
            </a:extLst>
          </p:cNvPr>
          <p:cNvSpPr txBox="1">
            <a:spLocks/>
          </p:cNvSpPr>
          <p:nvPr/>
        </p:nvSpPr>
        <p:spPr>
          <a:xfrm>
            <a:off x="565857" y="6150018"/>
            <a:ext cx="1330570" cy="4111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1600" b="1" i="0" kern="1200" spc="0">
                <a:solidFill>
                  <a:schemeClr val="bg1"/>
                </a:solidFill>
                <a:latin typeface="Gilroy ExtraBold"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600" b="0" i="0" u="none" strike="noStrike" kern="1200" cap="none" spc="0" normalizeH="0" baseline="0" noProof="0">
                <a:ln>
                  <a:noFill/>
                </a:ln>
                <a:solidFill>
                  <a:srgbClr val="FFFFFF"/>
                </a:solidFill>
                <a:effectLst/>
                <a:uLnTx/>
                <a:uFillTx/>
                <a:latin typeface="Arial"/>
                <a:ea typeface="+mj-ea"/>
                <a:cs typeface="+mj-cs"/>
              </a:rPr>
              <a:t>© Lentorata</a:t>
            </a:r>
          </a:p>
        </p:txBody>
      </p:sp>
      <p:sp>
        <p:nvSpPr>
          <p:cNvPr id="2" name="Tekstiruutu 1">
            <a:extLst>
              <a:ext uri="{FF2B5EF4-FFF2-40B4-BE49-F238E27FC236}">
                <a16:creationId xmlns:a16="http://schemas.microsoft.com/office/drawing/2014/main" id="{B1852D9A-C15E-BC8F-C543-0CE82AFA6DDD}"/>
              </a:ext>
            </a:extLst>
          </p:cNvPr>
          <p:cNvSpPr txBox="1"/>
          <p:nvPr/>
        </p:nvSpPr>
        <p:spPr>
          <a:xfrm>
            <a:off x="530518" y="4570886"/>
            <a:ext cx="4372786"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dirty="0">
                <a:ln>
                  <a:noFill/>
                </a:ln>
                <a:solidFill>
                  <a:srgbClr val="FFFFFF"/>
                </a:solidFill>
                <a:effectLst/>
                <a:uLnTx/>
                <a:uFillTx/>
                <a:latin typeface="Arial"/>
                <a:ea typeface="+mn-ea"/>
                <a:cs typeface="+mn-cs"/>
              </a:rPr>
              <a:t>Suunnittelujohtaja Siru Koski</a:t>
            </a:r>
            <a:endParaRPr kumimoji="0" lang="fi-FI" sz="18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dirty="0">
                <a:ln>
                  <a:noFill/>
                </a:ln>
                <a:solidFill>
                  <a:srgbClr val="FFFFFF"/>
                </a:solidFill>
                <a:effectLst/>
                <a:uLnTx/>
                <a:uFillTx/>
                <a:latin typeface="Arial"/>
                <a:ea typeface="+mn-ea"/>
                <a:cs typeface="+mn-cs"/>
              </a:rPr>
              <a:t>20.5.2026</a:t>
            </a:r>
            <a:endParaRPr kumimoji="0" lang="fi-FI" sz="1600" b="0" i="0" u="none" strike="noStrike" kern="1200" cap="none" spc="0" normalizeH="0" baseline="0" noProof="0" dirty="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2813078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A63C984-534F-DD9D-64B1-FE19791899E8}"/>
              </a:ext>
            </a:extLst>
          </p:cNvPr>
          <p:cNvSpPr>
            <a:spLocks noGrp="1"/>
          </p:cNvSpPr>
          <p:nvPr>
            <p:ph type="title"/>
          </p:nvPr>
        </p:nvSpPr>
        <p:spPr/>
        <p:txBody>
          <a:bodyPr/>
          <a:lstStyle/>
          <a:p>
            <a:r>
              <a:rPr lang="fi-FI"/>
              <a:t>Lentorata Oy</a:t>
            </a:r>
          </a:p>
        </p:txBody>
      </p:sp>
      <p:sp>
        <p:nvSpPr>
          <p:cNvPr id="4" name="Sisällön paikkamerkki 2">
            <a:extLst>
              <a:ext uri="{FF2B5EF4-FFF2-40B4-BE49-F238E27FC236}">
                <a16:creationId xmlns:a16="http://schemas.microsoft.com/office/drawing/2014/main" id="{B103510B-F7AA-CA47-D74A-34CB1BF56CD9}"/>
              </a:ext>
            </a:extLst>
          </p:cNvPr>
          <p:cNvSpPr>
            <a:spLocks noGrp="1"/>
          </p:cNvSpPr>
          <p:nvPr>
            <p:ph sz="quarter" idx="10"/>
          </p:nvPr>
        </p:nvSpPr>
        <p:spPr>
          <a:xfrm>
            <a:off x="5438775" y="1001713"/>
            <a:ext cx="5895975" cy="4484687"/>
          </a:xfrm>
        </p:spPr>
        <p:txBody>
          <a:bodyPr/>
          <a:lstStyle/>
          <a:p>
            <a:pPr marL="0" indent="0">
              <a:spcAft>
                <a:spcPts val="600"/>
              </a:spcAft>
              <a:buNone/>
            </a:pPr>
            <a:endParaRPr lang="fi-FI" sz="1400" dirty="0"/>
          </a:p>
          <a:p>
            <a:pPr marL="0" indent="0">
              <a:spcAft>
                <a:spcPts val="600"/>
              </a:spcAft>
              <a:buNone/>
            </a:pPr>
            <a:endParaRPr lang="fi-FI" sz="1400" dirty="0"/>
          </a:p>
          <a:p>
            <a:pPr>
              <a:spcAft>
                <a:spcPts val="600"/>
              </a:spcAft>
            </a:pPr>
            <a:r>
              <a:rPr lang="fi-FI" sz="1800" dirty="0"/>
              <a:t>Hankeyhtiö, joka perustettiin vuonna 2020.</a:t>
            </a:r>
          </a:p>
          <a:p>
            <a:pPr>
              <a:spcAft>
                <a:spcPts val="600"/>
              </a:spcAft>
            </a:pPr>
            <a:r>
              <a:rPr lang="fi-FI" sz="1800" dirty="0"/>
              <a:t>Yhtiön tehtävänä on suunnitella uusi ratayhteys, Lentorata, rakentamisvalmiuteen saakka.</a:t>
            </a:r>
          </a:p>
          <a:p>
            <a:pPr>
              <a:spcAft>
                <a:spcPts val="600"/>
              </a:spcAft>
            </a:pPr>
            <a:r>
              <a:rPr lang="fi-FI" sz="1800" dirty="0"/>
              <a:t>Lentorata-hanke on osa yhtiön alkuperäistä toimeksiantoa suunnitella uusi nopea yhteys Helsingistä Helsinki-Vantaan lentoaseman kautta Tampereelle.</a:t>
            </a:r>
          </a:p>
          <a:p>
            <a:pPr>
              <a:spcAft>
                <a:spcPts val="600"/>
              </a:spcAft>
            </a:pPr>
            <a:r>
              <a:rPr lang="fi-FI" sz="1800" dirty="0"/>
              <a:t>Omistajat: </a:t>
            </a:r>
          </a:p>
          <a:p>
            <a:pPr lvl="2">
              <a:spcAft>
                <a:spcPts val="600"/>
              </a:spcAft>
            </a:pPr>
            <a:r>
              <a:rPr lang="fi-FI" sz="1800" dirty="0"/>
              <a:t>Suomen valtio 70 %, </a:t>
            </a:r>
          </a:p>
          <a:p>
            <a:pPr lvl="2">
              <a:spcAft>
                <a:spcPts val="600"/>
              </a:spcAft>
            </a:pPr>
            <a:r>
              <a:rPr lang="fi-FI" sz="1800" dirty="0"/>
              <a:t>Helsinki, Vantaa ja Lahti 30 %.</a:t>
            </a:r>
          </a:p>
          <a:p>
            <a:pPr>
              <a:spcAft>
                <a:spcPts val="600"/>
              </a:spcAft>
            </a:pPr>
            <a:r>
              <a:rPr lang="fi-FI" sz="1800" dirty="0"/>
              <a:t>Kesäkuussa 2023 Euroopan komissio myönsi Verkkojen Eurooppa -välineen (</a:t>
            </a:r>
            <a:r>
              <a:rPr lang="fi-FI" sz="1800" dirty="0" err="1"/>
              <a:t>Connecting</a:t>
            </a:r>
            <a:r>
              <a:rPr lang="fi-FI" sz="1800" dirty="0"/>
              <a:t> Europe </a:t>
            </a:r>
            <a:r>
              <a:rPr lang="fi-FI" sz="1800" dirty="0" err="1"/>
              <a:t>Facility</a:t>
            </a:r>
            <a:r>
              <a:rPr lang="fi-FI" sz="1800" dirty="0"/>
              <a:t>, CEF) rahoitusta 2,69 milj. € Lentoradan ympäristövaikutusten arviointiin, esiselvitystyöhön sekä yleissuunnitelman laadintaan.</a:t>
            </a:r>
            <a:endParaRPr lang="fi-FI" sz="1400" dirty="0"/>
          </a:p>
          <a:p>
            <a:endParaRPr lang="fi-FI" dirty="0"/>
          </a:p>
        </p:txBody>
      </p:sp>
    </p:spTree>
    <p:extLst>
      <p:ext uri="{BB962C8B-B14F-4D97-AF65-F5344CB8AC3E}">
        <p14:creationId xmlns:p14="http://schemas.microsoft.com/office/powerpoint/2010/main" val="2919578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63C2482-5AF3-AEEF-2EE4-786B532FDCF4}"/>
              </a:ext>
            </a:extLst>
          </p:cNvPr>
          <p:cNvSpPr>
            <a:spLocks noGrp="1"/>
          </p:cNvSpPr>
          <p:nvPr>
            <p:ph type="body" sz="quarter" idx="10"/>
          </p:nvPr>
        </p:nvSpPr>
        <p:spPr/>
        <p:txBody>
          <a:bodyPr/>
          <a:lstStyle/>
          <a:p>
            <a:r>
              <a:rPr lang="fi-FI" noProof="0" dirty="0"/>
              <a:t>Lentoradan tavoitteena on mahdollistaa suora kaukojunayhteys Helsinki-Vantaan lentoasemalle, jolloin se parantaa Suomen kansainvälistä saavutettavuutta. </a:t>
            </a:r>
          </a:p>
          <a:p>
            <a:r>
              <a:rPr lang="fi-FI" noProof="0" dirty="0"/>
              <a:t>Lentorata mahdollistaa myös nykyistä nopeamman lähijunayhteyden lentoasemalle, jolloin se parantaa saavutettavuutta erityisesti muualta Helsingin seudulta.</a:t>
            </a:r>
          </a:p>
          <a:p>
            <a:r>
              <a:rPr lang="fi-FI" noProof="0" dirty="0"/>
              <a:t>Lisäksi Lentorata tuo lisäkapasiteettia pääradan ruuhkaiselle Pasila–Kerava-välille.</a:t>
            </a:r>
            <a:r>
              <a:rPr lang="fi-FI" sz="2000" b="1" dirty="0">
                <a:solidFill>
                  <a:schemeClr val="tx2">
                    <a:lumMod val="100000"/>
                  </a:schemeClr>
                </a:solidFill>
              </a:rPr>
              <a:t> </a:t>
            </a:r>
          </a:p>
          <a:p>
            <a:pPr marL="0" indent="0">
              <a:buNone/>
            </a:pPr>
            <a:endParaRPr lang="fi-FI" sz="2000" b="1" dirty="0">
              <a:solidFill>
                <a:schemeClr val="tx2">
                  <a:lumMod val="100000"/>
                </a:schemeClr>
              </a:solidFill>
            </a:endParaRPr>
          </a:p>
          <a:p>
            <a:pPr marL="0" indent="0">
              <a:buNone/>
            </a:pPr>
            <a:r>
              <a:rPr lang="fi-FI" dirty="0"/>
              <a:t> ​</a:t>
            </a:r>
          </a:p>
          <a:p>
            <a:pPr marL="0" indent="0">
              <a:buNone/>
            </a:pPr>
            <a:endParaRPr lang="fi-FI" noProof="0" dirty="0"/>
          </a:p>
          <a:p>
            <a:pPr marL="0" indent="0">
              <a:buNone/>
            </a:pPr>
            <a:endParaRPr lang="fi-FI" dirty="0"/>
          </a:p>
          <a:p>
            <a:pPr marL="0" indent="0">
              <a:buNone/>
            </a:pPr>
            <a:endParaRPr lang="fi-FI" noProof="0" dirty="0"/>
          </a:p>
          <a:p>
            <a:pPr marL="0" indent="0">
              <a:buNone/>
            </a:pPr>
            <a:endParaRPr lang="fi-FI" dirty="0"/>
          </a:p>
          <a:p>
            <a:pPr marL="0" indent="0">
              <a:buNone/>
            </a:pPr>
            <a:endParaRPr lang="fi-FI" noProof="0" dirty="0"/>
          </a:p>
        </p:txBody>
      </p:sp>
      <p:sp>
        <p:nvSpPr>
          <p:cNvPr id="4" name="Title 3">
            <a:extLst>
              <a:ext uri="{FF2B5EF4-FFF2-40B4-BE49-F238E27FC236}">
                <a16:creationId xmlns:a16="http://schemas.microsoft.com/office/drawing/2014/main" id="{2AEECFAE-A35E-7EFD-A10E-23644AF73951}"/>
              </a:ext>
            </a:extLst>
          </p:cNvPr>
          <p:cNvSpPr>
            <a:spLocks noGrp="1"/>
          </p:cNvSpPr>
          <p:nvPr>
            <p:ph type="title"/>
          </p:nvPr>
        </p:nvSpPr>
        <p:spPr/>
        <p:txBody>
          <a:bodyPr/>
          <a:lstStyle/>
          <a:p>
            <a:r>
              <a:rPr lang="fi-FI" b="1" noProof="0" dirty="0"/>
              <a:t>Hankkeen tavoitteet </a:t>
            </a:r>
          </a:p>
        </p:txBody>
      </p:sp>
      <p:sp>
        <p:nvSpPr>
          <p:cNvPr id="3" name="Kuvan paikkamerkki 2">
            <a:extLst>
              <a:ext uri="{FF2B5EF4-FFF2-40B4-BE49-F238E27FC236}">
                <a16:creationId xmlns:a16="http://schemas.microsoft.com/office/drawing/2014/main" id="{EBABD919-09EB-442D-ADF3-59C41026CDCE}"/>
              </a:ext>
            </a:extLst>
          </p:cNvPr>
          <p:cNvSpPr>
            <a:spLocks noGrp="1"/>
          </p:cNvSpPr>
          <p:nvPr>
            <p:ph type="pic" sz="quarter" idx="11"/>
          </p:nvPr>
        </p:nvSpPr>
        <p:spPr/>
        <p:txBody>
          <a:bodyPr/>
          <a:lstStyle/>
          <a:p>
            <a:endParaRPr lang="fi-FI"/>
          </a:p>
        </p:txBody>
      </p:sp>
      <p:pic>
        <p:nvPicPr>
          <p:cNvPr id="3078" name="Picture 6" descr="Kuva, joka sisältää kohteen piha-, taivas, ruoho, rata&#10;&#10;Tekoälyllä luotu sisältö voi olla virheellistä.">
            <a:extLst>
              <a:ext uri="{FF2B5EF4-FFF2-40B4-BE49-F238E27FC236}">
                <a16:creationId xmlns:a16="http://schemas.microsoft.com/office/drawing/2014/main" id="{F201AD00-FC6A-9B8A-1C2E-16D76835BA4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541" r="34541"/>
          <a:stretch>
            <a:fillRect/>
          </a:stretch>
        </p:blipFill>
        <p:spPr bwMode="auto">
          <a:xfrm>
            <a:off x="3136393" y="238133"/>
            <a:ext cx="9055607" cy="5707922"/>
          </a:xfrm>
          <a:prstGeom prst="rect">
            <a:avLst/>
          </a:prstGeom>
          <a:noFill/>
          <a:extLst>
            <a:ext uri="{909E8E84-426E-40DD-AFC4-6F175D3DCCD1}">
              <a14:hiddenFill xmlns:a14="http://schemas.microsoft.com/office/drawing/2010/main">
                <a:solidFill>
                  <a:srgbClr val="FFFFFF"/>
                </a:solidFill>
              </a14:hiddenFill>
            </a:ext>
          </a:extLst>
        </p:spPr>
      </p:pic>
      <p:sp>
        <p:nvSpPr>
          <p:cNvPr id="2" name="Tekstiruutu 7">
            <a:extLst>
              <a:ext uri="{FF2B5EF4-FFF2-40B4-BE49-F238E27FC236}">
                <a16:creationId xmlns:a16="http://schemas.microsoft.com/office/drawing/2014/main" id="{824EFD52-EFE9-4BC3-7B09-09D1DCF6B2FE}"/>
              </a:ext>
            </a:extLst>
          </p:cNvPr>
          <p:cNvSpPr txBox="1"/>
          <p:nvPr/>
        </p:nvSpPr>
        <p:spPr>
          <a:xfrm>
            <a:off x="6291072" y="5947497"/>
            <a:ext cx="3480111"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1" u="none" strike="noStrike" kern="1200" cap="none" spc="0" normalizeH="0" baseline="0" noProof="0" dirty="0">
                <a:ln>
                  <a:noFill/>
                </a:ln>
                <a:solidFill>
                  <a:srgbClr val="000000"/>
                </a:solidFill>
                <a:effectLst/>
                <a:uLnTx/>
                <a:uFillTx/>
                <a:latin typeface="Arial"/>
                <a:ea typeface="+mn-ea"/>
                <a:cs typeface="Calibri"/>
                <a:sym typeface="Trebuchet MS" panose="020B0603020202020204" pitchFamily="34" charset="0"/>
              </a:rPr>
              <a:t>Havainnekuva </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34413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CC606B0C-F38D-760C-8B75-7A6B907DDB1B}"/>
              </a:ext>
            </a:extLst>
          </p:cNvPr>
          <p:cNvSpPr>
            <a:spLocks noGrp="1"/>
          </p:cNvSpPr>
          <p:nvPr>
            <p:ph type="title"/>
          </p:nvPr>
        </p:nvSpPr>
        <p:spPr/>
        <p:txBody>
          <a:bodyPr/>
          <a:lstStyle/>
          <a:p>
            <a:r>
              <a:rPr lang="fi-FI"/>
              <a:t>Lentorata lyhyesti</a:t>
            </a:r>
          </a:p>
        </p:txBody>
      </p:sp>
      <p:sp>
        <p:nvSpPr>
          <p:cNvPr id="5" name="Content Placeholder 2">
            <a:extLst>
              <a:ext uri="{FF2B5EF4-FFF2-40B4-BE49-F238E27FC236}">
                <a16:creationId xmlns:a16="http://schemas.microsoft.com/office/drawing/2014/main" id="{322E5D2E-F8AF-8A93-A74E-8C9A183A1872}"/>
              </a:ext>
            </a:extLst>
          </p:cNvPr>
          <p:cNvSpPr txBox="1">
            <a:spLocks/>
          </p:cNvSpPr>
          <p:nvPr/>
        </p:nvSpPr>
        <p:spPr>
          <a:xfrm>
            <a:off x="390215" y="1058747"/>
            <a:ext cx="6609532" cy="4484914"/>
          </a:xfrm>
          <a:prstGeom prst="rect">
            <a:avLst/>
          </a:prstGeom>
        </p:spPr>
        <p:txBody>
          <a:bodyPr vert="horz" lIns="0" tIns="45720" rIns="91440" bIns="45720" rtlCol="0" anchor="t">
            <a:noAutofit/>
          </a:bodyPr>
          <a:lstStyle>
            <a:lvl1pPr marL="271463" indent="-271463" algn="l" defTabSz="914400" rtl="0" eaLnBrk="1" latinLnBrk="0" hangingPunct="1">
              <a:lnSpc>
                <a:spcPct val="100000"/>
              </a:lnSpc>
              <a:spcBef>
                <a:spcPts val="0"/>
              </a:spcBef>
              <a:spcAft>
                <a:spcPts val="600"/>
              </a:spcAft>
              <a:buClr>
                <a:schemeClr val="tx2"/>
              </a:buClr>
              <a:buFont typeface="Wingdings" pitchFamily="2" charset="2"/>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1pPr>
            <a:lvl2pPr marL="320040" indent="-219456" algn="l" defTabSz="914400" rtl="0" eaLnBrk="1" latinLnBrk="0" hangingPunct="1">
              <a:lnSpc>
                <a:spcPct val="100000"/>
              </a:lnSpc>
              <a:spcBef>
                <a:spcPts val="0"/>
              </a:spcBef>
              <a:spcAft>
                <a:spcPts val="600"/>
              </a:spcAft>
              <a:buClr>
                <a:schemeClr val="tx2"/>
              </a:buClr>
              <a:buFont typeface="Arial" panose="020B0604020202020204" pitchFamily="34" charset="0"/>
              <a:buChar char="•"/>
              <a:defRPr lang="en-US" sz="2000" b="0" i="0" kern="1200">
                <a:solidFill>
                  <a:schemeClr val="tx1"/>
                </a:solidFill>
                <a:latin typeface="+mn-lt"/>
                <a:ea typeface="+mn-ea"/>
                <a:cs typeface="Calibri" panose="020F0502020204030204" pitchFamily="34" charset="0"/>
                <a:sym typeface="Trebuchet MS" panose="020B0603020202020204" pitchFamily="34" charset="0"/>
              </a:defRPr>
            </a:lvl2pPr>
            <a:lvl3pPr marL="649224" marR="0" indent="-219456" algn="l" defTabSz="914400" rtl="0" eaLnBrk="1" fontAlgn="auto" latinLnBrk="0" hangingPunct="1">
              <a:lnSpc>
                <a:spcPct val="100000"/>
              </a:lnSpc>
              <a:spcBef>
                <a:spcPts val="0"/>
              </a:spcBef>
              <a:spcAft>
                <a:spcPts val="600"/>
              </a:spcAft>
              <a:buClr>
                <a:schemeClr val="tx2"/>
              </a:buClr>
              <a:buSzTx/>
              <a:buFont typeface="Trebuchet MS" panose="020B0603020202020204" pitchFamily="34" charset="0"/>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00000"/>
              </a:lnSpc>
              <a:spcBef>
                <a:spcPts val="0"/>
              </a:spcBef>
              <a:spcAft>
                <a:spcPts val="600"/>
              </a:spcAft>
              <a:buClr>
                <a:schemeClr val="tx2"/>
              </a:buClr>
              <a:buFont typeface="Arial" panose="020B0604020202020204" pitchFamily="34" charset="0"/>
              <a:buNone/>
              <a:defRPr lang="en-US" sz="2800" b="0" i="0" kern="1200">
                <a:solidFill>
                  <a:schemeClr val="tx2"/>
                </a:solidFill>
                <a:latin typeface="+mn-lt"/>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600"/>
              </a:spcAft>
              <a:buClrTx/>
              <a:buFont typeface="Arial" panose="020B0604020202020204" pitchFamily="34" charset="0"/>
              <a:buChar char="​"/>
              <a:defRPr lang="en-US" sz="2800" b="0" i="0" kern="1200">
                <a:solidFill>
                  <a:schemeClr val="tx1"/>
                </a:solidFill>
                <a:latin typeface="+mn-lt"/>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0" i="0" kern="1200" baseline="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0" i="0" kern="1200" baseline="0" smtClean="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0" i="0" kern="1200" baseline="0" dirty="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9pPr>
          </a:lstStyle>
          <a:p>
            <a:pPr marL="271145" marR="0" lvl="0" indent="-271145" algn="l"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r>
              <a:rPr kumimoji="0" lang="fi-FI" sz="1800" b="0" i="0" u="none" strike="noStrike" kern="1200" cap="none" spc="0" normalizeH="0" baseline="0" noProof="0" dirty="0">
                <a:ln>
                  <a:noFill/>
                </a:ln>
                <a:solidFill>
                  <a:srgbClr val="000000"/>
                </a:solidFill>
                <a:effectLst/>
                <a:uLnTx/>
                <a:uFillTx/>
                <a:latin typeface="Arial"/>
                <a:ea typeface="Calibri"/>
                <a:cs typeface="Aptos" panose="020B0004020202020204" pitchFamily="34" charset="0"/>
                <a:sym typeface="Trebuchet MS" panose="020B0603020202020204" pitchFamily="34" charset="0"/>
              </a:rPr>
              <a:t>Lentorata on uusi</a:t>
            </a:r>
            <a:r>
              <a:rPr kumimoji="0" lang="fi-FI" sz="1800" b="0" i="0" u="none" strike="noStrike" kern="1200" cap="none" spc="0" normalizeH="0" baseline="0" noProof="0" dirty="0">
                <a:ln>
                  <a:noFill/>
                </a:ln>
                <a:solidFill>
                  <a:srgbClr val="000000"/>
                </a:solidFill>
                <a:effectLst/>
                <a:uLnTx/>
                <a:uFillTx/>
                <a:latin typeface="Arial"/>
                <a:ea typeface="+mn-ea"/>
                <a:cs typeface="Calibri"/>
                <a:sym typeface="Trebuchet MS" panose="020B0603020202020204" pitchFamily="34" charset="0"/>
              </a:rPr>
              <a:t>, kaksiraiteinen henkilöliikenteen rata, joka yhdistää Helsinki-Vantaan lentoaseman kaukojunaliikenteen piiriin.</a:t>
            </a:r>
            <a:r>
              <a:rPr kumimoji="0" lang="fi-FI" sz="1800" b="0" i="0" u="none" strike="noStrike" kern="1200" cap="none" spc="0" normalizeH="0" baseline="0" noProof="0" dirty="0">
                <a:ln>
                  <a:noFill/>
                </a:ln>
                <a:solidFill>
                  <a:srgbClr val="467886"/>
                </a:solidFill>
                <a:effectLst/>
                <a:uLnTx/>
                <a:uFillTx/>
                <a:latin typeface="Arial"/>
                <a:ea typeface="+mn-ea"/>
                <a:cs typeface="Calibri"/>
                <a:sym typeface="Trebuchet MS" panose="020B0603020202020204" pitchFamily="34" charset="0"/>
              </a:rPr>
              <a:t> </a:t>
            </a:r>
          </a:p>
          <a:p>
            <a:pPr marL="271145" marR="0" lvl="0" indent="-271145" algn="l"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r>
              <a:rPr kumimoji="0" lang="fi-FI" sz="1800" b="0" i="0" u="none" strike="noStrike" kern="1200" cap="none" spc="0" normalizeH="0" baseline="0" noProof="0" dirty="0">
                <a:ln>
                  <a:noFill/>
                </a:ln>
                <a:solidFill>
                  <a:srgbClr val="000000"/>
                </a:solidFill>
                <a:effectLst/>
                <a:uLnTx/>
                <a:uFillTx/>
                <a:latin typeface="Arial"/>
                <a:ea typeface="Calibri"/>
                <a:cs typeface="Calibri" panose="020F0502020204030204" pitchFamily="34" charset="0"/>
                <a:sym typeface="Trebuchet MS" panose="020B0603020202020204" pitchFamily="34" charset="0"/>
              </a:rPr>
              <a:t>Helsingin keskustasta matka-aika lentoasemalle lyhenee 14 minuuttia verrattuna Kehäradan juniin. ​</a:t>
            </a:r>
          </a:p>
          <a:p>
            <a:pPr marL="271145" marR="0" lvl="0" indent="-271145" algn="l"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r>
              <a:rPr kumimoji="0" lang="fi-FI" sz="1800" b="0" i="0" u="none" strike="noStrike" kern="1200" cap="none" spc="0" normalizeH="0" baseline="0" noProof="0" dirty="0">
                <a:ln>
                  <a:noFill/>
                </a:ln>
                <a:solidFill>
                  <a:srgbClr val="000000"/>
                </a:solidFill>
                <a:effectLst/>
                <a:uLnTx/>
                <a:uFillTx/>
                <a:latin typeface="Arial"/>
                <a:ea typeface="Calibri"/>
                <a:cs typeface="Calibri" panose="020F0502020204030204" pitchFamily="34" charset="0"/>
                <a:sym typeface="Trebuchet MS" panose="020B0603020202020204" pitchFamily="34" charset="0"/>
              </a:rPr>
              <a:t>Valtakunnallisilla junamatkoilla Lentorata lyhentää kaukojunan koettua matka-aikaa Helsinki-Vantaan lentoasemalle Tampereen ja Lahden suunnista 26 minuuttia.</a:t>
            </a:r>
          </a:p>
          <a:p>
            <a:pPr marL="271145" marR="0" lvl="0" indent="-271145" algn="l"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r>
              <a:rPr kumimoji="0" lang="fi-FI" sz="1800" b="0" i="0" u="none" strike="noStrike" kern="1200" cap="none" spc="0" normalizeH="0" baseline="0" noProof="0" dirty="0">
                <a:ln>
                  <a:noFill/>
                </a:ln>
                <a:solidFill>
                  <a:srgbClr val="000000"/>
                </a:solidFill>
                <a:effectLst/>
                <a:uLnTx/>
                <a:uFillTx/>
                <a:latin typeface="Arial"/>
                <a:ea typeface="Calibri"/>
                <a:cs typeface="Aptos" panose="020B0004020202020204" pitchFamily="34" charset="0"/>
                <a:sym typeface="Trebuchet MS" panose="020B0603020202020204" pitchFamily="34" charset="0"/>
              </a:rPr>
              <a:t>Suunnitteilla oleva ratayhteys </a:t>
            </a:r>
            <a:r>
              <a:rPr kumimoji="0" lang="fi-FI" sz="1800" b="0" i="0" u="none" strike="noStrike" kern="1200" cap="none" spc="0" normalizeH="0" baseline="0" noProof="0" dirty="0">
                <a:ln>
                  <a:noFill/>
                </a:ln>
                <a:solidFill>
                  <a:srgbClr val="000000"/>
                </a:solidFill>
                <a:effectLst/>
                <a:uLnTx/>
                <a:uFillTx/>
                <a:latin typeface="Arial"/>
                <a:ea typeface="+mn-ea"/>
                <a:cs typeface="Calibri"/>
                <a:sym typeface="Trebuchet MS" panose="020B0603020202020204" pitchFamily="34" charset="0"/>
              </a:rPr>
              <a:t>erkaantuu Pasilan jälkeen pääradasta, kulkee tunnelissa Helsinki-Vantaan lentoaseman kautta ja liittyy päärataan Keravalla, Savion aseman pohjoispuolella.​</a:t>
            </a:r>
          </a:p>
          <a:p>
            <a:pPr marL="271145" marR="0" lvl="0" indent="-271145" algn="l"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r>
              <a:rPr kumimoji="0" lang="fi-FI" sz="1800" b="0" i="0" u="none" strike="noStrike" kern="1200" cap="none" spc="0" normalizeH="0" baseline="0" noProof="0" dirty="0">
                <a:ln>
                  <a:noFill/>
                </a:ln>
                <a:solidFill>
                  <a:srgbClr val="000000"/>
                </a:solidFill>
                <a:effectLst/>
                <a:uLnTx/>
                <a:uFillTx/>
                <a:latin typeface="Arial"/>
                <a:ea typeface="+mn-ea"/>
                <a:cs typeface="Calibri"/>
                <a:sym typeface="Trebuchet MS" panose="020B0603020202020204" pitchFamily="34" charset="0"/>
              </a:rPr>
              <a:t>Pituus 25 kilometriä, josta 24 kilometriä</a:t>
            </a:r>
            <a:r>
              <a:rPr kumimoji="0" lang="fi-FI" sz="1800" b="0" i="0" u="none" strike="noStrike" kern="1200" cap="none" spc="0" normalizeH="0" baseline="0" noProof="0" dirty="0">
                <a:ln>
                  <a:noFill/>
                </a:ln>
                <a:solidFill>
                  <a:srgbClr val="FF0000"/>
                </a:solidFill>
                <a:effectLst/>
                <a:uLnTx/>
                <a:uFillTx/>
                <a:latin typeface="Arial"/>
                <a:ea typeface="+mn-ea"/>
                <a:cs typeface="Calibri"/>
                <a:sym typeface="Trebuchet MS" panose="020B0603020202020204" pitchFamily="34" charset="0"/>
              </a:rPr>
              <a:t> </a:t>
            </a:r>
            <a:r>
              <a:rPr kumimoji="0" lang="fi-FI" sz="1800" b="0" i="0" u="none" strike="noStrike" kern="1200" cap="none" spc="0" normalizeH="0" baseline="0" noProof="0" dirty="0">
                <a:ln>
                  <a:noFill/>
                </a:ln>
                <a:solidFill>
                  <a:srgbClr val="000000"/>
                </a:solidFill>
                <a:effectLst/>
                <a:uLnTx/>
                <a:uFillTx/>
                <a:latin typeface="Arial"/>
                <a:ea typeface="+mn-ea"/>
                <a:cs typeface="Calibri"/>
                <a:sym typeface="Trebuchet MS" panose="020B0603020202020204" pitchFamily="34" charset="0"/>
              </a:rPr>
              <a:t>sijoittuu tunneliin. </a:t>
            </a:r>
          </a:p>
          <a:p>
            <a:pPr marL="271145" marR="0" lvl="0" indent="-271145" algn="l"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r>
              <a:rPr kumimoji="0" lang="fi-FI" sz="1800" b="0" i="0" u="none" strike="noStrike" kern="1200" cap="none" spc="0" normalizeH="0" baseline="0" noProof="0" dirty="0">
                <a:ln>
                  <a:noFill/>
                </a:ln>
                <a:solidFill>
                  <a:srgbClr val="000000"/>
                </a:solidFill>
                <a:effectLst/>
                <a:uLnTx/>
                <a:uFillTx/>
                <a:latin typeface="Arial"/>
                <a:ea typeface="+mn-ea"/>
                <a:cs typeface="Calibri"/>
                <a:sym typeface="Trebuchet MS" panose="020B0603020202020204" pitchFamily="34" charset="0"/>
              </a:rPr>
              <a:t>Alueella on neljä kuntaa: Helsinki, Vantaa, Tuusula ja Kerava.</a:t>
            </a:r>
          </a:p>
          <a:p>
            <a:pPr marL="0" marR="0" lvl="0" indent="0" algn="l" defTabSz="914400" rtl="0" eaLnBrk="1" fontAlgn="auto" latinLnBrk="0" hangingPunct="1">
              <a:lnSpc>
                <a:spcPct val="100000"/>
              </a:lnSpc>
              <a:spcBef>
                <a:spcPts val="0"/>
              </a:spcBef>
              <a:spcAft>
                <a:spcPts val="600"/>
              </a:spcAft>
              <a:buClr>
                <a:srgbClr val="0033CC"/>
              </a:buClr>
              <a:buSzTx/>
              <a:buFont typeface="Wingdings" pitchFamily="2" charset="2"/>
              <a:buNone/>
              <a:tabLst/>
              <a:defRPr/>
            </a:pPr>
            <a:r>
              <a:rPr kumimoji="0" lang="fi-FI" sz="1800" b="0" i="1" u="none" strike="noStrike" kern="1200" cap="none" spc="0" normalizeH="0" baseline="0" noProof="0" dirty="0">
                <a:ln>
                  <a:noFill/>
                </a:ln>
                <a:solidFill>
                  <a:srgbClr val="000000"/>
                </a:solidFill>
                <a:effectLst/>
                <a:uLnTx/>
                <a:uFillTx/>
                <a:latin typeface="Arial"/>
                <a:ea typeface="+mn-ea"/>
                <a:cs typeface="Arial"/>
                <a:sym typeface="Trebuchet MS" panose="020B0603020202020204" pitchFamily="34" charset="0"/>
              </a:rPr>
              <a:t>Lentoradan yleissuunnitelmassa esitettävä linjaus löytyy täältä </a:t>
            </a:r>
            <a:r>
              <a:rPr kumimoji="0" lang="fi-FI" sz="1800" b="0" i="1" u="none" strike="noStrike" kern="1200" cap="none" spc="0" normalizeH="0" baseline="0" noProof="0" dirty="0">
                <a:ln>
                  <a:noFill/>
                </a:ln>
                <a:solidFill>
                  <a:srgbClr val="000000"/>
                </a:solidFill>
                <a:effectLst/>
                <a:uLnTx/>
                <a:uFillTx/>
                <a:latin typeface="Arial"/>
                <a:ea typeface="+mn-lt"/>
                <a:cs typeface="Arial"/>
                <a:sym typeface="Trebuchet MS" panose="020B0603020202020204" pitchFamily="34" charset="0"/>
                <a:hlinkClick r:id="rId3"/>
              </a:rPr>
              <a:t>Vektor.io Public</a:t>
            </a:r>
            <a:endParaRPr kumimoji="0" lang="fi-FI" sz="18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Trebuchet MS" panose="020B0603020202020204" pitchFamily="34" charset="0"/>
            </a:endParaRPr>
          </a:p>
          <a:p>
            <a:pPr marL="0" marR="0" lvl="0" indent="0" algn="l" defTabSz="914400" rtl="0" eaLnBrk="1" fontAlgn="auto" latinLnBrk="0" hangingPunct="1">
              <a:lnSpc>
                <a:spcPct val="100000"/>
              </a:lnSpc>
              <a:spcBef>
                <a:spcPts val="0"/>
              </a:spcBef>
              <a:spcAft>
                <a:spcPts val="600"/>
              </a:spcAft>
              <a:buClr>
                <a:srgbClr val="0033CC"/>
              </a:buClr>
              <a:buSzTx/>
              <a:buFont typeface="Wingdings" pitchFamily="2" charset="2"/>
              <a:buNone/>
              <a:tabLst/>
              <a:defRPr/>
            </a:pPr>
            <a:r>
              <a:rPr kumimoji="0" lang="fi-FI" sz="1800" b="0" i="0" u="none" strike="noStrike" kern="1200" cap="none" spc="0" normalizeH="0" baseline="0" noProof="0" dirty="0">
                <a:ln>
                  <a:noFill/>
                </a:ln>
                <a:solidFill>
                  <a:srgbClr val="000000"/>
                </a:solidFill>
                <a:effectLst/>
                <a:uLnTx/>
                <a:uFillTx/>
                <a:latin typeface="Arial"/>
                <a:ea typeface="+mn-ea"/>
                <a:cs typeface="Calibri"/>
                <a:sym typeface="Trebuchet MS" panose="020B0603020202020204" pitchFamily="34" charset="0"/>
              </a:rPr>
              <a:t>​</a:t>
            </a:r>
          </a:p>
        </p:txBody>
      </p:sp>
      <p:pic>
        <p:nvPicPr>
          <p:cNvPr id="6" name="Kuva 5" descr="Kuva, joka sisältää kohteen kartta, teksti, atlas&#10;&#10;Tekoälyn generoima sisältö voi olla virheellistä.">
            <a:extLst>
              <a:ext uri="{FF2B5EF4-FFF2-40B4-BE49-F238E27FC236}">
                <a16:creationId xmlns:a16="http://schemas.microsoft.com/office/drawing/2014/main" id="{6CE2568E-376C-6882-67F5-EDC930F34B95}"/>
              </a:ext>
            </a:extLst>
          </p:cNvPr>
          <p:cNvPicPr>
            <a:picLocks noChangeAspect="1"/>
          </p:cNvPicPr>
          <p:nvPr/>
        </p:nvPicPr>
        <p:blipFill>
          <a:blip r:embed="rId4"/>
          <a:stretch>
            <a:fillRect/>
          </a:stretch>
        </p:blipFill>
        <p:spPr>
          <a:xfrm>
            <a:off x="7342602" y="0"/>
            <a:ext cx="4849398" cy="6858000"/>
          </a:xfrm>
          <a:prstGeom prst="rect">
            <a:avLst/>
          </a:prstGeom>
        </p:spPr>
      </p:pic>
    </p:spTree>
    <p:extLst>
      <p:ext uri="{BB962C8B-B14F-4D97-AF65-F5344CB8AC3E}">
        <p14:creationId xmlns:p14="http://schemas.microsoft.com/office/powerpoint/2010/main" val="29908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0D7F2-04F0-F2EA-D696-B78C6F41A8BD}"/>
            </a:ext>
          </a:extLst>
        </p:cNvPr>
        <p:cNvGrpSpPr/>
        <p:nvPr/>
      </p:nvGrpSpPr>
      <p:grpSpPr>
        <a:xfrm>
          <a:off x="0" y="0"/>
          <a:ext cx="0" cy="0"/>
          <a:chOff x="0" y="0"/>
          <a:chExt cx="0" cy="0"/>
        </a:xfrm>
      </p:grpSpPr>
      <p:pic>
        <p:nvPicPr>
          <p:cNvPr id="19" name="Graphic 18">
            <a:extLst>
              <a:ext uri="{FF2B5EF4-FFF2-40B4-BE49-F238E27FC236}">
                <a16:creationId xmlns:a16="http://schemas.microsoft.com/office/drawing/2014/main" id="{961367EB-6839-F0ED-5406-8F07EB79843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28185" y="3074612"/>
            <a:ext cx="10379761" cy="2469882"/>
          </a:xfrm>
          <a:prstGeom prst="rect">
            <a:avLst/>
          </a:prstGeom>
        </p:spPr>
      </p:pic>
      <p:sp>
        <p:nvSpPr>
          <p:cNvPr id="3" name="TextBox 2">
            <a:extLst>
              <a:ext uri="{FF2B5EF4-FFF2-40B4-BE49-F238E27FC236}">
                <a16:creationId xmlns:a16="http://schemas.microsoft.com/office/drawing/2014/main" id="{E46D6D2D-BA42-2DFB-0FE5-89B791EE84A1}"/>
              </a:ext>
            </a:extLst>
          </p:cNvPr>
          <p:cNvSpPr txBox="1"/>
          <p:nvPr/>
        </p:nvSpPr>
        <p:spPr>
          <a:xfrm>
            <a:off x="3684912" y="3695991"/>
            <a:ext cx="1214547" cy="649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a:ln>
                  <a:noFill/>
                </a:ln>
                <a:solidFill>
                  <a:srgbClr val="FF5712"/>
                </a:solidFill>
                <a:effectLst/>
                <a:uLnTx/>
                <a:uFillTx/>
                <a:latin typeface="Arial"/>
                <a:ea typeface="+mn-ea"/>
                <a:cs typeface="+mn-cs"/>
              </a:rPr>
              <a:t>3/2024 –</a:t>
            </a:r>
            <a:endParaRPr kumimoji="0" lang="fi-FI" sz="1800" b="1" i="0" u="none" strike="noStrike" kern="1200" cap="none" spc="0" normalizeH="0" baseline="0" noProof="0">
              <a:ln>
                <a:noFill/>
              </a:ln>
              <a:solidFill>
                <a:srgbClr val="FF5712"/>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a:ln>
                  <a:noFill/>
                </a:ln>
                <a:solidFill>
                  <a:srgbClr val="FF5712"/>
                </a:solidFill>
                <a:effectLst/>
                <a:uLnTx/>
                <a:uFillTx/>
                <a:latin typeface="Arial"/>
                <a:ea typeface="+mn-ea"/>
                <a:cs typeface="+mn-cs"/>
              </a:rPr>
              <a:t>1/2026</a:t>
            </a:r>
            <a:endParaRPr kumimoji="0" lang="fi-FI" sz="1800" b="1" i="0" u="none" strike="noStrike" kern="1200" cap="none" spc="0" normalizeH="0" baseline="0" noProof="0">
              <a:ln>
                <a:noFill/>
              </a:ln>
              <a:solidFill>
                <a:srgbClr val="FF5712"/>
              </a:solidFill>
              <a:effectLst/>
              <a:uLnTx/>
              <a:uFillTx/>
              <a:latin typeface="Arial"/>
              <a:ea typeface="+mn-ea"/>
              <a:cs typeface="Arial"/>
            </a:endParaRPr>
          </a:p>
        </p:txBody>
      </p:sp>
      <p:sp>
        <p:nvSpPr>
          <p:cNvPr id="6" name="TextBox 5">
            <a:extLst>
              <a:ext uri="{FF2B5EF4-FFF2-40B4-BE49-F238E27FC236}">
                <a16:creationId xmlns:a16="http://schemas.microsoft.com/office/drawing/2014/main" id="{C6F32D08-AB2C-9099-A655-692810E7D1F2}"/>
              </a:ext>
            </a:extLst>
          </p:cNvPr>
          <p:cNvSpPr txBox="1"/>
          <p:nvPr/>
        </p:nvSpPr>
        <p:spPr>
          <a:xfrm>
            <a:off x="6148039" y="3691547"/>
            <a:ext cx="1214547" cy="649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dirty="0">
                <a:ln>
                  <a:noFill/>
                </a:ln>
                <a:solidFill>
                  <a:srgbClr val="0033CC"/>
                </a:solidFill>
                <a:effectLst/>
                <a:uLnTx/>
                <a:uFillTx/>
                <a:latin typeface="Arial"/>
                <a:ea typeface="+mn-ea"/>
                <a:cs typeface="+mn-cs"/>
              </a:rPr>
              <a:t>2/2026 –</a:t>
            </a:r>
            <a:endParaRPr kumimoji="0" lang="fi-FI" sz="1800" b="1" i="0" u="none" strike="noStrike" kern="1200" cap="none" spc="0" normalizeH="0" baseline="0" noProof="0" dirty="0">
              <a:ln>
                <a:noFill/>
              </a:ln>
              <a:solidFill>
                <a:srgbClr val="0033CC"/>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dirty="0">
                <a:ln>
                  <a:noFill/>
                </a:ln>
                <a:solidFill>
                  <a:srgbClr val="0033CC"/>
                </a:solidFill>
                <a:effectLst/>
                <a:uLnTx/>
                <a:uFillTx/>
                <a:latin typeface="Arial"/>
                <a:ea typeface="+mn-ea"/>
                <a:cs typeface="+mn-cs"/>
              </a:rPr>
              <a:t>1/2028</a:t>
            </a:r>
            <a:endParaRPr kumimoji="0" lang="fi-FI" sz="1800" b="1" i="0" u="none" strike="noStrike" kern="1200" cap="none" spc="0" normalizeH="0" baseline="0" noProof="0" dirty="0">
              <a:ln>
                <a:noFill/>
              </a:ln>
              <a:solidFill>
                <a:srgbClr val="0033CC"/>
              </a:solidFill>
              <a:effectLst/>
              <a:uLnTx/>
              <a:uFillTx/>
              <a:latin typeface="Arial"/>
              <a:ea typeface="+mn-ea"/>
              <a:cs typeface="Arial"/>
            </a:endParaRPr>
          </a:p>
        </p:txBody>
      </p:sp>
      <p:sp>
        <p:nvSpPr>
          <p:cNvPr id="11" name="TextBox 10">
            <a:extLst>
              <a:ext uri="{FF2B5EF4-FFF2-40B4-BE49-F238E27FC236}">
                <a16:creationId xmlns:a16="http://schemas.microsoft.com/office/drawing/2014/main" id="{BB932FC5-13F7-576C-40CD-457038048946}"/>
              </a:ext>
            </a:extLst>
          </p:cNvPr>
          <p:cNvSpPr txBox="1"/>
          <p:nvPr/>
        </p:nvSpPr>
        <p:spPr>
          <a:xfrm>
            <a:off x="9835742" y="4234026"/>
            <a:ext cx="709586" cy="4419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a:ln>
                  <a:noFill/>
                </a:ln>
                <a:solidFill>
                  <a:srgbClr val="10A1D8"/>
                </a:solidFill>
                <a:effectLst/>
                <a:uLnTx/>
                <a:uFillTx/>
                <a:latin typeface="Arial"/>
                <a:ea typeface="+mn-ea"/>
                <a:cs typeface="+mn-cs"/>
              </a:rPr>
              <a:t>2029</a:t>
            </a:r>
          </a:p>
        </p:txBody>
      </p:sp>
      <p:sp>
        <p:nvSpPr>
          <p:cNvPr id="14" name="Title 1">
            <a:extLst>
              <a:ext uri="{FF2B5EF4-FFF2-40B4-BE49-F238E27FC236}">
                <a16:creationId xmlns:a16="http://schemas.microsoft.com/office/drawing/2014/main" id="{C37DFCFC-28E3-7443-D32D-46A20385AB8A}"/>
              </a:ext>
            </a:extLst>
          </p:cNvPr>
          <p:cNvSpPr txBox="1">
            <a:spLocks/>
          </p:cNvSpPr>
          <p:nvPr/>
        </p:nvSpPr>
        <p:spPr>
          <a:xfrm>
            <a:off x="479425" y="420568"/>
            <a:ext cx="11233150" cy="826162"/>
          </a:xfrm>
          <a:prstGeom prst="rect">
            <a:avLst/>
          </a:prstGeom>
        </p:spPr>
        <p:txBody>
          <a:bodyPr/>
          <a:lstStyle>
            <a:lvl1pPr algn="l" defTabSz="914400" rtl="0" eaLnBrk="1" latinLnBrk="0" hangingPunct="1">
              <a:lnSpc>
                <a:spcPct val="90000"/>
              </a:lnSpc>
              <a:spcBef>
                <a:spcPct val="0"/>
              </a:spcBef>
              <a:buNone/>
              <a:defRPr sz="3000" b="1"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000" b="1" i="0" u="none" strike="noStrike" kern="1200" cap="none" spc="0" normalizeH="0" baseline="0" noProof="0">
                <a:ln>
                  <a:noFill/>
                </a:ln>
                <a:solidFill>
                  <a:srgbClr val="0033CC"/>
                </a:solidFill>
                <a:effectLst/>
                <a:uLnTx/>
                <a:uFillTx/>
                <a:latin typeface="Arial Black"/>
                <a:ea typeface="+mj-ea"/>
                <a:cs typeface="+mj-cs"/>
                <a:sym typeface="Trebuchet MS" panose="020B0603020202020204" pitchFamily="34" charset="0"/>
              </a:rPr>
              <a:t>Suunnittelun aikataulu</a:t>
            </a:r>
          </a:p>
        </p:txBody>
      </p:sp>
      <p:sp>
        <p:nvSpPr>
          <p:cNvPr id="20" name="Title 1">
            <a:extLst>
              <a:ext uri="{FF2B5EF4-FFF2-40B4-BE49-F238E27FC236}">
                <a16:creationId xmlns:a16="http://schemas.microsoft.com/office/drawing/2014/main" id="{ED40FB96-62A9-316B-E245-592C20413476}"/>
              </a:ext>
            </a:extLst>
          </p:cNvPr>
          <p:cNvSpPr txBox="1">
            <a:spLocks/>
          </p:cNvSpPr>
          <p:nvPr/>
        </p:nvSpPr>
        <p:spPr>
          <a:xfrm>
            <a:off x="479426" y="1439454"/>
            <a:ext cx="497796" cy="465911"/>
          </a:xfrm>
          <a:prstGeom prst="rect">
            <a:avLst/>
          </a:prstGeom>
        </p:spPr>
        <p:txBody>
          <a:bodyPr/>
          <a:lstStyle>
            <a:lvl1pPr algn="l" defTabSz="914400" rtl="0" eaLnBrk="1" latinLnBrk="0" hangingPunct="1">
              <a:lnSpc>
                <a:spcPct val="90000"/>
              </a:lnSpc>
              <a:spcBef>
                <a:spcPct val="0"/>
              </a:spcBef>
              <a:buNone/>
              <a:defRPr sz="3000" b="1"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000" b="1" i="0" u="none" strike="noStrike" kern="1200" cap="none" spc="0" normalizeH="0" baseline="0" noProof="0">
                <a:ln>
                  <a:noFill/>
                </a:ln>
                <a:solidFill>
                  <a:srgbClr val="00124C"/>
                </a:solidFill>
                <a:effectLst/>
                <a:uLnTx/>
                <a:uFillTx/>
                <a:latin typeface="Arial Black"/>
                <a:ea typeface="+mj-ea"/>
                <a:cs typeface="+mj-cs"/>
                <a:sym typeface="Trebuchet MS" panose="020B0603020202020204" pitchFamily="34" charset="0"/>
              </a:rPr>
              <a:t>1</a:t>
            </a:r>
          </a:p>
        </p:txBody>
      </p:sp>
      <p:sp>
        <p:nvSpPr>
          <p:cNvPr id="21" name="TextBox 20">
            <a:extLst>
              <a:ext uri="{FF2B5EF4-FFF2-40B4-BE49-F238E27FC236}">
                <a16:creationId xmlns:a16="http://schemas.microsoft.com/office/drawing/2014/main" id="{CEEBE638-47A2-B439-BE5F-87C7A6F3896C}"/>
              </a:ext>
            </a:extLst>
          </p:cNvPr>
          <p:cNvSpPr txBox="1"/>
          <p:nvPr/>
        </p:nvSpPr>
        <p:spPr>
          <a:xfrm>
            <a:off x="918014" y="1498016"/>
            <a:ext cx="1644989" cy="1091621"/>
          </a:xfrm>
          <a:prstGeom prst="rect">
            <a:avLst/>
          </a:prstGeom>
          <a:noFill/>
          <a:ln w="28575" cap="rnd">
            <a:solidFill>
              <a:schemeClr val="accent1"/>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00124C"/>
                </a:solidFill>
                <a:effectLst/>
                <a:uLnTx/>
                <a:uFillTx/>
                <a:latin typeface="Arial"/>
                <a:ea typeface="+mn-ea"/>
                <a:cs typeface="+mn-cs"/>
              </a:rPr>
              <a:t>Esiselvitys ja ympäristö-vaikutusten arviointi </a:t>
            </a:r>
          </a:p>
        </p:txBody>
      </p:sp>
      <p:sp>
        <p:nvSpPr>
          <p:cNvPr id="22" name="TextBox 21">
            <a:extLst>
              <a:ext uri="{FF2B5EF4-FFF2-40B4-BE49-F238E27FC236}">
                <a16:creationId xmlns:a16="http://schemas.microsoft.com/office/drawing/2014/main" id="{FE4BC80F-7B29-A021-B15F-9FDC04CFF3FA}"/>
              </a:ext>
            </a:extLst>
          </p:cNvPr>
          <p:cNvSpPr txBox="1"/>
          <p:nvPr/>
        </p:nvSpPr>
        <p:spPr>
          <a:xfrm>
            <a:off x="728324" y="5722869"/>
            <a:ext cx="1212158" cy="649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a:ln>
                  <a:noFill/>
                </a:ln>
                <a:solidFill>
                  <a:srgbClr val="000000"/>
                </a:solidFill>
                <a:effectLst/>
                <a:uLnTx/>
                <a:uFillTx/>
                <a:latin typeface="Arial"/>
                <a:ea typeface="+mn-ea"/>
                <a:cs typeface="+mn-cs"/>
              </a:rPr>
              <a:t>5/20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a:ln>
                  <a:noFill/>
                </a:ln>
                <a:solidFill>
                  <a:srgbClr val="000000"/>
                </a:solidFill>
                <a:effectLst/>
                <a:uLnTx/>
                <a:uFillTx/>
                <a:latin typeface="Arial"/>
                <a:ea typeface="+mn-ea"/>
                <a:cs typeface="+mn-cs"/>
              </a:rPr>
              <a:t>2/2024</a:t>
            </a:r>
          </a:p>
        </p:txBody>
      </p:sp>
      <p:sp>
        <p:nvSpPr>
          <p:cNvPr id="23" name="Title 1">
            <a:extLst>
              <a:ext uri="{FF2B5EF4-FFF2-40B4-BE49-F238E27FC236}">
                <a16:creationId xmlns:a16="http://schemas.microsoft.com/office/drawing/2014/main" id="{8DC4EAB2-AD55-6370-3419-E83FAE029575}"/>
              </a:ext>
            </a:extLst>
          </p:cNvPr>
          <p:cNvSpPr txBox="1">
            <a:spLocks/>
          </p:cNvSpPr>
          <p:nvPr/>
        </p:nvSpPr>
        <p:spPr>
          <a:xfrm>
            <a:off x="2905152" y="1439454"/>
            <a:ext cx="497796" cy="465911"/>
          </a:xfrm>
          <a:prstGeom prst="rect">
            <a:avLst/>
          </a:prstGeom>
        </p:spPr>
        <p:txBody>
          <a:bodyPr/>
          <a:lstStyle>
            <a:lvl1pPr algn="l" defTabSz="914400" rtl="0" eaLnBrk="1" latinLnBrk="0" hangingPunct="1">
              <a:lnSpc>
                <a:spcPct val="90000"/>
              </a:lnSpc>
              <a:spcBef>
                <a:spcPct val="0"/>
              </a:spcBef>
              <a:buNone/>
              <a:defRPr sz="3000" b="1"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000" b="1" i="0" u="none" strike="noStrike" kern="1200" cap="none" spc="0" normalizeH="0" baseline="0" noProof="0">
                <a:ln>
                  <a:noFill/>
                </a:ln>
                <a:solidFill>
                  <a:srgbClr val="00124C"/>
                </a:solidFill>
                <a:effectLst/>
                <a:uLnTx/>
                <a:uFillTx/>
                <a:latin typeface="Arial Black"/>
                <a:ea typeface="+mj-ea"/>
                <a:cs typeface="+mj-cs"/>
                <a:sym typeface="Trebuchet MS" panose="020B0603020202020204" pitchFamily="34" charset="0"/>
              </a:rPr>
              <a:t>2</a:t>
            </a:r>
          </a:p>
        </p:txBody>
      </p:sp>
      <p:sp>
        <p:nvSpPr>
          <p:cNvPr id="24" name="TextBox 23">
            <a:extLst>
              <a:ext uri="{FF2B5EF4-FFF2-40B4-BE49-F238E27FC236}">
                <a16:creationId xmlns:a16="http://schemas.microsoft.com/office/drawing/2014/main" id="{70EC881B-9A25-DB65-23A1-864C6DB74FBD}"/>
              </a:ext>
            </a:extLst>
          </p:cNvPr>
          <p:cNvSpPr txBox="1"/>
          <p:nvPr/>
        </p:nvSpPr>
        <p:spPr>
          <a:xfrm>
            <a:off x="3402948" y="1498016"/>
            <a:ext cx="1442565" cy="1091621"/>
          </a:xfrm>
          <a:prstGeom prst="rect">
            <a:avLst/>
          </a:prstGeom>
          <a:noFill/>
          <a:ln w="28575" cap="rnd">
            <a:solidFill>
              <a:schemeClr val="accent6"/>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00124C"/>
                </a:solidFill>
                <a:effectLst/>
                <a:uLnTx/>
                <a:uFillTx/>
                <a:latin typeface="Arial"/>
                <a:ea typeface="+mn-ea"/>
                <a:cs typeface="+mn-cs"/>
              </a:rPr>
              <a:t>Yleis-suunnitelma</a:t>
            </a:r>
          </a:p>
        </p:txBody>
      </p:sp>
      <p:sp>
        <p:nvSpPr>
          <p:cNvPr id="25" name="Title 1">
            <a:extLst>
              <a:ext uri="{FF2B5EF4-FFF2-40B4-BE49-F238E27FC236}">
                <a16:creationId xmlns:a16="http://schemas.microsoft.com/office/drawing/2014/main" id="{1B2A18FB-E6CB-1415-D089-01F29F97E585}"/>
              </a:ext>
            </a:extLst>
          </p:cNvPr>
          <p:cNvSpPr txBox="1">
            <a:spLocks/>
          </p:cNvSpPr>
          <p:nvPr/>
        </p:nvSpPr>
        <p:spPr>
          <a:xfrm>
            <a:off x="5200460" y="1439454"/>
            <a:ext cx="497796" cy="465911"/>
          </a:xfrm>
          <a:prstGeom prst="rect">
            <a:avLst/>
          </a:prstGeom>
        </p:spPr>
        <p:txBody>
          <a:bodyPr/>
          <a:lstStyle>
            <a:lvl1pPr algn="l" defTabSz="914400" rtl="0" eaLnBrk="1" latinLnBrk="0" hangingPunct="1">
              <a:lnSpc>
                <a:spcPct val="90000"/>
              </a:lnSpc>
              <a:spcBef>
                <a:spcPct val="0"/>
              </a:spcBef>
              <a:buNone/>
              <a:defRPr sz="3000" b="1"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000" b="1" i="0" u="none" strike="noStrike" kern="1200" cap="none" spc="0" normalizeH="0" baseline="0" noProof="0">
                <a:ln>
                  <a:noFill/>
                </a:ln>
                <a:solidFill>
                  <a:srgbClr val="00124C"/>
                </a:solidFill>
                <a:effectLst/>
                <a:uLnTx/>
                <a:uFillTx/>
                <a:latin typeface="Arial Black"/>
                <a:ea typeface="+mj-ea"/>
                <a:cs typeface="+mj-cs"/>
                <a:sym typeface="Trebuchet MS" panose="020B0603020202020204" pitchFamily="34" charset="0"/>
              </a:rPr>
              <a:t>3</a:t>
            </a:r>
          </a:p>
        </p:txBody>
      </p:sp>
      <p:sp>
        <p:nvSpPr>
          <p:cNvPr id="26" name="TextBox 25">
            <a:extLst>
              <a:ext uri="{FF2B5EF4-FFF2-40B4-BE49-F238E27FC236}">
                <a16:creationId xmlns:a16="http://schemas.microsoft.com/office/drawing/2014/main" id="{51640610-047A-975D-1BAD-565CC2F114C1}"/>
              </a:ext>
            </a:extLst>
          </p:cNvPr>
          <p:cNvSpPr txBox="1"/>
          <p:nvPr/>
        </p:nvSpPr>
        <p:spPr>
          <a:xfrm>
            <a:off x="5685458" y="1498016"/>
            <a:ext cx="1429768" cy="1091621"/>
          </a:xfrm>
          <a:prstGeom prst="rect">
            <a:avLst/>
          </a:prstGeom>
          <a:noFill/>
          <a:ln w="2857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00124C"/>
                </a:solidFill>
                <a:effectLst/>
                <a:uLnTx/>
                <a:uFillTx/>
                <a:latin typeface="Arial"/>
                <a:ea typeface="+mn-ea"/>
                <a:cs typeface="+mn-cs"/>
              </a:rPr>
              <a:t>Rata-suunnitelma</a:t>
            </a:r>
          </a:p>
        </p:txBody>
      </p:sp>
      <p:sp>
        <p:nvSpPr>
          <p:cNvPr id="27" name="Title 1">
            <a:extLst>
              <a:ext uri="{FF2B5EF4-FFF2-40B4-BE49-F238E27FC236}">
                <a16:creationId xmlns:a16="http://schemas.microsoft.com/office/drawing/2014/main" id="{7DD8F546-B483-2BCD-FCE2-EB498EB1B478}"/>
              </a:ext>
            </a:extLst>
          </p:cNvPr>
          <p:cNvSpPr txBox="1">
            <a:spLocks/>
          </p:cNvSpPr>
          <p:nvPr/>
        </p:nvSpPr>
        <p:spPr>
          <a:xfrm>
            <a:off x="7445619" y="1439454"/>
            <a:ext cx="497796" cy="465911"/>
          </a:xfrm>
          <a:prstGeom prst="rect">
            <a:avLst/>
          </a:prstGeom>
        </p:spPr>
        <p:txBody>
          <a:bodyPr/>
          <a:lstStyle>
            <a:lvl1pPr algn="l" defTabSz="914400" rtl="0" eaLnBrk="1" latinLnBrk="0" hangingPunct="1">
              <a:lnSpc>
                <a:spcPct val="90000"/>
              </a:lnSpc>
              <a:spcBef>
                <a:spcPct val="0"/>
              </a:spcBef>
              <a:buNone/>
              <a:defRPr sz="3000" b="1"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000" b="1" i="0" u="none" strike="noStrike" kern="1200" cap="none" spc="0" normalizeH="0" baseline="0" noProof="0">
                <a:ln>
                  <a:noFill/>
                </a:ln>
                <a:solidFill>
                  <a:srgbClr val="00124C"/>
                </a:solidFill>
                <a:effectLst/>
                <a:uLnTx/>
                <a:uFillTx/>
                <a:latin typeface="Arial Black"/>
                <a:ea typeface="+mj-ea"/>
                <a:cs typeface="+mj-cs"/>
                <a:sym typeface="Trebuchet MS" panose="020B0603020202020204" pitchFamily="34" charset="0"/>
              </a:rPr>
              <a:t>4</a:t>
            </a:r>
          </a:p>
        </p:txBody>
      </p:sp>
      <p:sp>
        <p:nvSpPr>
          <p:cNvPr id="28" name="TextBox 27">
            <a:extLst>
              <a:ext uri="{FF2B5EF4-FFF2-40B4-BE49-F238E27FC236}">
                <a16:creationId xmlns:a16="http://schemas.microsoft.com/office/drawing/2014/main" id="{B7F8ED63-6F05-90E6-C7DC-5E4B9D782CE2}"/>
              </a:ext>
            </a:extLst>
          </p:cNvPr>
          <p:cNvSpPr txBox="1"/>
          <p:nvPr/>
        </p:nvSpPr>
        <p:spPr>
          <a:xfrm>
            <a:off x="7943415" y="1498016"/>
            <a:ext cx="1109843" cy="1091621"/>
          </a:xfrm>
          <a:prstGeom prst="rect">
            <a:avLst/>
          </a:prstGeom>
          <a:noFill/>
          <a:ln w="28575" cap="rnd">
            <a:solidFill>
              <a:schemeClr val="tx1">
                <a:lumMod val="50000"/>
                <a:lumOff val="50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00124C"/>
                </a:solidFill>
                <a:effectLst/>
                <a:uLnTx/>
                <a:uFillTx/>
                <a:latin typeface="Arial"/>
                <a:ea typeface="+mn-ea"/>
                <a:cs typeface="+mn-cs"/>
              </a:rPr>
              <a:t>Hallitus-ohjelma-kirjaus</a:t>
            </a:r>
          </a:p>
        </p:txBody>
      </p:sp>
      <p:sp>
        <p:nvSpPr>
          <p:cNvPr id="29" name="Title 1">
            <a:extLst>
              <a:ext uri="{FF2B5EF4-FFF2-40B4-BE49-F238E27FC236}">
                <a16:creationId xmlns:a16="http://schemas.microsoft.com/office/drawing/2014/main" id="{C8B3D495-87E8-C63F-2BBA-8EA952DB9D1C}"/>
              </a:ext>
            </a:extLst>
          </p:cNvPr>
          <p:cNvSpPr txBox="1">
            <a:spLocks/>
          </p:cNvSpPr>
          <p:nvPr/>
        </p:nvSpPr>
        <p:spPr>
          <a:xfrm>
            <a:off x="9383651" y="1439454"/>
            <a:ext cx="497796" cy="465911"/>
          </a:xfrm>
          <a:prstGeom prst="rect">
            <a:avLst/>
          </a:prstGeom>
        </p:spPr>
        <p:txBody>
          <a:bodyPr/>
          <a:lstStyle>
            <a:lvl1pPr algn="l" defTabSz="914400" rtl="0" eaLnBrk="1" latinLnBrk="0" hangingPunct="1">
              <a:lnSpc>
                <a:spcPct val="90000"/>
              </a:lnSpc>
              <a:spcBef>
                <a:spcPct val="0"/>
              </a:spcBef>
              <a:buNone/>
              <a:defRPr sz="3000" b="1"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000" b="1" i="0" u="none" strike="noStrike" kern="1200" cap="none" spc="0" normalizeH="0" baseline="0" noProof="0">
                <a:ln>
                  <a:noFill/>
                </a:ln>
                <a:solidFill>
                  <a:srgbClr val="00124C"/>
                </a:solidFill>
                <a:effectLst/>
                <a:uLnTx/>
                <a:uFillTx/>
                <a:latin typeface="Arial Black"/>
                <a:ea typeface="+mj-ea"/>
                <a:cs typeface="+mj-cs"/>
                <a:sym typeface="Trebuchet MS" panose="020B0603020202020204" pitchFamily="34" charset="0"/>
              </a:rPr>
              <a:t>5</a:t>
            </a:r>
          </a:p>
        </p:txBody>
      </p:sp>
      <p:sp>
        <p:nvSpPr>
          <p:cNvPr id="30" name="TextBox 29">
            <a:extLst>
              <a:ext uri="{FF2B5EF4-FFF2-40B4-BE49-F238E27FC236}">
                <a16:creationId xmlns:a16="http://schemas.microsoft.com/office/drawing/2014/main" id="{DA080E70-66D6-2C28-AF78-0A8A89290568}"/>
              </a:ext>
            </a:extLst>
          </p:cNvPr>
          <p:cNvSpPr txBox="1"/>
          <p:nvPr/>
        </p:nvSpPr>
        <p:spPr>
          <a:xfrm>
            <a:off x="9881447" y="1498016"/>
            <a:ext cx="1305287" cy="1091621"/>
          </a:xfrm>
          <a:prstGeom prst="rect">
            <a:avLst/>
          </a:prstGeom>
          <a:noFill/>
          <a:ln w="28575" cap="rnd">
            <a:solidFill>
              <a:schemeClr val="accent3"/>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00124C"/>
                </a:solidFill>
                <a:effectLst/>
                <a:uLnTx/>
                <a:uFillTx/>
                <a:latin typeface="Arial"/>
                <a:ea typeface="+mn-ea"/>
                <a:cs typeface="+mn-cs"/>
              </a:rPr>
              <a:t>Investointi-päätös</a:t>
            </a:r>
          </a:p>
        </p:txBody>
      </p:sp>
      <p:cxnSp>
        <p:nvCxnSpPr>
          <p:cNvPr id="36" name="Straight Connector 35">
            <a:extLst>
              <a:ext uri="{FF2B5EF4-FFF2-40B4-BE49-F238E27FC236}">
                <a16:creationId xmlns:a16="http://schemas.microsoft.com/office/drawing/2014/main" id="{A6A9131E-CE7D-7681-C75F-388AA5218E2C}"/>
              </a:ext>
            </a:extLst>
          </p:cNvPr>
          <p:cNvCxnSpPr/>
          <p:nvPr/>
        </p:nvCxnSpPr>
        <p:spPr>
          <a:xfrm flipV="1">
            <a:off x="988272" y="2589637"/>
            <a:ext cx="0" cy="2774629"/>
          </a:xfrm>
          <a:prstGeom prst="line">
            <a:avLst/>
          </a:prstGeom>
          <a:ln w="28575" cap="rnd">
            <a:solidFill>
              <a:schemeClr val="accent1"/>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4C9900-CDF9-19FB-D0B4-1EDDD1A1E3D1}"/>
              </a:ext>
            </a:extLst>
          </p:cNvPr>
          <p:cNvCxnSpPr>
            <a:cxnSpLocks/>
          </p:cNvCxnSpPr>
          <p:nvPr/>
        </p:nvCxnSpPr>
        <p:spPr>
          <a:xfrm flipV="1">
            <a:off x="3901968" y="2589637"/>
            <a:ext cx="1100" cy="681943"/>
          </a:xfrm>
          <a:prstGeom prst="line">
            <a:avLst/>
          </a:prstGeom>
          <a:ln w="28575">
            <a:solidFill>
              <a:schemeClr val="accent6"/>
            </a:solidFill>
            <a:tailEnd type="none" w="med" len="med"/>
          </a:ln>
        </p:spPr>
        <p:style>
          <a:lnRef idx="1">
            <a:schemeClr val="accent6"/>
          </a:lnRef>
          <a:fillRef idx="0">
            <a:schemeClr val="accent6"/>
          </a:fillRef>
          <a:effectRef idx="0">
            <a:schemeClr val="accent6"/>
          </a:effectRef>
          <a:fontRef idx="minor">
            <a:schemeClr val="tx1"/>
          </a:fontRef>
        </p:style>
      </p:cxnSp>
      <p:cxnSp>
        <p:nvCxnSpPr>
          <p:cNvPr id="39" name="Straight Connector 38">
            <a:extLst>
              <a:ext uri="{FF2B5EF4-FFF2-40B4-BE49-F238E27FC236}">
                <a16:creationId xmlns:a16="http://schemas.microsoft.com/office/drawing/2014/main" id="{34F4C0DD-1005-5063-6EBE-E1C44BB420BA}"/>
              </a:ext>
            </a:extLst>
          </p:cNvPr>
          <p:cNvCxnSpPr>
            <a:cxnSpLocks/>
          </p:cNvCxnSpPr>
          <p:nvPr/>
        </p:nvCxnSpPr>
        <p:spPr>
          <a:xfrm flipV="1">
            <a:off x="6846884" y="2603449"/>
            <a:ext cx="1100" cy="681943"/>
          </a:xfrm>
          <a:prstGeom prst="line">
            <a:avLst/>
          </a:prstGeom>
          <a:ln w="28575">
            <a:solidFill>
              <a:schemeClr val="tx2"/>
            </a:solidFill>
            <a:tailEnd type="none" w="med" len="med"/>
          </a:ln>
        </p:spPr>
        <p:style>
          <a:lnRef idx="1">
            <a:schemeClr val="accent6"/>
          </a:lnRef>
          <a:fillRef idx="0">
            <a:schemeClr val="accent6"/>
          </a:fillRef>
          <a:effectRef idx="0">
            <a:schemeClr val="accent6"/>
          </a:effectRef>
          <a:fontRef idx="minor">
            <a:schemeClr val="tx1"/>
          </a:fontRef>
        </p:style>
      </p:cxnSp>
      <p:cxnSp>
        <p:nvCxnSpPr>
          <p:cNvPr id="42" name="Straight Connector 41">
            <a:extLst>
              <a:ext uri="{FF2B5EF4-FFF2-40B4-BE49-F238E27FC236}">
                <a16:creationId xmlns:a16="http://schemas.microsoft.com/office/drawing/2014/main" id="{1E426615-9FDF-A0AE-9A1E-195D0D3EA549}"/>
              </a:ext>
            </a:extLst>
          </p:cNvPr>
          <p:cNvCxnSpPr>
            <a:cxnSpLocks/>
          </p:cNvCxnSpPr>
          <p:nvPr/>
        </p:nvCxnSpPr>
        <p:spPr>
          <a:xfrm flipV="1">
            <a:off x="10146233" y="2589637"/>
            <a:ext cx="0" cy="1275920"/>
          </a:xfrm>
          <a:prstGeom prst="line">
            <a:avLst/>
          </a:prstGeom>
          <a:ln w="28575">
            <a:solidFill>
              <a:schemeClr val="accent3"/>
            </a:solidFill>
            <a:tailEnd type="none" w="med" len="med"/>
          </a:ln>
        </p:spPr>
        <p:style>
          <a:lnRef idx="1">
            <a:schemeClr val="accent6"/>
          </a:lnRef>
          <a:fillRef idx="0">
            <a:schemeClr val="accent6"/>
          </a:fillRef>
          <a:effectRef idx="0">
            <a:schemeClr val="accent6"/>
          </a:effectRef>
          <a:fontRef idx="minor">
            <a:schemeClr val="tx1"/>
          </a:fontRef>
        </p:style>
      </p:cxnSp>
      <p:sp>
        <p:nvSpPr>
          <p:cNvPr id="31" name="Oval 30">
            <a:extLst>
              <a:ext uri="{FF2B5EF4-FFF2-40B4-BE49-F238E27FC236}">
                <a16:creationId xmlns:a16="http://schemas.microsoft.com/office/drawing/2014/main" id="{639BFB28-1C06-E8EB-AA13-E4A7B7A1E30A}"/>
              </a:ext>
            </a:extLst>
          </p:cNvPr>
          <p:cNvSpPr/>
          <p:nvPr/>
        </p:nvSpPr>
        <p:spPr>
          <a:xfrm>
            <a:off x="717273" y="5114186"/>
            <a:ext cx="519897" cy="519897"/>
          </a:xfrm>
          <a:prstGeom prst="ellipse">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a:ea typeface="+mn-ea"/>
              <a:cs typeface="+mn-cs"/>
            </a:endParaRPr>
          </a:p>
        </p:txBody>
      </p:sp>
      <p:sp>
        <p:nvSpPr>
          <p:cNvPr id="32" name="Oval 31">
            <a:extLst>
              <a:ext uri="{FF2B5EF4-FFF2-40B4-BE49-F238E27FC236}">
                <a16:creationId xmlns:a16="http://schemas.microsoft.com/office/drawing/2014/main" id="{2653EFBD-3B29-8935-6982-39DA8F9A474D}"/>
              </a:ext>
            </a:extLst>
          </p:cNvPr>
          <p:cNvSpPr/>
          <p:nvPr/>
        </p:nvSpPr>
        <p:spPr>
          <a:xfrm>
            <a:off x="3643474" y="3016264"/>
            <a:ext cx="519897" cy="519897"/>
          </a:xfrm>
          <a:prstGeom prst="ellipse">
            <a:avLst/>
          </a:prstGeom>
          <a:solidFill>
            <a:schemeClr val="accent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a:ea typeface="+mn-ea"/>
              <a:cs typeface="+mn-cs"/>
            </a:endParaRPr>
          </a:p>
        </p:txBody>
      </p:sp>
      <p:sp>
        <p:nvSpPr>
          <p:cNvPr id="33" name="Oval 32">
            <a:extLst>
              <a:ext uri="{FF2B5EF4-FFF2-40B4-BE49-F238E27FC236}">
                <a16:creationId xmlns:a16="http://schemas.microsoft.com/office/drawing/2014/main" id="{963CF3A5-DEA7-D33A-6FF0-38C602A0A380}"/>
              </a:ext>
            </a:extLst>
          </p:cNvPr>
          <p:cNvSpPr/>
          <p:nvPr/>
        </p:nvSpPr>
        <p:spPr>
          <a:xfrm>
            <a:off x="6586936" y="2998681"/>
            <a:ext cx="519897" cy="519897"/>
          </a:xfrm>
          <a:prstGeom prst="ellips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a:ea typeface="+mn-ea"/>
              <a:cs typeface="+mn-cs"/>
            </a:endParaRPr>
          </a:p>
        </p:txBody>
      </p:sp>
      <p:sp>
        <p:nvSpPr>
          <p:cNvPr id="34" name="Oval 33">
            <a:extLst>
              <a:ext uri="{FF2B5EF4-FFF2-40B4-BE49-F238E27FC236}">
                <a16:creationId xmlns:a16="http://schemas.microsoft.com/office/drawing/2014/main" id="{5222B9EB-1EFC-C952-CD9F-DBFC4A541A32}"/>
              </a:ext>
            </a:extLst>
          </p:cNvPr>
          <p:cNvSpPr/>
          <p:nvPr/>
        </p:nvSpPr>
        <p:spPr>
          <a:xfrm>
            <a:off x="9886532" y="3605608"/>
            <a:ext cx="519897" cy="519897"/>
          </a:xfrm>
          <a:prstGeom prst="ellipse">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a:ea typeface="+mn-ea"/>
              <a:cs typeface="+mn-cs"/>
            </a:endParaRPr>
          </a:p>
        </p:txBody>
      </p:sp>
      <p:sp>
        <p:nvSpPr>
          <p:cNvPr id="43" name="Oval 42">
            <a:extLst>
              <a:ext uri="{FF2B5EF4-FFF2-40B4-BE49-F238E27FC236}">
                <a16:creationId xmlns:a16="http://schemas.microsoft.com/office/drawing/2014/main" id="{A72D4C27-83D1-96D7-7711-E8E86844365A}"/>
              </a:ext>
            </a:extLst>
          </p:cNvPr>
          <p:cNvSpPr/>
          <p:nvPr/>
        </p:nvSpPr>
        <p:spPr>
          <a:xfrm>
            <a:off x="7806966" y="3605608"/>
            <a:ext cx="519897" cy="519897"/>
          </a:xfrm>
          <a:prstGeom prst="ellipse">
            <a:avLst/>
          </a:prstGeom>
          <a:solidFill>
            <a:schemeClr val="tx1">
              <a:lumMod val="50000"/>
              <a:lumOff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A34B7C39-5FB0-4308-D501-A855AD5E612F}"/>
              </a:ext>
            </a:extLst>
          </p:cNvPr>
          <p:cNvSpPr txBox="1"/>
          <p:nvPr/>
        </p:nvSpPr>
        <p:spPr>
          <a:xfrm>
            <a:off x="9835741" y="4601986"/>
            <a:ext cx="2163141" cy="4419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00124C"/>
                </a:solidFill>
                <a:effectLst/>
                <a:uLnTx/>
                <a:uFillTx/>
                <a:latin typeface="Arial"/>
                <a:ea typeface="+mn-ea"/>
                <a:cs typeface="+mn-cs"/>
              </a:rPr>
              <a:t>Rakentamisvaihe arviolta 7 vuotta</a:t>
            </a:r>
          </a:p>
        </p:txBody>
      </p:sp>
      <p:sp>
        <p:nvSpPr>
          <p:cNvPr id="12" name="TextBox 11">
            <a:extLst>
              <a:ext uri="{FF2B5EF4-FFF2-40B4-BE49-F238E27FC236}">
                <a16:creationId xmlns:a16="http://schemas.microsoft.com/office/drawing/2014/main" id="{8A4C8C92-109A-A7AF-9590-F8D1E3824919}"/>
              </a:ext>
            </a:extLst>
          </p:cNvPr>
          <p:cNvSpPr txBox="1"/>
          <p:nvPr/>
        </p:nvSpPr>
        <p:spPr>
          <a:xfrm>
            <a:off x="7752758" y="4261671"/>
            <a:ext cx="709586" cy="3866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a:ln>
                  <a:noFill/>
                </a:ln>
                <a:solidFill>
                  <a:srgbClr val="000000">
                    <a:lumMod val="50000"/>
                    <a:lumOff val="50000"/>
                  </a:srgbClr>
                </a:solidFill>
                <a:effectLst/>
                <a:uLnTx/>
                <a:uFillTx/>
                <a:latin typeface="Arial"/>
                <a:ea typeface="+mn-ea"/>
                <a:cs typeface="+mn-cs"/>
              </a:rPr>
              <a:t>2027</a:t>
            </a:r>
          </a:p>
        </p:txBody>
      </p:sp>
      <p:cxnSp>
        <p:nvCxnSpPr>
          <p:cNvPr id="40" name="Straight Connector 39">
            <a:extLst>
              <a:ext uri="{FF2B5EF4-FFF2-40B4-BE49-F238E27FC236}">
                <a16:creationId xmlns:a16="http://schemas.microsoft.com/office/drawing/2014/main" id="{4025889A-7F7D-731D-E63C-007B3A22F3A4}"/>
              </a:ext>
            </a:extLst>
          </p:cNvPr>
          <p:cNvCxnSpPr>
            <a:cxnSpLocks/>
          </p:cNvCxnSpPr>
          <p:nvPr/>
        </p:nvCxnSpPr>
        <p:spPr>
          <a:xfrm flipV="1">
            <a:off x="8066914" y="2589637"/>
            <a:ext cx="0" cy="1275920"/>
          </a:xfrm>
          <a:prstGeom prst="line">
            <a:avLst/>
          </a:prstGeom>
          <a:ln w="28575">
            <a:solidFill>
              <a:schemeClr val="tx1">
                <a:lumMod val="50000"/>
                <a:lumOff val="50000"/>
              </a:schemeClr>
            </a:solidFill>
            <a:tailEnd type="none" w="med" len="med"/>
          </a:ln>
        </p:spPr>
        <p:style>
          <a:lnRef idx="1">
            <a:schemeClr val="accent6"/>
          </a:lnRef>
          <a:fillRef idx="0">
            <a:schemeClr val="accent6"/>
          </a:fillRef>
          <a:effectRef idx="0">
            <a:schemeClr val="accent6"/>
          </a:effectRef>
          <a:fontRef idx="minor">
            <a:schemeClr val="tx1"/>
          </a:fontRef>
        </p:style>
      </p:cxnSp>
      <p:cxnSp>
        <p:nvCxnSpPr>
          <p:cNvPr id="45" name="Straight Arrow Connector 44">
            <a:extLst>
              <a:ext uri="{FF2B5EF4-FFF2-40B4-BE49-F238E27FC236}">
                <a16:creationId xmlns:a16="http://schemas.microsoft.com/office/drawing/2014/main" id="{D86F4E43-126D-5EC6-318F-78D3308FCD26}"/>
              </a:ext>
            </a:extLst>
          </p:cNvPr>
          <p:cNvCxnSpPr>
            <a:cxnSpLocks/>
          </p:cNvCxnSpPr>
          <p:nvPr/>
        </p:nvCxnSpPr>
        <p:spPr>
          <a:xfrm>
            <a:off x="10545328" y="4456670"/>
            <a:ext cx="223067" cy="0"/>
          </a:xfrm>
          <a:prstGeom prst="straightConnector1">
            <a:avLst/>
          </a:prstGeom>
          <a:ln w="28575" cap="rnd">
            <a:solidFill>
              <a:schemeClr val="accent1"/>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2" name="Tekstiruutu 1">
            <a:extLst>
              <a:ext uri="{FF2B5EF4-FFF2-40B4-BE49-F238E27FC236}">
                <a16:creationId xmlns:a16="http://schemas.microsoft.com/office/drawing/2014/main" id="{C0EEF6BD-177E-0E6E-575C-420D54089E44}"/>
              </a:ext>
            </a:extLst>
          </p:cNvPr>
          <p:cNvSpPr txBox="1"/>
          <p:nvPr/>
        </p:nvSpPr>
        <p:spPr>
          <a:xfrm>
            <a:off x="6096000" y="3980528"/>
            <a:ext cx="1060174" cy="28995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dirty="0">
                <a:ln>
                  <a:noFill/>
                </a:ln>
                <a:solidFill>
                  <a:srgbClr val="0033CC"/>
                </a:solidFill>
                <a:effectLst/>
                <a:uLnTx/>
                <a:uFillTx/>
                <a:latin typeface="Arial"/>
                <a:ea typeface="+mn-ea"/>
                <a:cs typeface="+mn-cs"/>
              </a:rPr>
              <a:t>4/2028</a:t>
            </a:r>
          </a:p>
        </p:txBody>
      </p:sp>
      <p:sp>
        <p:nvSpPr>
          <p:cNvPr id="4" name="TextBox 25">
            <a:extLst>
              <a:ext uri="{FF2B5EF4-FFF2-40B4-BE49-F238E27FC236}">
                <a16:creationId xmlns:a16="http://schemas.microsoft.com/office/drawing/2014/main" id="{27D732B8-C694-A7A3-C9BC-B8A72F77A658}"/>
              </a:ext>
            </a:extLst>
          </p:cNvPr>
          <p:cNvSpPr txBox="1"/>
          <p:nvPr/>
        </p:nvSpPr>
        <p:spPr>
          <a:xfrm>
            <a:off x="6148039" y="4397701"/>
            <a:ext cx="1429768" cy="1091621"/>
          </a:xfrm>
          <a:prstGeom prst="rect">
            <a:avLst/>
          </a:prstGeom>
          <a:noFill/>
          <a:ln w="2857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00124C"/>
                </a:solidFill>
                <a:effectLst/>
                <a:uLnTx/>
                <a:uFillTx/>
                <a:latin typeface="Arial"/>
                <a:ea typeface="+mn-ea"/>
                <a:cs typeface="+mn-cs"/>
              </a:rPr>
              <a:t>Juna-aseman suunnittelu</a:t>
            </a:r>
          </a:p>
        </p:txBody>
      </p:sp>
      <p:cxnSp>
        <p:nvCxnSpPr>
          <p:cNvPr id="5" name="Straight Connector 38">
            <a:extLst>
              <a:ext uri="{FF2B5EF4-FFF2-40B4-BE49-F238E27FC236}">
                <a16:creationId xmlns:a16="http://schemas.microsoft.com/office/drawing/2014/main" id="{EF5E8F56-7E42-AD53-0C86-8A0BF4A8E7A4}"/>
              </a:ext>
            </a:extLst>
          </p:cNvPr>
          <p:cNvCxnSpPr>
            <a:cxnSpLocks/>
            <a:stCxn id="4" idx="0"/>
          </p:cNvCxnSpPr>
          <p:nvPr/>
        </p:nvCxnSpPr>
        <p:spPr>
          <a:xfrm flipV="1">
            <a:off x="6862923" y="4305526"/>
            <a:ext cx="0" cy="92175"/>
          </a:xfrm>
          <a:prstGeom prst="line">
            <a:avLst/>
          </a:prstGeom>
          <a:ln w="28575">
            <a:solidFill>
              <a:schemeClr val="tx2"/>
            </a:solidFill>
            <a:tailEnd type="none" w="med" len="med"/>
          </a:ln>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F70BDA9B-9A1B-1994-829F-FC4871A51F8D}"/>
              </a:ext>
            </a:extLst>
          </p:cNvPr>
          <p:cNvSpPr txBox="1"/>
          <p:nvPr/>
        </p:nvSpPr>
        <p:spPr>
          <a:xfrm>
            <a:off x="1836373" y="6157350"/>
            <a:ext cx="9082472" cy="8002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Kuulutus</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ratalain</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110/2007)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mukaisen</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ratasuunnitelman</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aloittamisesta</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Lentorata</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Oy:n</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ratasuunnitelma</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Helsinki, Vantaa,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Tuusula</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ja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Kerava</a:t>
            </a:r>
            <a:r>
              <a:rPr kumimoji="0" lang="en-US" sz="1400" b="0" i="1" u="none" strike="noStrike" kern="1200" cap="none" spc="0" normalizeH="0" baseline="0" noProof="0" dirty="0">
                <a:ln>
                  <a:noFill/>
                </a:ln>
                <a:solidFill>
                  <a:srgbClr val="FFFFFF"/>
                </a:solidFill>
                <a:effectLst/>
                <a:uLnTx/>
                <a:uFillTx/>
                <a:latin typeface="Arial"/>
                <a:ea typeface="+mn-ea"/>
                <a:cs typeface="+mn-cs"/>
                <a:hlinkClick r:id="rId4"/>
              </a:rPr>
              <a:t> | </a:t>
            </a:r>
            <a:r>
              <a:rPr kumimoji="0" lang="en-US" sz="1400" b="0" i="1" u="none" strike="noStrike" kern="1200" cap="none" spc="0" normalizeH="0" baseline="0" noProof="0" dirty="0" err="1">
                <a:ln>
                  <a:noFill/>
                </a:ln>
                <a:solidFill>
                  <a:srgbClr val="FFFFFF"/>
                </a:solidFill>
                <a:effectLst/>
                <a:uLnTx/>
                <a:uFillTx/>
                <a:latin typeface="Arial"/>
                <a:ea typeface="+mn-ea"/>
                <a:cs typeface="+mn-cs"/>
                <a:hlinkClick r:id="rId4"/>
              </a:rPr>
              <a:t>Traficom</a:t>
            </a:r>
            <a:endParaRPr kumimoji="0" lang="en-US" sz="1400" b="0" i="1" u="none" strike="noStrike" kern="1200" cap="none" spc="0" normalizeH="0" baseline="0" noProof="0" dirty="0" err="1">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60100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EA44EB-D3EB-23EE-95E8-CD44F8959B2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CF87CC6-DB7E-80FD-16AB-0A90467C6E75}"/>
              </a:ext>
            </a:extLst>
          </p:cNvPr>
          <p:cNvSpPr>
            <a:spLocks noGrp="1"/>
          </p:cNvSpPr>
          <p:nvPr>
            <p:ph type="title"/>
          </p:nvPr>
        </p:nvSpPr>
        <p:spPr/>
        <p:txBody>
          <a:bodyPr/>
          <a:lstStyle/>
          <a:p>
            <a:r>
              <a:rPr lang="fi-FI"/>
              <a:t>Yleissuunnitelman nähtäville asettaminen ja hyväksymismenettely</a:t>
            </a:r>
          </a:p>
        </p:txBody>
      </p:sp>
      <p:sp>
        <p:nvSpPr>
          <p:cNvPr id="2" name="Text Placeholder 1">
            <a:extLst>
              <a:ext uri="{FF2B5EF4-FFF2-40B4-BE49-F238E27FC236}">
                <a16:creationId xmlns:a16="http://schemas.microsoft.com/office/drawing/2014/main" id="{5B371CCB-B127-A7D6-FDDD-F4E1084EFA46}"/>
              </a:ext>
            </a:extLst>
          </p:cNvPr>
          <p:cNvSpPr>
            <a:spLocks noGrp="1"/>
          </p:cNvSpPr>
          <p:nvPr>
            <p:ph type="body" sz="quarter" idx="11"/>
          </p:nvPr>
        </p:nvSpPr>
        <p:spPr>
          <a:xfrm>
            <a:off x="479425" y="1629279"/>
            <a:ext cx="10647486" cy="4537075"/>
          </a:xfrm>
        </p:spPr>
        <p:txBody>
          <a:bodyPr vert="horz" lIns="0" tIns="45720" rIns="0" bIns="45720" rtlCol="0" anchor="t">
            <a:noAutofit/>
          </a:bodyPr>
          <a:lstStyle/>
          <a:p>
            <a:pPr marL="271145" indent="-271145" fontAlgn="base"/>
            <a:r>
              <a:rPr lang="fi-FI" dirty="0">
                <a:cs typeface="Calibri"/>
              </a:rPr>
              <a:t>Ennen suunnitelman hyväksymistä on varattava tilaisuus muistutuksen tekemiseen suunnitelmasta. </a:t>
            </a:r>
            <a:endParaRPr lang="en-US" dirty="0">
              <a:cs typeface="Calibri"/>
            </a:endParaRPr>
          </a:p>
          <a:p>
            <a:pPr marL="271145" indent="-271145" fontAlgn="base"/>
            <a:r>
              <a:rPr lang="fi-FI" dirty="0">
                <a:cs typeface="Calibri"/>
              </a:rPr>
              <a:t>Kuulutus ja aineisto ovat nähtävillä yhtäjaksoisesti julkaisupäivän ja 30 päivää, johon sisältyy seitsemän (7) päivän tiedoksisaantiaika. </a:t>
            </a:r>
          </a:p>
          <a:p>
            <a:pPr marL="271145" indent="-271145" fontAlgn="base"/>
            <a:r>
              <a:rPr lang="fi-FI" dirty="0">
                <a:cs typeface="Calibri"/>
              </a:rPr>
              <a:t>Muistutukset tulee osoittaa Liikenne- ja viestintävirasto Traficomille </a:t>
            </a:r>
            <a:r>
              <a:rPr lang="fi-FI" dirty="0" err="1">
                <a:cs typeface="Calibri"/>
              </a:rPr>
              <a:t>nähtävilläoloaikana</a:t>
            </a:r>
            <a:r>
              <a:rPr lang="fi-FI" dirty="0">
                <a:cs typeface="Calibri"/>
              </a:rPr>
              <a:t>. </a:t>
            </a:r>
            <a:r>
              <a:rPr lang="en-US" dirty="0">
                <a:cs typeface="Calibri"/>
              </a:rPr>
              <a:t>​</a:t>
            </a:r>
            <a:r>
              <a:rPr lang="fi-FI" dirty="0">
                <a:cs typeface="Calibri"/>
              </a:rPr>
              <a:t>Lentoradan yleissuunnitelma tulee nähtäville 25.5.2026</a:t>
            </a:r>
            <a:r>
              <a:rPr lang="en-US" dirty="0">
                <a:cs typeface="Calibri"/>
              </a:rPr>
              <a:t>​</a:t>
            </a:r>
          </a:p>
          <a:p>
            <a:pPr marL="271145" indent="-271145" fontAlgn="base"/>
            <a:r>
              <a:rPr lang="fi-FI" dirty="0">
                <a:cs typeface="Calibri"/>
              </a:rPr>
              <a:t>Yhtiö pyytää lausuntoja kunnilta ja muilta sidosryhmiltä. Kunnilta pyydetään myös alueelta saatuihin palautteisiin vastinetta.</a:t>
            </a:r>
          </a:p>
          <a:p>
            <a:pPr marL="271145" indent="-271145" fontAlgn="base"/>
            <a:r>
              <a:rPr lang="fi-FI" dirty="0">
                <a:cs typeface="Calibri"/>
              </a:rPr>
              <a:t>Liikenne- ja viestintävirasto Traficom tekee suunnitelmasta hyväksymispäätöksen, minkä jälkeen se annetaan yleisesti tiedoksi julkaisemalla kuulutuksen.</a:t>
            </a:r>
          </a:p>
          <a:p>
            <a:pPr marL="271145" indent="-271145" fontAlgn="base"/>
            <a:r>
              <a:rPr lang="fi-FI" dirty="0">
                <a:cs typeface="Calibri"/>
              </a:rPr>
              <a:t>Kuulutuksen julkaisemisesta alkaa päätöksen muutoksenhakuaika. </a:t>
            </a:r>
            <a:r>
              <a:rPr lang="en-US" dirty="0">
                <a:cs typeface="Calibri"/>
              </a:rPr>
              <a:t>​</a:t>
            </a:r>
          </a:p>
          <a:p>
            <a:pPr marL="271145" indent="-271145" fontAlgn="base"/>
            <a:r>
              <a:rPr lang="fi-FI" dirty="0">
                <a:cs typeface="Calibri"/>
              </a:rPr>
              <a:t>Hyväksymispäätös on valituskelpoinen. Liikenne- ja viestintävirasto Traficomin tekemään päätökseen voi hakea muutosta valittamalla asiasta hallinto-oikeuteen. </a:t>
            </a:r>
            <a:endParaRPr lang="en-US" dirty="0">
              <a:cs typeface="Calibri"/>
            </a:endParaRPr>
          </a:p>
          <a:p>
            <a:pPr marL="271145" indent="-271145" fontAlgn="base"/>
            <a:endParaRPr lang="fi-FI" dirty="0"/>
          </a:p>
        </p:txBody>
      </p:sp>
    </p:spTree>
    <p:extLst>
      <p:ext uri="{BB962C8B-B14F-4D97-AF65-F5344CB8AC3E}">
        <p14:creationId xmlns:p14="http://schemas.microsoft.com/office/powerpoint/2010/main" val="169078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AD040DCA-0EC9-7A71-9C1E-3B52754C3D14}"/>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7500937" y="0"/>
            <a:ext cx="469106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kstin paikkamerkki 1">
            <a:extLst>
              <a:ext uri="{FF2B5EF4-FFF2-40B4-BE49-F238E27FC236}">
                <a16:creationId xmlns:a16="http://schemas.microsoft.com/office/drawing/2014/main" id="{5BB8DF06-64CA-6977-CC0B-777D94594926}"/>
              </a:ext>
            </a:extLst>
          </p:cNvPr>
          <p:cNvSpPr>
            <a:spLocks noGrp="1"/>
          </p:cNvSpPr>
          <p:nvPr>
            <p:ph type="body" sz="quarter" idx="10"/>
          </p:nvPr>
        </p:nvSpPr>
        <p:spPr>
          <a:xfrm>
            <a:off x="325095" y="852371"/>
            <a:ext cx="6901763" cy="4537075"/>
          </a:xfrm>
        </p:spPr>
        <p:txBody>
          <a:bodyPr vert="horz" lIns="0" tIns="45720" rIns="91440" bIns="45720" rtlCol="0" anchor="t">
            <a:noAutofit/>
          </a:bodyPr>
          <a:lstStyle/>
          <a:p>
            <a:pPr marL="285750" indent="-285750">
              <a:buFont typeface="Arial"/>
              <a:buChar char="•"/>
            </a:pPr>
            <a:r>
              <a:rPr lang="fi-FI" sz="1800" dirty="0">
                <a:ea typeface="+mn-lt"/>
              </a:rPr>
              <a:t>Suunnittelun lähtökohtana ovat vuonna 2023 valmistuneet Lentoradan esiselvitys, ympäristövaikutusten arviointi (YVA), YVA-selostuksen täydennys sekä hankearviointi. </a:t>
            </a:r>
          </a:p>
          <a:p>
            <a:pPr marL="285750" indent="-285750">
              <a:buFont typeface="Arial"/>
              <a:buChar char="•"/>
            </a:pPr>
            <a:r>
              <a:rPr lang="fi-FI" sz="1800" dirty="0">
                <a:ea typeface="+mn-lt"/>
              </a:rPr>
              <a:t>Uusimaa-kaava 2050:ssä Lentorata on esitetty ohjeellisena liikennetunneli-merkinnällä.  </a:t>
            </a:r>
          </a:p>
          <a:p>
            <a:pPr marL="285750" indent="-285750">
              <a:buFont typeface="Arial"/>
              <a:buChar char="•"/>
            </a:pPr>
            <a:r>
              <a:rPr lang="fi-FI" sz="1800" dirty="0">
                <a:ea typeface="+mn-lt"/>
              </a:rPr>
              <a:t>Helsingin alueella on voimassa Helsingin yleiskaava 2016 ja maanalainen yleiskaava tuli voimaan elokuussa 2021</a:t>
            </a:r>
            <a:endParaRPr lang="fi-FI" sz="1800" dirty="0"/>
          </a:p>
          <a:p>
            <a:pPr marL="285750" lvl="1" indent="-285750">
              <a:buFont typeface="Arial"/>
              <a:buChar char="•"/>
            </a:pPr>
            <a:r>
              <a:rPr lang="fi-FI" sz="1800" dirty="0">
                <a:ea typeface="+mn-lt"/>
                <a:cs typeface="Calibri"/>
              </a:rPr>
              <a:t>Vantaan yleiskaavassa on varauduttu Lentorataan sekä Tallinna-tunneliin ”Raskaan raideliikenteen tunnelin ohjeellinen linjaus” –merkinnällä, joka ulottuu Vantaanjoelta Lentoaseman pohjoispuolelle. Yleiskaava sekä asemakaava tarvitaan koko linjaukselle.</a:t>
            </a:r>
          </a:p>
          <a:p>
            <a:pPr marL="285750" lvl="1" indent="-285750">
              <a:buFont typeface="Arial"/>
              <a:buChar char="•"/>
            </a:pPr>
            <a:r>
              <a:rPr lang="fi-FI" sz="1800" dirty="0">
                <a:ea typeface="+mn-lt"/>
              </a:rPr>
              <a:t>Tuusulan hyväksytyssä Yleiskaavassa 2040 on esitetty liikennetunnelin ohjeellinen linjaus, joka mukailee Lentoradan esiselvityksen mukaista linjausta. </a:t>
            </a:r>
          </a:p>
          <a:p>
            <a:pPr marL="285750" lvl="1" indent="-285750">
              <a:buFont typeface="Arial"/>
              <a:buChar char="•"/>
            </a:pPr>
            <a:r>
              <a:rPr lang="fi-FI" sz="1800" dirty="0">
                <a:ea typeface="+mn-lt"/>
              </a:rPr>
              <a:t>Keravan yleiskaavassa Lentoradan liikennetunnelin merkintä on entisen Uudenmaan 2. vaihemaakuntakaavan mukainen. Kunta käynnistää tarvittavat kaavamuutokset linjauksen osalta</a:t>
            </a:r>
            <a:r>
              <a:rPr lang="fi-FI" dirty="0"/>
              <a:t>. </a:t>
            </a:r>
            <a:endParaRPr lang="en-US" dirty="0"/>
          </a:p>
          <a:p>
            <a:pPr marL="0" indent="0">
              <a:buNone/>
            </a:pPr>
            <a:r>
              <a:rPr lang="fi-FI" sz="1600" i="1" dirty="0"/>
              <a:t>Kuva: Uudenmaan voimassa olevien maakuntakaavojen epävirallinen yhdistelmä</a:t>
            </a:r>
            <a:endParaRPr lang="fi-FI" sz="1800" dirty="0">
              <a:solidFill>
                <a:srgbClr val="FF0000"/>
              </a:solidFill>
            </a:endParaRPr>
          </a:p>
        </p:txBody>
      </p:sp>
      <p:sp>
        <p:nvSpPr>
          <p:cNvPr id="3" name="Otsikko 2">
            <a:extLst>
              <a:ext uri="{FF2B5EF4-FFF2-40B4-BE49-F238E27FC236}">
                <a16:creationId xmlns:a16="http://schemas.microsoft.com/office/drawing/2014/main" id="{EE0EDCAC-6707-6E9A-64BD-4B28D384FEA7}"/>
              </a:ext>
            </a:extLst>
          </p:cNvPr>
          <p:cNvSpPr>
            <a:spLocks noGrp="1"/>
          </p:cNvSpPr>
          <p:nvPr>
            <p:ph type="title"/>
          </p:nvPr>
        </p:nvSpPr>
        <p:spPr>
          <a:xfrm>
            <a:off x="479425" y="400515"/>
            <a:ext cx="6901763" cy="550393"/>
          </a:xfrm>
        </p:spPr>
        <p:txBody>
          <a:bodyPr/>
          <a:lstStyle/>
          <a:p>
            <a:r>
              <a:rPr lang="fi-FI">
                <a:solidFill>
                  <a:schemeClr val="tx2"/>
                </a:solidFill>
              </a:rPr>
              <a:t>Ratasuunnitelman </a:t>
            </a:r>
            <a:r>
              <a:rPr lang="fi-FI" dirty="0">
                <a:solidFill>
                  <a:schemeClr val="tx2"/>
                </a:solidFill>
              </a:rPr>
              <a:t>lähtökohdat</a:t>
            </a:r>
          </a:p>
        </p:txBody>
      </p:sp>
      <p:pic>
        <p:nvPicPr>
          <p:cNvPr id="5" name="Kuva 4">
            <a:extLst>
              <a:ext uri="{FF2B5EF4-FFF2-40B4-BE49-F238E27FC236}">
                <a16:creationId xmlns:a16="http://schemas.microsoft.com/office/drawing/2014/main" id="{96FCA360-B070-D4C0-4DE6-D121611AE4D0}"/>
              </a:ext>
            </a:extLst>
          </p:cNvPr>
          <p:cNvPicPr>
            <a:picLocks noChangeAspect="1"/>
          </p:cNvPicPr>
          <p:nvPr/>
        </p:nvPicPr>
        <p:blipFill>
          <a:blip r:embed="rId3"/>
          <a:stretch>
            <a:fillRect/>
          </a:stretch>
        </p:blipFill>
        <p:spPr>
          <a:xfrm>
            <a:off x="10392852" y="5778499"/>
            <a:ext cx="165929" cy="124447"/>
          </a:xfrm>
          <a:prstGeom prst="rect">
            <a:avLst/>
          </a:prstGeom>
        </p:spPr>
      </p:pic>
    </p:spTree>
    <p:extLst>
      <p:ext uri="{BB962C8B-B14F-4D97-AF65-F5344CB8AC3E}">
        <p14:creationId xmlns:p14="http://schemas.microsoft.com/office/powerpoint/2010/main" val="490092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F29FB8-1FB5-0247-892C-304BB6D6AFDB}"/>
              </a:ext>
            </a:extLst>
          </p:cNvPr>
          <p:cNvSpPr>
            <a:spLocks noGrp="1"/>
          </p:cNvSpPr>
          <p:nvPr>
            <p:ph type="title"/>
          </p:nvPr>
        </p:nvSpPr>
        <p:spPr>
          <a:xfrm>
            <a:off x="914400" y="635001"/>
            <a:ext cx="7304567" cy="5606773"/>
          </a:xfrm>
        </p:spPr>
        <p:txBody>
          <a:bodyPr/>
          <a:lstStyle/>
          <a:p>
            <a:r>
              <a:rPr lang="fi-FI" dirty="0"/>
              <a:t>Korson raidehankkeiden vaiheyleiskaava</a:t>
            </a:r>
            <a:br>
              <a:rPr lang="fi-FI" dirty="0"/>
            </a:br>
            <a:r>
              <a:rPr lang="fi-FI" dirty="0"/>
              <a:t>YK0056</a:t>
            </a:r>
          </a:p>
        </p:txBody>
      </p:sp>
      <p:sp>
        <p:nvSpPr>
          <p:cNvPr id="2" name="Subtitle 1">
            <a:extLst>
              <a:ext uri="{FF2B5EF4-FFF2-40B4-BE49-F238E27FC236}">
                <a16:creationId xmlns:a16="http://schemas.microsoft.com/office/drawing/2014/main" id="{01E211DF-139F-9749-9CF0-B28C1E1FF4F1}"/>
              </a:ext>
            </a:extLst>
          </p:cNvPr>
          <p:cNvSpPr>
            <a:spLocks noGrp="1"/>
          </p:cNvSpPr>
          <p:nvPr>
            <p:ph type="subTitle" idx="1"/>
          </p:nvPr>
        </p:nvSpPr>
        <p:spPr>
          <a:xfrm>
            <a:off x="914400" y="5307980"/>
            <a:ext cx="7950820" cy="933793"/>
          </a:xfrm>
        </p:spPr>
        <p:txBody>
          <a:bodyPr>
            <a:normAutofit fontScale="92500" lnSpcReduction="20000"/>
          </a:bodyPr>
          <a:lstStyle/>
          <a:p>
            <a:r>
              <a:rPr lang="fi-FI" dirty="0">
                <a:solidFill>
                  <a:schemeClr val="bg1"/>
                </a:solidFill>
              </a:rPr>
              <a:t>Asukastilaisuus 20.5.2026</a:t>
            </a:r>
          </a:p>
          <a:p>
            <a:r>
              <a:rPr lang="fi-FI" dirty="0">
                <a:solidFill>
                  <a:schemeClr val="bg1"/>
                </a:solidFill>
              </a:rPr>
              <a:t>Anna-Mari Kangas / yleiskaavoitus</a:t>
            </a:r>
          </a:p>
        </p:txBody>
      </p:sp>
    </p:spTree>
    <p:extLst>
      <p:ext uri="{BB962C8B-B14F-4D97-AF65-F5344CB8AC3E}">
        <p14:creationId xmlns:p14="http://schemas.microsoft.com/office/powerpoint/2010/main" val="7141324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78CC2-A984-CBEA-91E4-322AFB0158D4}"/>
            </a:ext>
          </a:extLst>
        </p:cNvPr>
        <p:cNvGrpSpPr/>
        <p:nvPr/>
      </p:nvGrpSpPr>
      <p:grpSpPr>
        <a:xfrm>
          <a:off x="0" y="0"/>
          <a:ext cx="0" cy="0"/>
          <a:chOff x="0" y="0"/>
          <a:chExt cx="0" cy="0"/>
        </a:xfrm>
      </p:grpSpPr>
      <p:sp>
        <p:nvSpPr>
          <p:cNvPr id="2" name="Otsikko 1">
            <a:extLst>
              <a:ext uri="{FF2B5EF4-FFF2-40B4-BE49-F238E27FC236}">
                <a16:creationId xmlns:a16="http://schemas.microsoft.com/office/drawing/2014/main" id="{67E9DD76-E653-F5B9-E9F4-C791E52B404C}"/>
              </a:ext>
            </a:extLst>
          </p:cNvPr>
          <p:cNvSpPr>
            <a:spLocks noGrp="1"/>
          </p:cNvSpPr>
          <p:nvPr>
            <p:ph type="title"/>
          </p:nvPr>
        </p:nvSpPr>
        <p:spPr/>
        <p:txBody>
          <a:bodyPr/>
          <a:lstStyle/>
          <a:p>
            <a:r>
              <a:rPr lang="fi-FI"/>
              <a:t>Ympäristövaikutusten arviointi yleissuunnitelmassa</a:t>
            </a:r>
          </a:p>
        </p:txBody>
      </p:sp>
      <p:sp>
        <p:nvSpPr>
          <p:cNvPr id="3" name="Tekstin paikkamerkki 2">
            <a:extLst>
              <a:ext uri="{FF2B5EF4-FFF2-40B4-BE49-F238E27FC236}">
                <a16:creationId xmlns:a16="http://schemas.microsoft.com/office/drawing/2014/main" id="{1537AD46-00C5-21A9-F0B9-D35FCF7EF1A6}"/>
              </a:ext>
            </a:extLst>
          </p:cNvPr>
          <p:cNvSpPr>
            <a:spLocks noGrp="1"/>
          </p:cNvSpPr>
          <p:nvPr>
            <p:ph type="body" sz="quarter" idx="11"/>
          </p:nvPr>
        </p:nvSpPr>
        <p:spPr>
          <a:xfrm>
            <a:off x="479425" y="983570"/>
            <a:ext cx="6160861" cy="4537075"/>
          </a:xfrm>
        </p:spPr>
        <p:txBody>
          <a:bodyPr vert="horz" lIns="0" tIns="45720" rIns="0" bIns="45720" rtlCol="0" anchor="t">
            <a:noAutofit/>
          </a:bodyPr>
          <a:lstStyle/>
          <a:p>
            <a:pPr marL="271145" marR="0" lvl="0" indent="-271145" algn="l"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endParaRPr lang="fi-FI" sz="1600" b="0" i="0" u="none" strike="noStrike" kern="1200" cap="none" spc="0" normalizeH="0" baseline="0" noProof="0">
              <a:ln>
                <a:noFill/>
              </a:ln>
              <a:solidFill>
                <a:srgbClr val="000000"/>
              </a:solidFill>
              <a:effectLst/>
              <a:uLnTx/>
              <a:uFillTx/>
              <a:latin typeface="Arial"/>
            </a:endParaRPr>
          </a:p>
          <a:p>
            <a:pPr marL="271145" indent="-271145">
              <a:buClr>
                <a:srgbClr val="0033CC"/>
              </a:buClr>
              <a:defRPr/>
            </a:pPr>
            <a:r>
              <a:rPr lang="fi-FI">
                <a:solidFill>
                  <a:srgbClr val="000000"/>
                </a:solidFill>
                <a:latin typeface="Arial"/>
                <a:cs typeface="Arial"/>
              </a:rPr>
              <a:t>Lentoradan yleissuunnitelmassa ympäristövaikutukset arvioidaan ratalain ja Väyläviraston ohjeiden mukaisesti</a:t>
            </a:r>
          </a:p>
          <a:p>
            <a:pPr marL="271145" indent="-271145">
              <a:buClr>
                <a:srgbClr val="0033CC"/>
              </a:buClr>
              <a:defRPr/>
            </a:pPr>
            <a:r>
              <a:rPr lang="fi-FI">
                <a:solidFill>
                  <a:srgbClr val="000000"/>
                </a:solidFill>
                <a:latin typeface="Arial"/>
                <a:cs typeface="Arial"/>
              </a:rPr>
              <a:t>YVA-selostuksen mukaan merkittävimpiä Lentorata-hankkeen ympäristövaikutuksia ovat:</a:t>
            </a:r>
          </a:p>
          <a:p>
            <a:pPr marL="319405" lvl="1" indent="-271145">
              <a:buClr>
                <a:srgbClr val="0033CC"/>
              </a:buClr>
              <a:defRPr/>
            </a:pPr>
            <a:r>
              <a:rPr lang="fi-FI">
                <a:solidFill>
                  <a:srgbClr val="000000"/>
                </a:solidFill>
                <a:latin typeface="Arial"/>
                <a:cs typeface="Arial"/>
              </a:rPr>
              <a:t>Käytön aikainen runkomelu</a:t>
            </a:r>
            <a:endParaRPr lang="en-US">
              <a:solidFill>
                <a:srgbClr val="000000"/>
              </a:solidFill>
              <a:latin typeface="Arial"/>
              <a:cs typeface="Arial"/>
            </a:endParaRPr>
          </a:p>
          <a:p>
            <a:pPr marL="319405" lvl="1" indent="-271145">
              <a:buClr>
                <a:srgbClr val="0033CC"/>
              </a:buClr>
              <a:defRPr/>
            </a:pPr>
            <a:r>
              <a:rPr lang="fi-FI">
                <a:solidFill>
                  <a:srgbClr val="000000"/>
                </a:solidFill>
                <a:latin typeface="Arial"/>
                <a:cs typeface="Arial"/>
              </a:rPr>
              <a:t>Rakentamisen aikaiset pohjavesivaikutukset</a:t>
            </a:r>
          </a:p>
          <a:p>
            <a:pPr marL="319405" lvl="1" indent="-271145">
              <a:buClr>
                <a:srgbClr val="0033CC"/>
              </a:buClr>
              <a:defRPr/>
            </a:pPr>
            <a:r>
              <a:rPr lang="fi-FI">
                <a:solidFill>
                  <a:srgbClr val="000000"/>
                </a:solidFill>
                <a:latin typeface="Arial"/>
                <a:cs typeface="Arial"/>
              </a:rPr>
              <a:t>Rakentamisen aikainen tärinä ja pöly</a:t>
            </a:r>
            <a:endParaRPr lang="en-US">
              <a:solidFill>
                <a:srgbClr val="000000"/>
              </a:solidFill>
              <a:latin typeface="Arial"/>
              <a:cs typeface="Arial"/>
            </a:endParaRPr>
          </a:p>
          <a:p>
            <a:pPr marL="319405" lvl="1" indent="-271145">
              <a:buClr>
                <a:srgbClr val="0033CC"/>
              </a:buClr>
              <a:defRPr/>
            </a:pPr>
            <a:r>
              <a:rPr lang="fi-FI">
                <a:solidFill>
                  <a:srgbClr val="000000"/>
                </a:solidFill>
                <a:latin typeface="Arial"/>
                <a:cs typeface="Arial"/>
              </a:rPr>
              <a:t>Luonnonvarojen hyödyntäminen </a:t>
            </a:r>
          </a:p>
          <a:p>
            <a:pPr marL="319405" lvl="1" indent="-271145">
              <a:buClr>
                <a:srgbClr val="0033CC"/>
              </a:buClr>
              <a:defRPr/>
            </a:pPr>
            <a:r>
              <a:rPr lang="fi-FI">
                <a:solidFill>
                  <a:srgbClr val="000000"/>
                </a:solidFill>
                <a:latin typeface="Arial"/>
                <a:cs typeface="Arial"/>
              </a:rPr>
              <a:t>Rakentamisen aikaiset liikennevaikutukset</a:t>
            </a:r>
          </a:p>
          <a:p>
            <a:pPr marL="319722" lvl="1" indent="-271145">
              <a:buClr>
                <a:srgbClr val="0033CC"/>
              </a:buClr>
              <a:defRPr/>
            </a:pPr>
            <a:endParaRPr lang="fi-FI">
              <a:solidFill>
                <a:srgbClr val="000000"/>
              </a:solidFill>
              <a:latin typeface="Arial"/>
              <a:cs typeface="Arial"/>
            </a:endParaRPr>
          </a:p>
          <a:p>
            <a:pPr marL="271145" indent="-271145">
              <a:defRPr/>
            </a:pPr>
            <a:endParaRPr lang="fi-FI">
              <a:solidFill>
                <a:srgbClr val="000000"/>
              </a:solidFill>
              <a:latin typeface="Arial"/>
              <a:cs typeface="Arial"/>
            </a:endParaRPr>
          </a:p>
          <a:p>
            <a:pPr marL="271145" indent="-271145">
              <a:buClr>
                <a:srgbClr val="0033CC"/>
              </a:buClr>
              <a:defRPr/>
            </a:pPr>
            <a:r>
              <a:rPr lang="fi-FI">
                <a:solidFill>
                  <a:srgbClr val="000000"/>
                </a:solidFill>
                <a:latin typeface="Arial"/>
                <a:cs typeface="Arial"/>
              </a:rPr>
              <a:t>Arviointiselostus täydennettiin muuttuneen linjauksen osalta (Tuusula, Vantaa, ja Kerava) ja </a:t>
            </a:r>
            <a:r>
              <a:rPr lang="fi-FI" dirty="0">
                <a:solidFill>
                  <a:srgbClr val="000000"/>
                </a:solidFill>
                <a:latin typeface="Arial"/>
                <a:cs typeface="Arial"/>
                <a:hlinkClick r:id="rId4"/>
              </a:rPr>
              <a:t>perusteltu päätelmä</a:t>
            </a:r>
            <a:r>
              <a:rPr lang="fi-FI" dirty="0">
                <a:solidFill>
                  <a:srgbClr val="000000"/>
                </a:solidFill>
                <a:latin typeface="Arial"/>
                <a:cs typeface="Arial"/>
              </a:rPr>
              <a:t> </a:t>
            </a:r>
            <a:r>
              <a:rPr lang="fi-FI">
                <a:solidFill>
                  <a:srgbClr val="000000"/>
                </a:solidFill>
                <a:latin typeface="Arial"/>
                <a:cs typeface="Arial"/>
              </a:rPr>
              <a:t>annettiin 20.3.2026.</a:t>
            </a:r>
          </a:p>
          <a:p>
            <a:pPr marL="271145" indent="-271145">
              <a:buClr>
                <a:srgbClr val="0033CC"/>
              </a:buClr>
              <a:defRPr/>
            </a:pPr>
            <a:endParaRPr lang="fi-FI">
              <a:solidFill>
                <a:srgbClr val="000000"/>
              </a:solidFill>
              <a:latin typeface="Arial"/>
              <a:cs typeface="Arial"/>
            </a:endParaRPr>
          </a:p>
          <a:p>
            <a:pPr marL="271145" indent="-271145">
              <a:buClr>
                <a:srgbClr val="0033CC"/>
              </a:buClr>
              <a:defRPr/>
            </a:pPr>
            <a:endParaRPr lang="fi-FI" sz="2100">
              <a:solidFill>
                <a:srgbClr val="000000"/>
              </a:solidFill>
              <a:latin typeface="Arial"/>
              <a:cs typeface="Arial"/>
            </a:endParaRPr>
          </a:p>
          <a:p>
            <a:pPr marL="271145" indent="-271145"/>
            <a:endParaRPr lang="fi-FI"/>
          </a:p>
        </p:txBody>
      </p:sp>
      <p:pic>
        <p:nvPicPr>
          <p:cNvPr id="5" name="Kuva 5">
            <a:extLst>
              <a:ext uri="{FF2B5EF4-FFF2-40B4-BE49-F238E27FC236}">
                <a16:creationId xmlns:a16="http://schemas.microsoft.com/office/drawing/2014/main" id="{375923B0-FC51-75D2-A525-0750AC4683E8}"/>
              </a:ext>
            </a:extLst>
          </p:cNvPr>
          <p:cNvPicPr>
            <a:picLocks noChangeAspect="1"/>
          </p:cNvPicPr>
          <p:nvPr>
            <p:custDataLst>
              <p:tags r:id="rId1"/>
            </p:custDataLst>
          </p:nvPr>
        </p:nvPicPr>
        <p:blipFill rotWithShape="1">
          <a:blip r:embed="rId5"/>
          <a:srcRect l="12" r="12"/>
          <a:stretch/>
        </p:blipFill>
        <p:spPr>
          <a:xfrm>
            <a:off x="6900421" y="1249925"/>
            <a:ext cx="5112470" cy="3408313"/>
          </a:xfrm>
          <a:prstGeom prst="rect">
            <a:avLst/>
          </a:prstGeom>
        </p:spPr>
      </p:pic>
    </p:spTree>
    <p:extLst>
      <p:ext uri="{BB962C8B-B14F-4D97-AF65-F5344CB8AC3E}">
        <p14:creationId xmlns:p14="http://schemas.microsoft.com/office/powerpoint/2010/main" val="329248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3537F347-98D0-0BE1-A57F-EB0597AC87C0}"/>
              </a:ext>
            </a:extLst>
          </p:cNvPr>
          <p:cNvSpPr>
            <a:spLocks noGrp="1"/>
          </p:cNvSpPr>
          <p:nvPr>
            <p:ph type="title"/>
          </p:nvPr>
        </p:nvSpPr>
        <p:spPr/>
        <p:txBody>
          <a:bodyPr/>
          <a:lstStyle/>
          <a:p>
            <a:r>
              <a:rPr lang="fi-FI" dirty="0"/>
              <a:t>Matkustajamääräennusteet</a:t>
            </a:r>
          </a:p>
        </p:txBody>
      </p:sp>
      <p:sp>
        <p:nvSpPr>
          <p:cNvPr id="4" name="Text Placeholder 6">
            <a:extLst>
              <a:ext uri="{FF2B5EF4-FFF2-40B4-BE49-F238E27FC236}">
                <a16:creationId xmlns:a16="http://schemas.microsoft.com/office/drawing/2014/main" id="{2936387E-7EF8-B6C4-DCB3-BAA1C800A133}"/>
              </a:ext>
            </a:extLst>
          </p:cNvPr>
          <p:cNvSpPr>
            <a:spLocks noGrp="1"/>
          </p:cNvSpPr>
          <p:nvPr>
            <p:ph type="body" sz="quarter" idx="10"/>
          </p:nvPr>
        </p:nvSpPr>
        <p:spPr>
          <a:xfrm>
            <a:off x="145900" y="1196870"/>
            <a:ext cx="2486315" cy="4533900"/>
          </a:xfrm>
        </p:spPr>
        <p:txBody>
          <a:bodyPr/>
          <a:lstStyle/>
          <a:p>
            <a:r>
              <a:rPr lang="fi-FI" sz="1600" dirty="0"/>
              <a:t>Hankevaihtoehdossa 1 Lentoradalla kulkee 11,5 miljoonaa matkustajaa vuodessa Pasilan ja Lentoaseman välillä.</a:t>
            </a:r>
          </a:p>
          <a:p>
            <a:r>
              <a:rPr lang="fi-FI" sz="1600" dirty="0"/>
              <a:t>Hankevaihtoehdossa 2 Lentoradalla kulkee 14,3 miljoonaa matkustajaa vuodessa Pasilan ja Lentoaseman välillä.</a:t>
            </a:r>
          </a:p>
          <a:p>
            <a:endParaRPr lang="fi-FI" dirty="0"/>
          </a:p>
          <a:p>
            <a:endParaRPr lang="fi-FI" dirty="0"/>
          </a:p>
        </p:txBody>
      </p:sp>
      <p:grpSp>
        <p:nvGrpSpPr>
          <p:cNvPr id="5" name="Ryhmä 4">
            <a:extLst>
              <a:ext uri="{FF2B5EF4-FFF2-40B4-BE49-F238E27FC236}">
                <a16:creationId xmlns:a16="http://schemas.microsoft.com/office/drawing/2014/main" id="{EB22811F-17D2-B43F-DEC9-D96246848E1D}"/>
              </a:ext>
            </a:extLst>
          </p:cNvPr>
          <p:cNvGrpSpPr/>
          <p:nvPr/>
        </p:nvGrpSpPr>
        <p:grpSpPr>
          <a:xfrm>
            <a:off x="2018371" y="1632267"/>
            <a:ext cx="10284656" cy="4902348"/>
            <a:chOff x="2190440" y="1688024"/>
            <a:chExt cx="9662718" cy="4238959"/>
          </a:xfrm>
        </p:grpSpPr>
        <p:grpSp>
          <p:nvGrpSpPr>
            <p:cNvPr id="6" name="Group 171">
              <a:extLst>
                <a:ext uri="{FF2B5EF4-FFF2-40B4-BE49-F238E27FC236}">
                  <a16:creationId xmlns:a16="http://schemas.microsoft.com/office/drawing/2014/main" id="{0EA3E4D2-4CFC-A73B-DE61-AB3DE9D1C780}"/>
                </a:ext>
              </a:extLst>
            </p:cNvPr>
            <p:cNvGrpSpPr/>
            <p:nvPr/>
          </p:nvGrpSpPr>
          <p:grpSpPr>
            <a:xfrm>
              <a:off x="2454729" y="1688024"/>
              <a:ext cx="3230239" cy="3863972"/>
              <a:chOff x="20598" y="0"/>
              <a:chExt cx="4482496" cy="4341269"/>
            </a:xfrm>
          </p:grpSpPr>
          <p:cxnSp>
            <p:nvCxnSpPr>
              <p:cNvPr id="96" name="Straight Connector 172">
                <a:extLst>
                  <a:ext uri="{FF2B5EF4-FFF2-40B4-BE49-F238E27FC236}">
                    <a16:creationId xmlns:a16="http://schemas.microsoft.com/office/drawing/2014/main" id="{5887704C-5F40-5D78-9AE2-938C5FFF8102}"/>
                  </a:ext>
                </a:extLst>
              </p:cNvPr>
              <p:cNvCxnSpPr>
                <a:cxnSpLocks/>
              </p:cNvCxnSpPr>
              <p:nvPr/>
            </p:nvCxnSpPr>
            <p:spPr>
              <a:xfrm flipV="1">
                <a:off x="3097712" y="373522"/>
                <a:ext cx="584317" cy="51729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97" name="Oval 173">
                <a:extLst>
                  <a:ext uri="{FF2B5EF4-FFF2-40B4-BE49-F238E27FC236}">
                    <a16:creationId xmlns:a16="http://schemas.microsoft.com/office/drawing/2014/main" id="{B54A5441-9B7E-4527-7D28-77226A1CC30C}"/>
                  </a:ext>
                </a:extLst>
              </p:cNvPr>
              <p:cNvSpPr/>
              <p:nvPr/>
            </p:nvSpPr>
            <p:spPr>
              <a:xfrm>
                <a:off x="2022358" y="1898581"/>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Oval 174">
                <a:extLst>
                  <a:ext uri="{FF2B5EF4-FFF2-40B4-BE49-F238E27FC236}">
                    <a16:creationId xmlns:a16="http://schemas.microsoft.com/office/drawing/2014/main" id="{6AAF7DA2-8435-7079-C025-3E90FA0F4656}"/>
                  </a:ext>
                </a:extLst>
              </p:cNvPr>
              <p:cNvSpPr/>
              <p:nvPr/>
            </p:nvSpPr>
            <p:spPr>
              <a:xfrm>
                <a:off x="2895585" y="2059857"/>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99" name="Oval 175">
                <a:extLst>
                  <a:ext uri="{FF2B5EF4-FFF2-40B4-BE49-F238E27FC236}">
                    <a16:creationId xmlns:a16="http://schemas.microsoft.com/office/drawing/2014/main" id="{F16C30CC-4033-CDAA-75F1-4B32BA9FF46A}"/>
                  </a:ext>
                </a:extLst>
              </p:cNvPr>
              <p:cNvSpPr/>
              <p:nvPr/>
            </p:nvSpPr>
            <p:spPr>
              <a:xfrm>
                <a:off x="1861369" y="3471328"/>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100" name="Oval 176">
                <a:extLst>
                  <a:ext uri="{FF2B5EF4-FFF2-40B4-BE49-F238E27FC236}">
                    <a16:creationId xmlns:a16="http://schemas.microsoft.com/office/drawing/2014/main" id="{CA1DA8A6-C724-E18D-1D0A-0FD364E99F41}"/>
                  </a:ext>
                </a:extLst>
              </p:cNvPr>
              <p:cNvSpPr/>
              <p:nvPr/>
            </p:nvSpPr>
            <p:spPr>
              <a:xfrm>
                <a:off x="1312679" y="3043041"/>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101" name="Oval 177">
                <a:extLst>
                  <a:ext uri="{FF2B5EF4-FFF2-40B4-BE49-F238E27FC236}">
                    <a16:creationId xmlns:a16="http://schemas.microsoft.com/office/drawing/2014/main" id="{E01E6C4F-36C0-1E17-BB4B-26D06DBB6077}"/>
                  </a:ext>
                </a:extLst>
              </p:cNvPr>
              <p:cNvSpPr/>
              <p:nvPr/>
            </p:nvSpPr>
            <p:spPr>
              <a:xfrm>
                <a:off x="1101083" y="1934418"/>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102" name="Oval 178">
                <a:extLst>
                  <a:ext uri="{FF2B5EF4-FFF2-40B4-BE49-F238E27FC236}">
                    <a16:creationId xmlns:a16="http://schemas.microsoft.com/office/drawing/2014/main" id="{52FC1F0B-9820-0674-8ACA-528987C9B72B}"/>
                  </a:ext>
                </a:extLst>
              </p:cNvPr>
              <p:cNvSpPr/>
              <p:nvPr/>
            </p:nvSpPr>
            <p:spPr>
              <a:xfrm>
                <a:off x="489069" y="2995178"/>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Oval 179">
                <a:extLst>
                  <a:ext uri="{FF2B5EF4-FFF2-40B4-BE49-F238E27FC236}">
                    <a16:creationId xmlns:a16="http://schemas.microsoft.com/office/drawing/2014/main" id="{0716F0D0-C3F5-9CCC-C5D4-67FA8E70329E}"/>
                  </a:ext>
                </a:extLst>
              </p:cNvPr>
              <p:cNvSpPr/>
              <p:nvPr/>
            </p:nvSpPr>
            <p:spPr>
              <a:xfrm>
                <a:off x="1861369" y="4175535"/>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04" name="Straight Connector 180">
                <a:extLst>
                  <a:ext uri="{FF2B5EF4-FFF2-40B4-BE49-F238E27FC236}">
                    <a16:creationId xmlns:a16="http://schemas.microsoft.com/office/drawing/2014/main" id="{91649352-56E3-AE6B-57D7-F466818E41DE}"/>
                  </a:ext>
                </a:extLst>
              </p:cNvPr>
              <p:cNvCxnSpPr>
                <a:cxnSpLocks/>
              </p:cNvCxnSpPr>
              <p:nvPr/>
            </p:nvCxnSpPr>
            <p:spPr>
              <a:xfrm>
                <a:off x="1915370" y="3560304"/>
                <a:ext cx="0" cy="61523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5" name="Straight Connector 181">
                <a:extLst>
                  <a:ext uri="{FF2B5EF4-FFF2-40B4-BE49-F238E27FC236}">
                    <a16:creationId xmlns:a16="http://schemas.microsoft.com/office/drawing/2014/main" id="{7C4677DA-3DB1-C766-D66D-8813245587F7}"/>
                  </a:ext>
                </a:extLst>
              </p:cNvPr>
              <p:cNvCxnSpPr>
                <a:cxnSpLocks/>
              </p:cNvCxnSpPr>
              <p:nvPr/>
            </p:nvCxnSpPr>
            <p:spPr>
              <a:xfrm flipH="1">
                <a:off x="1953552" y="2135803"/>
                <a:ext cx="957849" cy="134855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6" name="Straight Connector 182">
                <a:extLst>
                  <a:ext uri="{FF2B5EF4-FFF2-40B4-BE49-F238E27FC236}">
                    <a16:creationId xmlns:a16="http://schemas.microsoft.com/office/drawing/2014/main" id="{BB86F758-4D0C-48F9-8F08-A1CA3039AFF8}"/>
                  </a:ext>
                </a:extLst>
              </p:cNvPr>
              <p:cNvCxnSpPr>
                <a:cxnSpLocks/>
              </p:cNvCxnSpPr>
              <p:nvPr/>
            </p:nvCxnSpPr>
            <p:spPr>
              <a:xfrm flipH="1" flipV="1">
                <a:off x="2130358" y="1943069"/>
                <a:ext cx="765227" cy="16127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7" name="Straight Connector 183">
                <a:extLst>
                  <a:ext uri="{FF2B5EF4-FFF2-40B4-BE49-F238E27FC236}">
                    <a16:creationId xmlns:a16="http://schemas.microsoft.com/office/drawing/2014/main" id="{CB7E847C-5360-BDA8-FD29-875BA52F25CD}"/>
                  </a:ext>
                </a:extLst>
              </p:cNvPr>
              <p:cNvCxnSpPr>
                <a:cxnSpLocks/>
              </p:cNvCxnSpPr>
              <p:nvPr/>
            </p:nvCxnSpPr>
            <p:spPr>
              <a:xfrm flipH="1">
                <a:off x="1209083" y="1943069"/>
                <a:ext cx="813275" cy="3583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8" name="Straight Connector 184">
                <a:extLst>
                  <a:ext uri="{FF2B5EF4-FFF2-40B4-BE49-F238E27FC236}">
                    <a16:creationId xmlns:a16="http://schemas.microsoft.com/office/drawing/2014/main" id="{275F75F3-E1A1-C10D-3629-443E117D6543}"/>
                  </a:ext>
                </a:extLst>
              </p:cNvPr>
              <p:cNvCxnSpPr>
                <a:cxnSpLocks/>
              </p:cNvCxnSpPr>
              <p:nvPr/>
            </p:nvCxnSpPr>
            <p:spPr>
              <a:xfrm flipH="1" flipV="1">
                <a:off x="1155084" y="2023394"/>
                <a:ext cx="211596" cy="101964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9" name="Straight Connector 185">
                <a:extLst>
                  <a:ext uri="{FF2B5EF4-FFF2-40B4-BE49-F238E27FC236}">
                    <a16:creationId xmlns:a16="http://schemas.microsoft.com/office/drawing/2014/main" id="{7565115D-48D2-641A-B978-5DF885BA0869}"/>
                  </a:ext>
                </a:extLst>
              </p:cNvPr>
              <p:cNvCxnSpPr>
                <a:cxnSpLocks/>
              </p:cNvCxnSpPr>
              <p:nvPr/>
            </p:nvCxnSpPr>
            <p:spPr>
              <a:xfrm flipH="1" flipV="1">
                <a:off x="1404862" y="3118986"/>
                <a:ext cx="472324" cy="36537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0" name="Straight Connector 186">
                <a:extLst>
                  <a:ext uri="{FF2B5EF4-FFF2-40B4-BE49-F238E27FC236}">
                    <a16:creationId xmlns:a16="http://schemas.microsoft.com/office/drawing/2014/main" id="{8F7D885C-1E6B-756A-DD41-D457623DBD99}"/>
                  </a:ext>
                </a:extLst>
              </p:cNvPr>
              <p:cNvCxnSpPr>
                <a:cxnSpLocks/>
              </p:cNvCxnSpPr>
              <p:nvPr/>
            </p:nvCxnSpPr>
            <p:spPr>
              <a:xfrm flipH="1" flipV="1">
                <a:off x="597069" y="3039666"/>
                <a:ext cx="715610" cy="4786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1" name="Straight Connector 187">
                <a:extLst>
                  <a:ext uri="{FF2B5EF4-FFF2-40B4-BE49-F238E27FC236}">
                    <a16:creationId xmlns:a16="http://schemas.microsoft.com/office/drawing/2014/main" id="{331FF95B-0144-C9CD-1C7A-A1447BDC4448}"/>
                  </a:ext>
                </a:extLst>
              </p:cNvPr>
              <p:cNvCxnSpPr>
                <a:cxnSpLocks/>
              </p:cNvCxnSpPr>
              <p:nvPr/>
            </p:nvCxnSpPr>
            <p:spPr>
              <a:xfrm flipV="1">
                <a:off x="2949585" y="893093"/>
                <a:ext cx="134911" cy="116676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2" name="Straight Connector 188">
                <a:extLst>
                  <a:ext uri="{FF2B5EF4-FFF2-40B4-BE49-F238E27FC236}">
                    <a16:creationId xmlns:a16="http://schemas.microsoft.com/office/drawing/2014/main" id="{8FDEC351-57EF-BA77-E30B-195E3B3D29E1}"/>
                  </a:ext>
                </a:extLst>
              </p:cNvPr>
              <p:cNvCxnSpPr>
                <a:cxnSpLocks/>
              </p:cNvCxnSpPr>
              <p:nvPr/>
            </p:nvCxnSpPr>
            <p:spPr>
              <a:xfrm flipH="1" flipV="1">
                <a:off x="2821841" y="228815"/>
                <a:ext cx="275871" cy="679903"/>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13" name="TextBox 319">
                <a:extLst>
                  <a:ext uri="{FF2B5EF4-FFF2-40B4-BE49-F238E27FC236}">
                    <a16:creationId xmlns:a16="http://schemas.microsoft.com/office/drawing/2014/main" id="{8DEFCECF-6D1E-5694-7032-0A8E9A0FB79C}"/>
                  </a:ext>
                </a:extLst>
              </p:cNvPr>
              <p:cNvSpPr txBox="1"/>
              <p:nvPr/>
            </p:nvSpPr>
            <p:spPr>
              <a:xfrm>
                <a:off x="1436495" y="1644895"/>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Lentoasem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14" name="TextBox 320">
                <a:extLst>
                  <a:ext uri="{FF2B5EF4-FFF2-40B4-BE49-F238E27FC236}">
                    <a16:creationId xmlns:a16="http://schemas.microsoft.com/office/drawing/2014/main" id="{2DF7CC9A-41B7-90D3-A596-83BA6ED4E8B0}"/>
                  </a:ext>
                </a:extLst>
              </p:cNvPr>
              <p:cNvSpPr txBox="1"/>
              <p:nvPr/>
            </p:nvSpPr>
            <p:spPr>
              <a:xfrm>
                <a:off x="2358866" y="770979"/>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Kytöma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15" name="TextBox 321">
                <a:extLst>
                  <a:ext uri="{FF2B5EF4-FFF2-40B4-BE49-F238E27FC236}">
                    <a16:creationId xmlns:a16="http://schemas.microsoft.com/office/drawing/2014/main" id="{7E3BE3C2-4AA4-0D4B-8C95-F5D0FAEC1508}"/>
                  </a:ext>
                </a:extLst>
              </p:cNvPr>
              <p:cNvSpPr txBox="1"/>
              <p:nvPr/>
            </p:nvSpPr>
            <p:spPr>
              <a:xfrm>
                <a:off x="2970164" y="2054536"/>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Tikkuril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16" name="TextBox 322">
                <a:extLst>
                  <a:ext uri="{FF2B5EF4-FFF2-40B4-BE49-F238E27FC236}">
                    <a16:creationId xmlns:a16="http://schemas.microsoft.com/office/drawing/2014/main" id="{BD231F3B-E6A7-4935-53DA-761FBF8F751A}"/>
                  </a:ext>
                </a:extLst>
              </p:cNvPr>
              <p:cNvSpPr txBox="1"/>
              <p:nvPr/>
            </p:nvSpPr>
            <p:spPr>
              <a:xfrm>
                <a:off x="3621713" y="159671"/>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Lahti</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17" name="TextBox 323">
                <a:extLst>
                  <a:ext uri="{FF2B5EF4-FFF2-40B4-BE49-F238E27FC236}">
                    <a16:creationId xmlns:a16="http://schemas.microsoft.com/office/drawing/2014/main" id="{24F4B505-AD34-9773-E151-B8DF709D0B8E}"/>
                  </a:ext>
                </a:extLst>
              </p:cNvPr>
              <p:cNvSpPr txBox="1"/>
              <p:nvPr/>
            </p:nvSpPr>
            <p:spPr>
              <a:xfrm>
                <a:off x="2373382" y="0"/>
                <a:ext cx="881025" cy="224714"/>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Järvenpää</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18" name="TextBox 324">
                <a:extLst>
                  <a:ext uri="{FF2B5EF4-FFF2-40B4-BE49-F238E27FC236}">
                    <a16:creationId xmlns:a16="http://schemas.microsoft.com/office/drawing/2014/main" id="{9F9699AE-9EAC-1B1C-6C49-9C657B40EB79}"/>
                  </a:ext>
                </a:extLst>
              </p:cNvPr>
              <p:cNvSpPr txBox="1"/>
              <p:nvPr/>
            </p:nvSpPr>
            <p:spPr>
              <a:xfrm>
                <a:off x="688272" y="1723211"/>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Kivistö</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19" name="TextBox 325">
                <a:extLst>
                  <a:ext uri="{FF2B5EF4-FFF2-40B4-BE49-F238E27FC236}">
                    <a16:creationId xmlns:a16="http://schemas.microsoft.com/office/drawing/2014/main" id="{F8431E04-9AEA-B641-4712-22FED4981CAD}"/>
                  </a:ext>
                </a:extLst>
              </p:cNvPr>
              <p:cNvSpPr txBox="1"/>
              <p:nvPr/>
            </p:nvSpPr>
            <p:spPr>
              <a:xfrm>
                <a:off x="608013" y="3146707"/>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Huopalahti</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0" name="TextBox 326">
                <a:extLst>
                  <a:ext uri="{FF2B5EF4-FFF2-40B4-BE49-F238E27FC236}">
                    <a16:creationId xmlns:a16="http://schemas.microsoft.com/office/drawing/2014/main" id="{4C292F5E-199E-009B-7705-4B77777BE4D3}"/>
                  </a:ext>
                </a:extLst>
              </p:cNvPr>
              <p:cNvSpPr txBox="1"/>
              <p:nvPr/>
            </p:nvSpPr>
            <p:spPr>
              <a:xfrm>
                <a:off x="20598" y="2761175"/>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Leppävaar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1" name="TextBox 327">
                <a:extLst>
                  <a:ext uri="{FF2B5EF4-FFF2-40B4-BE49-F238E27FC236}">
                    <a16:creationId xmlns:a16="http://schemas.microsoft.com/office/drawing/2014/main" id="{377DFA4D-B5A1-3E2B-FD1F-918980D02849}"/>
                  </a:ext>
                </a:extLst>
              </p:cNvPr>
              <p:cNvSpPr txBox="1"/>
              <p:nvPr/>
            </p:nvSpPr>
            <p:spPr>
              <a:xfrm>
                <a:off x="1931199" y="3426778"/>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Pasil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2" name="TextBox 328">
                <a:extLst>
                  <a:ext uri="{FF2B5EF4-FFF2-40B4-BE49-F238E27FC236}">
                    <a16:creationId xmlns:a16="http://schemas.microsoft.com/office/drawing/2014/main" id="{E5363CC9-B979-D3E6-A522-C0C97FA57422}"/>
                  </a:ext>
                </a:extLst>
              </p:cNvPr>
              <p:cNvSpPr txBox="1"/>
              <p:nvPr/>
            </p:nvSpPr>
            <p:spPr>
              <a:xfrm>
                <a:off x="1912404" y="4116521"/>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Helsinki</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3" name="TextBox 329">
                <a:extLst>
                  <a:ext uri="{FF2B5EF4-FFF2-40B4-BE49-F238E27FC236}">
                    <a16:creationId xmlns:a16="http://schemas.microsoft.com/office/drawing/2014/main" id="{BB398651-B254-5BE5-297D-F4945B057A5B}"/>
                  </a:ext>
                </a:extLst>
              </p:cNvPr>
              <p:cNvSpPr txBox="1"/>
              <p:nvPr/>
            </p:nvSpPr>
            <p:spPr>
              <a:xfrm>
                <a:off x="1660303" y="3772853"/>
                <a:ext cx="509247"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36 7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4" name="TextBox 330">
                <a:extLst>
                  <a:ext uri="{FF2B5EF4-FFF2-40B4-BE49-F238E27FC236}">
                    <a16:creationId xmlns:a16="http://schemas.microsoft.com/office/drawing/2014/main" id="{E251F61E-2E1B-A347-833C-976287996DD1}"/>
                  </a:ext>
                </a:extLst>
              </p:cNvPr>
              <p:cNvSpPr txBox="1"/>
              <p:nvPr/>
            </p:nvSpPr>
            <p:spPr>
              <a:xfrm>
                <a:off x="2151991" y="2779237"/>
                <a:ext cx="509247"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38 1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5" name="TextBox 331">
                <a:extLst>
                  <a:ext uri="{FF2B5EF4-FFF2-40B4-BE49-F238E27FC236}">
                    <a16:creationId xmlns:a16="http://schemas.microsoft.com/office/drawing/2014/main" id="{E3802B88-1F0C-DBA6-352A-D93DE355DD61}"/>
                  </a:ext>
                </a:extLst>
              </p:cNvPr>
              <p:cNvSpPr txBox="1"/>
              <p:nvPr/>
            </p:nvSpPr>
            <p:spPr>
              <a:xfrm>
                <a:off x="1323437" y="3206283"/>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33 0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6" name="TextBox 332">
                <a:extLst>
                  <a:ext uri="{FF2B5EF4-FFF2-40B4-BE49-F238E27FC236}">
                    <a16:creationId xmlns:a16="http://schemas.microsoft.com/office/drawing/2014/main" id="{3CF4D485-1E98-DE51-4DDE-00E07CB78330}"/>
                  </a:ext>
                </a:extLst>
              </p:cNvPr>
              <p:cNvSpPr txBox="1"/>
              <p:nvPr/>
            </p:nvSpPr>
            <p:spPr>
              <a:xfrm>
                <a:off x="701729" y="2978370"/>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20 9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7" name="TextBox 333">
                <a:extLst>
                  <a:ext uri="{FF2B5EF4-FFF2-40B4-BE49-F238E27FC236}">
                    <a16:creationId xmlns:a16="http://schemas.microsoft.com/office/drawing/2014/main" id="{1FCEA65D-EADB-DFA4-1D7D-9C8DA9C1DCC6}"/>
                  </a:ext>
                </a:extLst>
              </p:cNvPr>
              <p:cNvSpPr txBox="1"/>
              <p:nvPr/>
            </p:nvSpPr>
            <p:spPr>
              <a:xfrm>
                <a:off x="1033190" y="2501244"/>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6 2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8" name="TextBox 334">
                <a:extLst>
                  <a:ext uri="{FF2B5EF4-FFF2-40B4-BE49-F238E27FC236}">
                    <a16:creationId xmlns:a16="http://schemas.microsoft.com/office/drawing/2014/main" id="{4B946E99-1A7E-82F1-56C4-7F36340AA047}"/>
                  </a:ext>
                </a:extLst>
              </p:cNvPr>
              <p:cNvSpPr txBox="1"/>
              <p:nvPr/>
            </p:nvSpPr>
            <p:spPr>
              <a:xfrm>
                <a:off x="1309322" y="1862638"/>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9 7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29" name="TextBox 335">
                <a:extLst>
                  <a:ext uri="{FF2B5EF4-FFF2-40B4-BE49-F238E27FC236}">
                    <a16:creationId xmlns:a16="http://schemas.microsoft.com/office/drawing/2014/main" id="{AFB3BFB7-C4E6-6A92-8822-4AFDF2396C78}"/>
                  </a:ext>
                </a:extLst>
              </p:cNvPr>
              <p:cNvSpPr txBox="1"/>
              <p:nvPr/>
            </p:nvSpPr>
            <p:spPr>
              <a:xfrm>
                <a:off x="2241786" y="1910490"/>
                <a:ext cx="509247"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0 3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30" name="TextBox 336">
                <a:extLst>
                  <a:ext uri="{FF2B5EF4-FFF2-40B4-BE49-F238E27FC236}">
                    <a16:creationId xmlns:a16="http://schemas.microsoft.com/office/drawing/2014/main" id="{8E508540-C5AE-2237-3F04-026A5561D96C}"/>
                  </a:ext>
                </a:extLst>
              </p:cNvPr>
              <p:cNvSpPr txBox="1"/>
              <p:nvPr/>
            </p:nvSpPr>
            <p:spPr>
              <a:xfrm>
                <a:off x="2740025" y="1608824"/>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32 1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31" name="TextBox 337">
                <a:extLst>
                  <a:ext uri="{FF2B5EF4-FFF2-40B4-BE49-F238E27FC236}">
                    <a16:creationId xmlns:a16="http://schemas.microsoft.com/office/drawing/2014/main" id="{CB0A5F95-5561-2BA2-F6F0-96EDCD5B7A82}"/>
                  </a:ext>
                </a:extLst>
              </p:cNvPr>
              <p:cNvSpPr txBox="1"/>
              <p:nvPr/>
            </p:nvSpPr>
            <p:spPr>
              <a:xfrm>
                <a:off x="2615843" y="541103"/>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5 5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32" name="TextBox 338">
                <a:extLst>
                  <a:ext uri="{FF2B5EF4-FFF2-40B4-BE49-F238E27FC236}">
                    <a16:creationId xmlns:a16="http://schemas.microsoft.com/office/drawing/2014/main" id="{D38FC683-220B-C1A8-2EC4-D1AE424EB326}"/>
                  </a:ext>
                </a:extLst>
              </p:cNvPr>
              <p:cNvSpPr txBox="1"/>
              <p:nvPr/>
            </p:nvSpPr>
            <p:spPr>
              <a:xfrm>
                <a:off x="3243310" y="549450"/>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6 6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grpSp>
        <p:grpSp>
          <p:nvGrpSpPr>
            <p:cNvPr id="7" name="Group 210">
              <a:extLst>
                <a:ext uri="{FF2B5EF4-FFF2-40B4-BE49-F238E27FC236}">
                  <a16:creationId xmlns:a16="http://schemas.microsoft.com/office/drawing/2014/main" id="{212D06A3-33E0-B4B7-B059-9A9F40C7E14D}"/>
                </a:ext>
              </a:extLst>
            </p:cNvPr>
            <p:cNvGrpSpPr/>
            <p:nvPr/>
          </p:nvGrpSpPr>
          <p:grpSpPr>
            <a:xfrm>
              <a:off x="5444720" y="1710950"/>
              <a:ext cx="3230246" cy="3863975"/>
              <a:chOff x="20598" y="0"/>
              <a:chExt cx="4482496" cy="4341269"/>
            </a:xfrm>
          </p:grpSpPr>
          <p:grpSp>
            <p:nvGrpSpPr>
              <p:cNvPr id="54" name="Group 211">
                <a:extLst>
                  <a:ext uri="{FF2B5EF4-FFF2-40B4-BE49-F238E27FC236}">
                    <a16:creationId xmlns:a16="http://schemas.microsoft.com/office/drawing/2014/main" id="{DE54BF9B-ADFB-4097-8674-F03ADDC7E1D7}"/>
                  </a:ext>
                </a:extLst>
              </p:cNvPr>
              <p:cNvGrpSpPr/>
              <p:nvPr/>
            </p:nvGrpSpPr>
            <p:grpSpPr>
              <a:xfrm>
                <a:off x="20598" y="0"/>
                <a:ext cx="4482496" cy="4341269"/>
                <a:chOff x="20598" y="0"/>
                <a:chExt cx="4482496" cy="4341269"/>
              </a:xfrm>
            </p:grpSpPr>
            <p:cxnSp>
              <p:nvCxnSpPr>
                <p:cNvPr id="59" name="Straight Connector 216">
                  <a:extLst>
                    <a:ext uri="{FF2B5EF4-FFF2-40B4-BE49-F238E27FC236}">
                      <a16:creationId xmlns:a16="http://schemas.microsoft.com/office/drawing/2014/main" id="{48EB65CF-DEB7-D4D2-1407-004F5FD68782}"/>
                    </a:ext>
                  </a:extLst>
                </p:cNvPr>
                <p:cNvCxnSpPr>
                  <a:cxnSpLocks/>
                </p:cNvCxnSpPr>
                <p:nvPr/>
              </p:nvCxnSpPr>
              <p:spPr>
                <a:xfrm flipV="1">
                  <a:off x="3097712" y="373522"/>
                  <a:ext cx="584317" cy="51729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0" name="Oval 217">
                  <a:extLst>
                    <a:ext uri="{FF2B5EF4-FFF2-40B4-BE49-F238E27FC236}">
                      <a16:creationId xmlns:a16="http://schemas.microsoft.com/office/drawing/2014/main" id="{6EB9CC16-A725-A5BE-3E33-04E7EB2857EC}"/>
                    </a:ext>
                  </a:extLst>
                </p:cNvPr>
                <p:cNvSpPr/>
                <p:nvPr/>
              </p:nvSpPr>
              <p:spPr>
                <a:xfrm>
                  <a:off x="2022358" y="1898581"/>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Oval 218">
                  <a:extLst>
                    <a:ext uri="{FF2B5EF4-FFF2-40B4-BE49-F238E27FC236}">
                      <a16:creationId xmlns:a16="http://schemas.microsoft.com/office/drawing/2014/main" id="{B3B4D2A3-5936-955E-47D0-F2EDDE3B151B}"/>
                    </a:ext>
                  </a:extLst>
                </p:cNvPr>
                <p:cNvSpPr/>
                <p:nvPr/>
              </p:nvSpPr>
              <p:spPr>
                <a:xfrm>
                  <a:off x="2895585" y="2059857"/>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62" name="Oval 219">
                  <a:extLst>
                    <a:ext uri="{FF2B5EF4-FFF2-40B4-BE49-F238E27FC236}">
                      <a16:creationId xmlns:a16="http://schemas.microsoft.com/office/drawing/2014/main" id="{0AB9CF9D-3EE9-EC0A-CA95-A3AED2F9CF77}"/>
                    </a:ext>
                  </a:extLst>
                </p:cNvPr>
                <p:cNvSpPr/>
                <p:nvPr/>
              </p:nvSpPr>
              <p:spPr>
                <a:xfrm>
                  <a:off x="1861369" y="3471328"/>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63" name="Oval 220">
                  <a:extLst>
                    <a:ext uri="{FF2B5EF4-FFF2-40B4-BE49-F238E27FC236}">
                      <a16:creationId xmlns:a16="http://schemas.microsoft.com/office/drawing/2014/main" id="{7223B70F-B175-B608-103B-21BE7D0A00EA}"/>
                    </a:ext>
                  </a:extLst>
                </p:cNvPr>
                <p:cNvSpPr/>
                <p:nvPr/>
              </p:nvSpPr>
              <p:spPr>
                <a:xfrm>
                  <a:off x="1312679" y="3043041"/>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Oval 221">
                  <a:extLst>
                    <a:ext uri="{FF2B5EF4-FFF2-40B4-BE49-F238E27FC236}">
                      <a16:creationId xmlns:a16="http://schemas.microsoft.com/office/drawing/2014/main" id="{85C31B11-2462-83B9-8E11-3EA25F58A202}"/>
                    </a:ext>
                  </a:extLst>
                </p:cNvPr>
                <p:cNvSpPr/>
                <p:nvPr/>
              </p:nvSpPr>
              <p:spPr>
                <a:xfrm>
                  <a:off x="1101083" y="1934418"/>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65" name="Oval 222">
                  <a:extLst>
                    <a:ext uri="{FF2B5EF4-FFF2-40B4-BE49-F238E27FC236}">
                      <a16:creationId xmlns:a16="http://schemas.microsoft.com/office/drawing/2014/main" id="{BC7AE1A9-7BDA-AA19-9B1A-5AD50AD10F01}"/>
                    </a:ext>
                  </a:extLst>
                </p:cNvPr>
                <p:cNvSpPr/>
                <p:nvPr/>
              </p:nvSpPr>
              <p:spPr>
                <a:xfrm>
                  <a:off x="489069" y="2995178"/>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66" name="Oval 223">
                  <a:extLst>
                    <a:ext uri="{FF2B5EF4-FFF2-40B4-BE49-F238E27FC236}">
                      <a16:creationId xmlns:a16="http://schemas.microsoft.com/office/drawing/2014/main" id="{691EF1BA-8DDF-FE8B-347B-49A83625CA4B}"/>
                    </a:ext>
                  </a:extLst>
                </p:cNvPr>
                <p:cNvSpPr/>
                <p:nvPr/>
              </p:nvSpPr>
              <p:spPr>
                <a:xfrm>
                  <a:off x="1861369" y="4175535"/>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67" name="Straight Connector 224">
                  <a:extLst>
                    <a:ext uri="{FF2B5EF4-FFF2-40B4-BE49-F238E27FC236}">
                      <a16:creationId xmlns:a16="http://schemas.microsoft.com/office/drawing/2014/main" id="{3892B4B7-343C-3D6A-2A87-89A42587F970}"/>
                    </a:ext>
                  </a:extLst>
                </p:cNvPr>
                <p:cNvCxnSpPr>
                  <a:cxnSpLocks/>
                  <a:stCxn id="62" idx="4"/>
                  <a:endCxn id="66" idx="0"/>
                </p:cNvCxnSpPr>
                <p:nvPr/>
              </p:nvCxnSpPr>
              <p:spPr>
                <a:xfrm>
                  <a:off x="1915370" y="3560304"/>
                  <a:ext cx="0" cy="61523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8" name="Straight Connector 225">
                  <a:extLst>
                    <a:ext uri="{FF2B5EF4-FFF2-40B4-BE49-F238E27FC236}">
                      <a16:creationId xmlns:a16="http://schemas.microsoft.com/office/drawing/2014/main" id="{C24647F8-B19B-DD2C-3593-D526B0240733}"/>
                    </a:ext>
                  </a:extLst>
                </p:cNvPr>
                <p:cNvCxnSpPr>
                  <a:cxnSpLocks/>
                  <a:stCxn id="61" idx="3"/>
                  <a:endCxn id="62" idx="7"/>
                </p:cNvCxnSpPr>
                <p:nvPr/>
              </p:nvCxnSpPr>
              <p:spPr>
                <a:xfrm flipH="1">
                  <a:off x="1953552" y="2135803"/>
                  <a:ext cx="957849" cy="134855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9" name="Straight Connector 226">
                  <a:extLst>
                    <a:ext uri="{FF2B5EF4-FFF2-40B4-BE49-F238E27FC236}">
                      <a16:creationId xmlns:a16="http://schemas.microsoft.com/office/drawing/2014/main" id="{E5DC1322-089A-A31A-FEA4-771DE13C5E2A}"/>
                    </a:ext>
                  </a:extLst>
                </p:cNvPr>
                <p:cNvCxnSpPr>
                  <a:cxnSpLocks/>
                  <a:stCxn id="61" idx="2"/>
                  <a:endCxn id="60" idx="6"/>
                </p:cNvCxnSpPr>
                <p:nvPr/>
              </p:nvCxnSpPr>
              <p:spPr>
                <a:xfrm flipH="1" flipV="1">
                  <a:off x="2130358" y="1943069"/>
                  <a:ext cx="765227" cy="16127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0" name="Straight Connector 227">
                  <a:extLst>
                    <a:ext uri="{FF2B5EF4-FFF2-40B4-BE49-F238E27FC236}">
                      <a16:creationId xmlns:a16="http://schemas.microsoft.com/office/drawing/2014/main" id="{2B062055-E01A-7F67-6A8A-D2044B411115}"/>
                    </a:ext>
                  </a:extLst>
                </p:cNvPr>
                <p:cNvCxnSpPr>
                  <a:cxnSpLocks/>
                  <a:stCxn id="60" idx="2"/>
                  <a:endCxn id="64" idx="6"/>
                </p:cNvCxnSpPr>
                <p:nvPr/>
              </p:nvCxnSpPr>
              <p:spPr>
                <a:xfrm flipH="1">
                  <a:off x="1209083" y="1943069"/>
                  <a:ext cx="813275" cy="3583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1" name="Straight Connector 228">
                  <a:extLst>
                    <a:ext uri="{FF2B5EF4-FFF2-40B4-BE49-F238E27FC236}">
                      <a16:creationId xmlns:a16="http://schemas.microsoft.com/office/drawing/2014/main" id="{36E1656D-2E36-5695-CE38-0D8A37173F39}"/>
                    </a:ext>
                  </a:extLst>
                </p:cNvPr>
                <p:cNvCxnSpPr>
                  <a:cxnSpLocks/>
                  <a:stCxn id="63" idx="0"/>
                  <a:endCxn id="64" idx="4"/>
                </p:cNvCxnSpPr>
                <p:nvPr/>
              </p:nvCxnSpPr>
              <p:spPr>
                <a:xfrm flipH="1" flipV="1">
                  <a:off x="1155084" y="2023394"/>
                  <a:ext cx="211596" cy="101964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2" name="Straight Connector 229">
                  <a:extLst>
                    <a:ext uri="{FF2B5EF4-FFF2-40B4-BE49-F238E27FC236}">
                      <a16:creationId xmlns:a16="http://schemas.microsoft.com/office/drawing/2014/main" id="{BCF84D3E-F50E-DDB3-93C4-B552CCABB97E}"/>
                    </a:ext>
                  </a:extLst>
                </p:cNvPr>
                <p:cNvCxnSpPr>
                  <a:cxnSpLocks/>
                  <a:stCxn id="62" idx="1"/>
                  <a:endCxn id="63" idx="5"/>
                </p:cNvCxnSpPr>
                <p:nvPr/>
              </p:nvCxnSpPr>
              <p:spPr>
                <a:xfrm flipH="1" flipV="1">
                  <a:off x="1404862" y="3118986"/>
                  <a:ext cx="472324" cy="36537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3" name="Straight Connector 230">
                  <a:extLst>
                    <a:ext uri="{FF2B5EF4-FFF2-40B4-BE49-F238E27FC236}">
                      <a16:creationId xmlns:a16="http://schemas.microsoft.com/office/drawing/2014/main" id="{8662A8AD-8F07-A1DD-99EA-0BCE767D0FE6}"/>
                    </a:ext>
                  </a:extLst>
                </p:cNvPr>
                <p:cNvCxnSpPr>
                  <a:cxnSpLocks/>
                  <a:stCxn id="63" idx="2"/>
                  <a:endCxn id="65" idx="6"/>
                </p:cNvCxnSpPr>
                <p:nvPr/>
              </p:nvCxnSpPr>
              <p:spPr>
                <a:xfrm flipH="1" flipV="1">
                  <a:off x="597069" y="3039666"/>
                  <a:ext cx="715610" cy="4786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4" name="Straight Connector 231">
                  <a:extLst>
                    <a:ext uri="{FF2B5EF4-FFF2-40B4-BE49-F238E27FC236}">
                      <a16:creationId xmlns:a16="http://schemas.microsoft.com/office/drawing/2014/main" id="{9638F289-F448-5722-EBFD-BE05FD91E165}"/>
                    </a:ext>
                  </a:extLst>
                </p:cNvPr>
                <p:cNvCxnSpPr>
                  <a:cxnSpLocks/>
                  <a:stCxn id="61" idx="0"/>
                </p:cNvCxnSpPr>
                <p:nvPr/>
              </p:nvCxnSpPr>
              <p:spPr>
                <a:xfrm flipV="1">
                  <a:off x="2949585" y="893093"/>
                  <a:ext cx="134911" cy="116676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5" name="Straight Connector 232">
                  <a:extLst>
                    <a:ext uri="{FF2B5EF4-FFF2-40B4-BE49-F238E27FC236}">
                      <a16:creationId xmlns:a16="http://schemas.microsoft.com/office/drawing/2014/main" id="{45F1969C-CA7B-4F2D-FD58-A0C29DFFA162}"/>
                    </a:ext>
                  </a:extLst>
                </p:cNvPr>
                <p:cNvCxnSpPr>
                  <a:cxnSpLocks/>
                </p:cNvCxnSpPr>
                <p:nvPr/>
              </p:nvCxnSpPr>
              <p:spPr>
                <a:xfrm flipH="1" flipV="1">
                  <a:off x="2821841" y="228815"/>
                  <a:ext cx="275871" cy="679903"/>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6" name="TextBox 269">
                  <a:extLst>
                    <a:ext uri="{FF2B5EF4-FFF2-40B4-BE49-F238E27FC236}">
                      <a16:creationId xmlns:a16="http://schemas.microsoft.com/office/drawing/2014/main" id="{92A5283A-5671-CA3B-6A07-680A53A0B4DF}"/>
                    </a:ext>
                  </a:extLst>
                </p:cNvPr>
                <p:cNvSpPr txBox="1"/>
                <p:nvPr/>
              </p:nvSpPr>
              <p:spPr>
                <a:xfrm>
                  <a:off x="1436495" y="1644895"/>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Lentoasem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77" name="TextBox 270">
                  <a:extLst>
                    <a:ext uri="{FF2B5EF4-FFF2-40B4-BE49-F238E27FC236}">
                      <a16:creationId xmlns:a16="http://schemas.microsoft.com/office/drawing/2014/main" id="{73CDA0E3-0563-7D71-1107-79985C6D54D5}"/>
                    </a:ext>
                  </a:extLst>
                </p:cNvPr>
                <p:cNvSpPr txBox="1"/>
                <p:nvPr/>
              </p:nvSpPr>
              <p:spPr>
                <a:xfrm>
                  <a:off x="2358866" y="770979"/>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Kytöma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78" name="TextBox 271">
                  <a:extLst>
                    <a:ext uri="{FF2B5EF4-FFF2-40B4-BE49-F238E27FC236}">
                      <a16:creationId xmlns:a16="http://schemas.microsoft.com/office/drawing/2014/main" id="{D7A01231-8C63-C653-10E4-4A643C52C990}"/>
                    </a:ext>
                  </a:extLst>
                </p:cNvPr>
                <p:cNvSpPr txBox="1"/>
                <p:nvPr/>
              </p:nvSpPr>
              <p:spPr>
                <a:xfrm>
                  <a:off x="2970164" y="2054536"/>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Tikkuril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79" name="TextBox 272">
                  <a:extLst>
                    <a:ext uri="{FF2B5EF4-FFF2-40B4-BE49-F238E27FC236}">
                      <a16:creationId xmlns:a16="http://schemas.microsoft.com/office/drawing/2014/main" id="{8ED12698-D4AB-3FD9-478A-16FE37442C33}"/>
                    </a:ext>
                  </a:extLst>
                </p:cNvPr>
                <p:cNvSpPr txBox="1"/>
                <p:nvPr/>
              </p:nvSpPr>
              <p:spPr>
                <a:xfrm>
                  <a:off x="3621713" y="159671"/>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Lahti</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0" name="TextBox 273">
                  <a:extLst>
                    <a:ext uri="{FF2B5EF4-FFF2-40B4-BE49-F238E27FC236}">
                      <a16:creationId xmlns:a16="http://schemas.microsoft.com/office/drawing/2014/main" id="{1EC7CEF9-FDB3-A6A6-F11A-BDD8EEC240F7}"/>
                    </a:ext>
                  </a:extLst>
                </p:cNvPr>
                <p:cNvSpPr txBox="1"/>
                <p:nvPr/>
              </p:nvSpPr>
              <p:spPr>
                <a:xfrm>
                  <a:off x="2373382" y="0"/>
                  <a:ext cx="881025" cy="224714"/>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Järvenpää</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1" name="TextBox 274">
                  <a:extLst>
                    <a:ext uri="{FF2B5EF4-FFF2-40B4-BE49-F238E27FC236}">
                      <a16:creationId xmlns:a16="http://schemas.microsoft.com/office/drawing/2014/main" id="{23783ED2-BA07-7F2F-4DC5-68EEA9155EB8}"/>
                    </a:ext>
                  </a:extLst>
                </p:cNvPr>
                <p:cNvSpPr txBox="1"/>
                <p:nvPr/>
              </p:nvSpPr>
              <p:spPr>
                <a:xfrm>
                  <a:off x="688272" y="1723211"/>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Kivistö</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2" name="TextBox 275">
                  <a:extLst>
                    <a:ext uri="{FF2B5EF4-FFF2-40B4-BE49-F238E27FC236}">
                      <a16:creationId xmlns:a16="http://schemas.microsoft.com/office/drawing/2014/main" id="{9185A117-F11C-E5E0-89D0-119B41BF9BF0}"/>
                    </a:ext>
                  </a:extLst>
                </p:cNvPr>
                <p:cNvSpPr txBox="1"/>
                <p:nvPr/>
              </p:nvSpPr>
              <p:spPr>
                <a:xfrm>
                  <a:off x="608013" y="3146707"/>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Huopalahti</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3" name="TextBox 276">
                  <a:extLst>
                    <a:ext uri="{FF2B5EF4-FFF2-40B4-BE49-F238E27FC236}">
                      <a16:creationId xmlns:a16="http://schemas.microsoft.com/office/drawing/2014/main" id="{14F62C1C-EC5B-C682-0EE1-48D026F90C0E}"/>
                    </a:ext>
                  </a:extLst>
                </p:cNvPr>
                <p:cNvSpPr txBox="1"/>
                <p:nvPr/>
              </p:nvSpPr>
              <p:spPr>
                <a:xfrm>
                  <a:off x="20598" y="2761175"/>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Leppävaar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4" name="TextBox 277">
                  <a:extLst>
                    <a:ext uri="{FF2B5EF4-FFF2-40B4-BE49-F238E27FC236}">
                      <a16:creationId xmlns:a16="http://schemas.microsoft.com/office/drawing/2014/main" id="{50C55585-1FBA-1DF5-6F11-7F7F2A5CD1D9}"/>
                    </a:ext>
                  </a:extLst>
                </p:cNvPr>
                <p:cNvSpPr txBox="1"/>
                <p:nvPr/>
              </p:nvSpPr>
              <p:spPr>
                <a:xfrm>
                  <a:off x="1931199" y="3426778"/>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Pasil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5" name="TextBox 278">
                  <a:extLst>
                    <a:ext uri="{FF2B5EF4-FFF2-40B4-BE49-F238E27FC236}">
                      <a16:creationId xmlns:a16="http://schemas.microsoft.com/office/drawing/2014/main" id="{7863A585-7F81-7909-9C5F-ABC0DB1E474E}"/>
                    </a:ext>
                  </a:extLst>
                </p:cNvPr>
                <p:cNvSpPr txBox="1"/>
                <p:nvPr/>
              </p:nvSpPr>
              <p:spPr>
                <a:xfrm>
                  <a:off x="1912404" y="4116521"/>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Helsinki</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6" name="TextBox 279">
                  <a:extLst>
                    <a:ext uri="{FF2B5EF4-FFF2-40B4-BE49-F238E27FC236}">
                      <a16:creationId xmlns:a16="http://schemas.microsoft.com/office/drawing/2014/main" id="{C3F73E19-F096-338E-70BA-F6DC5A038B22}"/>
                    </a:ext>
                  </a:extLst>
                </p:cNvPr>
                <p:cNvSpPr txBox="1"/>
                <p:nvPr/>
              </p:nvSpPr>
              <p:spPr>
                <a:xfrm>
                  <a:off x="1660303" y="3772673"/>
                  <a:ext cx="509247"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37 7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7" name="TextBox 280">
                  <a:extLst>
                    <a:ext uri="{FF2B5EF4-FFF2-40B4-BE49-F238E27FC236}">
                      <a16:creationId xmlns:a16="http://schemas.microsoft.com/office/drawing/2014/main" id="{A9E17A6B-9C8D-29BE-35CA-A106FCDF96FF}"/>
                    </a:ext>
                  </a:extLst>
                </p:cNvPr>
                <p:cNvSpPr txBox="1"/>
                <p:nvPr/>
              </p:nvSpPr>
              <p:spPr>
                <a:xfrm>
                  <a:off x="2151991" y="2779104"/>
                  <a:ext cx="509247"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30 4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8" name="TextBox 281">
                  <a:extLst>
                    <a:ext uri="{FF2B5EF4-FFF2-40B4-BE49-F238E27FC236}">
                      <a16:creationId xmlns:a16="http://schemas.microsoft.com/office/drawing/2014/main" id="{035F4149-56D1-8999-71F2-FCD4D0576D1C}"/>
                    </a:ext>
                  </a:extLst>
                </p:cNvPr>
                <p:cNvSpPr txBox="1"/>
                <p:nvPr/>
              </p:nvSpPr>
              <p:spPr>
                <a:xfrm>
                  <a:off x="1323437" y="3206129"/>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32 2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89" name="TextBox 282">
                  <a:extLst>
                    <a:ext uri="{FF2B5EF4-FFF2-40B4-BE49-F238E27FC236}">
                      <a16:creationId xmlns:a16="http://schemas.microsoft.com/office/drawing/2014/main" id="{1A68664F-8A4C-1BF1-7199-56C656B18FE4}"/>
                    </a:ext>
                  </a:extLst>
                </p:cNvPr>
                <p:cNvSpPr txBox="1"/>
                <p:nvPr/>
              </p:nvSpPr>
              <p:spPr>
                <a:xfrm>
                  <a:off x="701729" y="2978227"/>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21 0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90" name="TextBox 283">
                  <a:extLst>
                    <a:ext uri="{FF2B5EF4-FFF2-40B4-BE49-F238E27FC236}">
                      <a16:creationId xmlns:a16="http://schemas.microsoft.com/office/drawing/2014/main" id="{E790B970-FB26-C7BD-7F9C-0D9734F25902}"/>
                    </a:ext>
                  </a:extLst>
                </p:cNvPr>
                <p:cNvSpPr txBox="1"/>
                <p:nvPr/>
              </p:nvSpPr>
              <p:spPr>
                <a:xfrm>
                  <a:off x="1033190" y="2501123"/>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4 8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91" name="TextBox 284">
                  <a:extLst>
                    <a:ext uri="{FF2B5EF4-FFF2-40B4-BE49-F238E27FC236}">
                      <a16:creationId xmlns:a16="http://schemas.microsoft.com/office/drawing/2014/main" id="{C286426D-D974-785E-F263-38D21A76DFDE}"/>
                    </a:ext>
                  </a:extLst>
                </p:cNvPr>
                <p:cNvSpPr txBox="1"/>
                <p:nvPr/>
              </p:nvSpPr>
              <p:spPr>
                <a:xfrm>
                  <a:off x="1309322" y="1862549"/>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8 4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92" name="TextBox 285">
                  <a:extLst>
                    <a:ext uri="{FF2B5EF4-FFF2-40B4-BE49-F238E27FC236}">
                      <a16:creationId xmlns:a16="http://schemas.microsoft.com/office/drawing/2014/main" id="{E085B9F8-7019-0C99-C9EB-A539C244FF64}"/>
                    </a:ext>
                  </a:extLst>
                </p:cNvPr>
                <p:cNvSpPr txBox="1"/>
                <p:nvPr/>
              </p:nvSpPr>
              <p:spPr>
                <a:xfrm>
                  <a:off x="2241786" y="1910397"/>
                  <a:ext cx="509247"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8 7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93" name="TextBox 286">
                  <a:extLst>
                    <a:ext uri="{FF2B5EF4-FFF2-40B4-BE49-F238E27FC236}">
                      <a16:creationId xmlns:a16="http://schemas.microsoft.com/office/drawing/2014/main" id="{EB14E9EB-209A-DDF3-8EB3-915476FBBCA9}"/>
                    </a:ext>
                  </a:extLst>
                </p:cNvPr>
                <p:cNvSpPr txBox="1"/>
                <p:nvPr/>
              </p:nvSpPr>
              <p:spPr>
                <a:xfrm>
                  <a:off x="2740025" y="1608747"/>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20 8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94" name="TextBox 287">
                  <a:extLst>
                    <a:ext uri="{FF2B5EF4-FFF2-40B4-BE49-F238E27FC236}">
                      <a16:creationId xmlns:a16="http://schemas.microsoft.com/office/drawing/2014/main" id="{B1ABA418-B8BA-838F-7D22-C59B7BCF3EC5}"/>
                    </a:ext>
                  </a:extLst>
                </p:cNvPr>
                <p:cNvSpPr txBox="1"/>
                <p:nvPr/>
              </p:nvSpPr>
              <p:spPr>
                <a:xfrm>
                  <a:off x="2615843" y="541077"/>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5 5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95" name="TextBox 288">
                  <a:extLst>
                    <a:ext uri="{FF2B5EF4-FFF2-40B4-BE49-F238E27FC236}">
                      <a16:creationId xmlns:a16="http://schemas.microsoft.com/office/drawing/2014/main" id="{0F5C1651-DB09-36A9-25EE-D33829ED2B70}"/>
                    </a:ext>
                  </a:extLst>
                </p:cNvPr>
                <p:cNvSpPr txBox="1"/>
                <p:nvPr/>
              </p:nvSpPr>
              <p:spPr>
                <a:xfrm>
                  <a:off x="3243310" y="549424"/>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6 6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grpSp>
          <p:cxnSp>
            <p:nvCxnSpPr>
              <p:cNvPr id="55" name="Straight Connector 212">
                <a:extLst>
                  <a:ext uri="{FF2B5EF4-FFF2-40B4-BE49-F238E27FC236}">
                    <a16:creationId xmlns:a16="http://schemas.microsoft.com/office/drawing/2014/main" id="{17BE03CF-2D2E-DB66-6240-0AC48B7CE185}"/>
                  </a:ext>
                </a:extLst>
              </p:cNvPr>
              <p:cNvCxnSpPr>
                <a:cxnSpLocks/>
                <a:stCxn id="60" idx="4"/>
                <a:endCxn id="62" idx="0"/>
              </p:cNvCxnSpPr>
              <p:nvPr/>
            </p:nvCxnSpPr>
            <p:spPr>
              <a:xfrm flipH="1">
                <a:off x="1915370" y="1987557"/>
                <a:ext cx="160989" cy="1483771"/>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213">
                <a:extLst>
                  <a:ext uri="{FF2B5EF4-FFF2-40B4-BE49-F238E27FC236}">
                    <a16:creationId xmlns:a16="http://schemas.microsoft.com/office/drawing/2014/main" id="{97C0E543-999F-BCE1-F3E5-8BD2B9B69A8C}"/>
                  </a:ext>
                </a:extLst>
              </p:cNvPr>
              <p:cNvCxnSpPr>
                <a:cxnSpLocks/>
                <a:endCxn id="60" idx="7"/>
              </p:cNvCxnSpPr>
              <p:nvPr/>
            </p:nvCxnSpPr>
            <p:spPr>
              <a:xfrm flipH="1">
                <a:off x="2114541" y="883354"/>
                <a:ext cx="976562" cy="1028258"/>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7" name="TextBox 248">
                <a:extLst>
                  <a:ext uri="{FF2B5EF4-FFF2-40B4-BE49-F238E27FC236}">
                    <a16:creationId xmlns:a16="http://schemas.microsoft.com/office/drawing/2014/main" id="{2A59C561-3FC6-3482-9295-3B6E182E8126}"/>
                  </a:ext>
                </a:extLst>
              </p:cNvPr>
              <p:cNvSpPr txBox="1"/>
              <p:nvPr/>
            </p:nvSpPr>
            <p:spPr>
              <a:xfrm>
                <a:off x="1730113" y="2448132"/>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1 5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58" name="TextBox 249">
                <a:extLst>
                  <a:ext uri="{FF2B5EF4-FFF2-40B4-BE49-F238E27FC236}">
                    <a16:creationId xmlns:a16="http://schemas.microsoft.com/office/drawing/2014/main" id="{FB1AB685-DC6D-09C7-DF55-1AC1A521FF09}"/>
                  </a:ext>
                </a:extLst>
              </p:cNvPr>
              <p:cNvSpPr txBox="1"/>
              <p:nvPr/>
            </p:nvSpPr>
            <p:spPr>
              <a:xfrm>
                <a:off x="2316553" y="1257195"/>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1 2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grpSp>
        <p:sp>
          <p:nvSpPr>
            <p:cNvPr id="8" name="Text Placeholder 6">
              <a:extLst>
                <a:ext uri="{FF2B5EF4-FFF2-40B4-BE49-F238E27FC236}">
                  <a16:creationId xmlns:a16="http://schemas.microsoft.com/office/drawing/2014/main" id="{D6B406CD-B324-C7D7-DD4E-7691D5CB1BA3}"/>
                </a:ext>
              </a:extLst>
            </p:cNvPr>
            <p:cNvSpPr txBox="1">
              <a:spLocks/>
            </p:cNvSpPr>
            <p:nvPr/>
          </p:nvSpPr>
          <p:spPr>
            <a:xfrm>
              <a:off x="2190440" y="5601780"/>
              <a:ext cx="3314482" cy="325203"/>
            </a:xfrm>
            <a:prstGeom prst="rect">
              <a:avLst/>
            </a:prstGeom>
          </p:spPr>
          <p:txBody>
            <a:bodyPr vert="horz" lIns="0" tIns="45720" rIns="91440" bIns="45720" rtlCol="0">
              <a:noAutofit/>
            </a:bodyPr>
            <a:lstStyle>
              <a:lvl1pPr marL="271463" indent="-271463" algn="l" defTabSz="914400" rtl="0" eaLnBrk="1" latinLnBrk="0" hangingPunct="1">
                <a:lnSpc>
                  <a:spcPct val="100000"/>
                </a:lnSpc>
                <a:spcBef>
                  <a:spcPts val="0"/>
                </a:spcBef>
                <a:spcAft>
                  <a:spcPts val="600"/>
                </a:spcAft>
                <a:buClr>
                  <a:schemeClr val="tx2"/>
                </a:buClr>
                <a:buFont typeface="Wingdings" pitchFamily="2" charset="2"/>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1pPr>
              <a:lvl2pPr marL="320040" indent="-219456" algn="l" defTabSz="914400" rtl="0" eaLnBrk="1" latinLnBrk="0" hangingPunct="1">
                <a:lnSpc>
                  <a:spcPct val="100000"/>
                </a:lnSpc>
                <a:spcBef>
                  <a:spcPts val="0"/>
                </a:spcBef>
                <a:spcAft>
                  <a:spcPts val="600"/>
                </a:spcAft>
                <a:buClr>
                  <a:schemeClr val="tx2"/>
                </a:buClr>
                <a:buFont typeface="Arial" panose="020B0604020202020204" pitchFamily="34" charset="0"/>
                <a:buChar char="•"/>
                <a:defRPr lang="en-US" sz="2000" b="0" i="0" kern="1200">
                  <a:solidFill>
                    <a:schemeClr val="tx1"/>
                  </a:solidFill>
                  <a:latin typeface="+mn-lt"/>
                  <a:ea typeface="+mn-ea"/>
                  <a:cs typeface="Calibri" panose="020F0502020204030204" pitchFamily="34" charset="0"/>
                  <a:sym typeface="Trebuchet MS" panose="020B0603020202020204" pitchFamily="34" charset="0"/>
                </a:defRPr>
              </a:lvl2pPr>
              <a:lvl3pPr marL="649224" marR="0" indent="-219456" algn="l" defTabSz="914400" rtl="0" eaLnBrk="1" fontAlgn="auto" latinLnBrk="0" hangingPunct="1">
                <a:lnSpc>
                  <a:spcPct val="100000"/>
                </a:lnSpc>
                <a:spcBef>
                  <a:spcPts val="0"/>
                </a:spcBef>
                <a:spcAft>
                  <a:spcPts val="600"/>
                </a:spcAft>
                <a:buClr>
                  <a:schemeClr val="tx2"/>
                </a:buClr>
                <a:buSzTx/>
                <a:buFont typeface="Trebuchet MS" panose="020B0603020202020204" pitchFamily="34" charset="0"/>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00000"/>
                </a:lnSpc>
                <a:spcBef>
                  <a:spcPts val="0"/>
                </a:spcBef>
                <a:spcAft>
                  <a:spcPts val="600"/>
                </a:spcAft>
                <a:buClr>
                  <a:schemeClr val="tx2"/>
                </a:buClr>
                <a:buFont typeface="Arial" panose="020B0604020202020204" pitchFamily="34" charset="0"/>
                <a:buNone/>
                <a:defRPr lang="en-US" sz="2800" b="0" i="0" kern="1200">
                  <a:solidFill>
                    <a:schemeClr val="tx2"/>
                  </a:solidFill>
                  <a:latin typeface="+mn-lt"/>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600"/>
                </a:spcAft>
                <a:buClrTx/>
                <a:buFont typeface="Arial" panose="020B0604020202020204" pitchFamily="34" charset="0"/>
                <a:buChar char="​"/>
                <a:defRPr lang="en-US" sz="2800" b="0" i="0" kern="1200">
                  <a:solidFill>
                    <a:schemeClr val="tx1"/>
                  </a:solidFill>
                  <a:latin typeface="+mn-lt"/>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0" i="0" kern="1200" baseline="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0" i="0" kern="1200" baseline="0" smtClean="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0" i="0" kern="1200" baseline="0" dirty="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600"/>
                </a:spcAft>
                <a:buClr>
                  <a:srgbClr val="0033CC"/>
                </a:buClr>
                <a:buSzTx/>
                <a:buFont typeface="Wingdings" pitchFamily="2" charset="2"/>
                <a:buNone/>
                <a:tabLst/>
                <a:defRPr/>
              </a:pPr>
              <a:r>
                <a:rPr kumimoji="0" lang="fi-FI" sz="1200" b="0" i="0" u="none" strike="noStrike" kern="1200" cap="none" spc="0" normalizeH="0" baseline="0" noProof="0">
                  <a:ln>
                    <a:noFill/>
                  </a:ln>
                  <a:solidFill>
                    <a:srgbClr val="000000"/>
                  </a:solidFill>
                  <a:effectLst/>
                  <a:uLnTx/>
                  <a:uFillTx/>
                  <a:latin typeface="Arial"/>
                  <a:ea typeface="+mn-ea"/>
                  <a:cs typeface="Calibri" panose="020F0502020204030204" pitchFamily="34" charset="0"/>
                  <a:sym typeface="Trebuchet MS" panose="020B0603020202020204" pitchFamily="34" charset="0"/>
                </a:rPr>
                <a:t>Ve0+ (Vertailuvaihtoehto) 2040</a:t>
              </a:r>
            </a:p>
            <a:p>
              <a:pPr marL="271463" marR="0" lvl="0" indent="-271463" algn="ctr"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endParaRPr kumimoji="0" lang="fi-FI" sz="2000" b="0" i="0" u="none" strike="noStrike" kern="1200" cap="none" spc="0" normalizeH="0" baseline="0" noProof="0">
                <a:ln>
                  <a:noFill/>
                </a:ln>
                <a:solidFill>
                  <a:srgbClr val="000000"/>
                </a:solidFill>
                <a:effectLst/>
                <a:uLnTx/>
                <a:uFillTx/>
                <a:latin typeface="Arial"/>
                <a:ea typeface="+mn-ea"/>
                <a:cs typeface="Calibri" panose="020F0502020204030204" pitchFamily="34" charset="0"/>
                <a:sym typeface="Trebuchet MS" panose="020B0603020202020204" pitchFamily="34" charset="0"/>
              </a:endParaRPr>
            </a:p>
          </p:txBody>
        </p:sp>
        <p:sp>
          <p:nvSpPr>
            <p:cNvPr id="9" name="Text Placeholder 6">
              <a:extLst>
                <a:ext uri="{FF2B5EF4-FFF2-40B4-BE49-F238E27FC236}">
                  <a16:creationId xmlns:a16="http://schemas.microsoft.com/office/drawing/2014/main" id="{5D6711B8-51A9-4D53-5905-CB480DEC780E}"/>
                </a:ext>
              </a:extLst>
            </p:cNvPr>
            <p:cNvSpPr txBox="1">
              <a:spLocks/>
            </p:cNvSpPr>
            <p:nvPr/>
          </p:nvSpPr>
          <p:spPr>
            <a:xfrm>
              <a:off x="5174927" y="5601780"/>
              <a:ext cx="3314482" cy="325203"/>
            </a:xfrm>
            <a:prstGeom prst="rect">
              <a:avLst/>
            </a:prstGeom>
          </p:spPr>
          <p:txBody>
            <a:bodyPr vert="horz" lIns="0" tIns="45720" rIns="91440" bIns="45720" rtlCol="0">
              <a:noAutofit/>
            </a:bodyPr>
            <a:lstStyle>
              <a:lvl1pPr marL="271463" indent="-271463" algn="l" defTabSz="914400" rtl="0" eaLnBrk="1" latinLnBrk="0" hangingPunct="1">
                <a:lnSpc>
                  <a:spcPct val="100000"/>
                </a:lnSpc>
                <a:spcBef>
                  <a:spcPts val="0"/>
                </a:spcBef>
                <a:spcAft>
                  <a:spcPts val="600"/>
                </a:spcAft>
                <a:buClr>
                  <a:schemeClr val="tx2"/>
                </a:buClr>
                <a:buFont typeface="Wingdings" pitchFamily="2" charset="2"/>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1pPr>
              <a:lvl2pPr marL="320040" indent="-219456" algn="l" defTabSz="914400" rtl="0" eaLnBrk="1" latinLnBrk="0" hangingPunct="1">
                <a:lnSpc>
                  <a:spcPct val="100000"/>
                </a:lnSpc>
                <a:spcBef>
                  <a:spcPts val="0"/>
                </a:spcBef>
                <a:spcAft>
                  <a:spcPts val="600"/>
                </a:spcAft>
                <a:buClr>
                  <a:schemeClr val="tx2"/>
                </a:buClr>
                <a:buFont typeface="Arial" panose="020B0604020202020204" pitchFamily="34" charset="0"/>
                <a:buChar char="•"/>
                <a:defRPr lang="en-US" sz="2000" b="0" i="0" kern="1200">
                  <a:solidFill>
                    <a:schemeClr val="tx1"/>
                  </a:solidFill>
                  <a:latin typeface="+mn-lt"/>
                  <a:ea typeface="+mn-ea"/>
                  <a:cs typeface="Calibri" panose="020F0502020204030204" pitchFamily="34" charset="0"/>
                  <a:sym typeface="Trebuchet MS" panose="020B0603020202020204" pitchFamily="34" charset="0"/>
                </a:defRPr>
              </a:lvl2pPr>
              <a:lvl3pPr marL="649224" marR="0" indent="-219456" algn="l" defTabSz="914400" rtl="0" eaLnBrk="1" fontAlgn="auto" latinLnBrk="0" hangingPunct="1">
                <a:lnSpc>
                  <a:spcPct val="100000"/>
                </a:lnSpc>
                <a:spcBef>
                  <a:spcPts val="0"/>
                </a:spcBef>
                <a:spcAft>
                  <a:spcPts val="600"/>
                </a:spcAft>
                <a:buClr>
                  <a:schemeClr val="tx2"/>
                </a:buClr>
                <a:buSzTx/>
                <a:buFont typeface="Trebuchet MS" panose="020B0603020202020204" pitchFamily="34" charset="0"/>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00000"/>
                </a:lnSpc>
                <a:spcBef>
                  <a:spcPts val="0"/>
                </a:spcBef>
                <a:spcAft>
                  <a:spcPts val="600"/>
                </a:spcAft>
                <a:buClr>
                  <a:schemeClr val="tx2"/>
                </a:buClr>
                <a:buFont typeface="Arial" panose="020B0604020202020204" pitchFamily="34" charset="0"/>
                <a:buNone/>
                <a:defRPr lang="en-US" sz="2800" b="0" i="0" kern="1200">
                  <a:solidFill>
                    <a:schemeClr val="tx2"/>
                  </a:solidFill>
                  <a:latin typeface="+mn-lt"/>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600"/>
                </a:spcAft>
                <a:buClrTx/>
                <a:buFont typeface="Arial" panose="020B0604020202020204" pitchFamily="34" charset="0"/>
                <a:buChar char="​"/>
                <a:defRPr lang="en-US" sz="2800" b="0" i="0" kern="1200">
                  <a:solidFill>
                    <a:schemeClr val="tx1"/>
                  </a:solidFill>
                  <a:latin typeface="+mn-lt"/>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0" i="0" kern="1200" baseline="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0" i="0" kern="1200" baseline="0" smtClean="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0" i="0" kern="1200" baseline="0" dirty="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600"/>
                </a:spcAft>
                <a:buClr>
                  <a:srgbClr val="0033CC"/>
                </a:buClr>
                <a:buSzTx/>
                <a:buFont typeface="Wingdings" pitchFamily="2" charset="2"/>
                <a:buNone/>
                <a:tabLst/>
                <a:defRPr/>
              </a:pPr>
              <a:r>
                <a:rPr kumimoji="0" lang="fi-FI" sz="1200" b="0" i="0" u="none" strike="noStrike" kern="1200" cap="none" spc="0" normalizeH="0" baseline="0" noProof="0">
                  <a:ln>
                    <a:noFill/>
                  </a:ln>
                  <a:solidFill>
                    <a:srgbClr val="000000"/>
                  </a:solidFill>
                  <a:effectLst/>
                  <a:uLnTx/>
                  <a:uFillTx/>
                  <a:latin typeface="Arial"/>
                  <a:ea typeface="+mn-ea"/>
                  <a:cs typeface="Calibri" panose="020F0502020204030204" pitchFamily="34" charset="0"/>
                  <a:sym typeface="Trebuchet MS" panose="020B0603020202020204" pitchFamily="34" charset="0"/>
                </a:rPr>
                <a:t>Ve1: Lentoradalla kulkee kaikki pääradan ja oikoradan kaukojunat</a:t>
              </a:r>
            </a:p>
            <a:p>
              <a:pPr marL="271463" marR="0" lvl="0" indent="-271463" algn="ctr"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endParaRPr kumimoji="0" lang="fi-FI" sz="2000" b="0" i="0" u="none" strike="noStrike" kern="1200" cap="none" spc="0" normalizeH="0" baseline="0" noProof="0">
                <a:ln>
                  <a:noFill/>
                </a:ln>
                <a:solidFill>
                  <a:srgbClr val="000000"/>
                </a:solidFill>
                <a:effectLst/>
                <a:uLnTx/>
                <a:uFillTx/>
                <a:latin typeface="Arial"/>
                <a:ea typeface="+mn-ea"/>
                <a:cs typeface="Calibri" panose="020F0502020204030204" pitchFamily="34" charset="0"/>
                <a:sym typeface="Trebuchet MS" panose="020B0603020202020204" pitchFamily="34" charset="0"/>
              </a:endParaRPr>
            </a:p>
          </p:txBody>
        </p:sp>
        <p:sp>
          <p:nvSpPr>
            <p:cNvPr id="10" name="Text Placeholder 6">
              <a:extLst>
                <a:ext uri="{FF2B5EF4-FFF2-40B4-BE49-F238E27FC236}">
                  <a16:creationId xmlns:a16="http://schemas.microsoft.com/office/drawing/2014/main" id="{08B99D37-B07C-EF10-9414-0581B913484F}"/>
                </a:ext>
              </a:extLst>
            </p:cNvPr>
            <p:cNvSpPr txBox="1">
              <a:spLocks/>
            </p:cNvSpPr>
            <p:nvPr/>
          </p:nvSpPr>
          <p:spPr>
            <a:xfrm>
              <a:off x="8349743" y="5584448"/>
              <a:ext cx="3314482" cy="325203"/>
            </a:xfrm>
            <a:prstGeom prst="rect">
              <a:avLst/>
            </a:prstGeom>
          </p:spPr>
          <p:txBody>
            <a:bodyPr vert="horz" lIns="0" tIns="45720" rIns="91440" bIns="45720" rtlCol="0">
              <a:noAutofit/>
            </a:bodyPr>
            <a:lstStyle>
              <a:lvl1pPr marL="271463" indent="-271463" algn="l" defTabSz="914400" rtl="0" eaLnBrk="1" latinLnBrk="0" hangingPunct="1">
                <a:lnSpc>
                  <a:spcPct val="100000"/>
                </a:lnSpc>
                <a:spcBef>
                  <a:spcPts val="0"/>
                </a:spcBef>
                <a:spcAft>
                  <a:spcPts val="600"/>
                </a:spcAft>
                <a:buClr>
                  <a:schemeClr val="tx2"/>
                </a:buClr>
                <a:buFont typeface="Wingdings" pitchFamily="2" charset="2"/>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1pPr>
              <a:lvl2pPr marL="320040" indent="-219456" algn="l" defTabSz="914400" rtl="0" eaLnBrk="1" latinLnBrk="0" hangingPunct="1">
                <a:lnSpc>
                  <a:spcPct val="100000"/>
                </a:lnSpc>
                <a:spcBef>
                  <a:spcPts val="0"/>
                </a:spcBef>
                <a:spcAft>
                  <a:spcPts val="600"/>
                </a:spcAft>
                <a:buClr>
                  <a:schemeClr val="tx2"/>
                </a:buClr>
                <a:buFont typeface="Arial" panose="020B0604020202020204" pitchFamily="34" charset="0"/>
                <a:buChar char="•"/>
                <a:defRPr lang="en-US" sz="2000" b="0" i="0" kern="1200">
                  <a:solidFill>
                    <a:schemeClr val="tx1"/>
                  </a:solidFill>
                  <a:latin typeface="+mn-lt"/>
                  <a:ea typeface="+mn-ea"/>
                  <a:cs typeface="Calibri" panose="020F0502020204030204" pitchFamily="34" charset="0"/>
                  <a:sym typeface="Trebuchet MS" panose="020B0603020202020204" pitchFamily="34" charset="0"/>
                </a:defRPr>
              </a:lvl2pPr>
              <a:lvl3pPr marL="649224" marR="0" indent="-219456" algn="l" defTabSz="914400" rtl="0" eaLnBrk="1" fontAlgn="auto" latinLnBrk="0" hangingPunct="1">
                <a:lnSpc>
                  <a:spcPct val="100000"/>
                </a:lnSpc>
                <a:spcBef>
                  <a:spcPts val="0"/>
                </a:spcBef>
                <a:spcAft>
                  <a:spcPts val="600"/>
                </a:spcAft>
                <a:buClr>
                  <a:schemeClr val="tx2"/>
                </a:buClr>
                <a:buSzTx/>
                <a:buFont typeface="Trebuchet MS" panose="020B0603020202020204" pitchFamily="34" charset="0"/>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00000"/>
                </a:lnSpc>
                <a:spcBef>
                  <a:spcPts val="0"/>
                </a:spcBef>
                <a:spcAft>
                  <a:spcPts val="600"/>
                </a:spcAft>
                <a:buClr>
                  <a:schemeClr val="tx2"/>
                </a:buClr>
                <a:buFont typeface="Arial" panose="020B0604020202020204" pitchFamily="34" charset="0"/>
                <a:buNone/>
                <a:defRPr lang="en-US" sz="2800" b="0" i="0" kern="1200">
                  <a:solidFill>
                    <a:schemeClr val="tx2"/>
                  </a:solidFill>
                  <a:latin typeface="+mn-lt"/>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600"/>
                </a:spcAft>
                <a:buClrTx/>
                <a:buFont typeface="Arial" panose="020B0604020202020204" pitchFamily="34" charset="0"/>
                <a:buChar char="​"/>
                <a:defRPr lang="en-US" sz="2800" b="0" i="0" kern="1200">
                  <a:solidFill>
                    <a:schemeClr val="tx1"/>
                  </a:solidFill>
                  <a:latin typeface="+mn-lt"/>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0" i="0" kern="1200" baseline="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0" i="0" kern="1200" baseline="0" smtClean="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0" i="0" kern="1200" baseline="0" dirty="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600"/>
                </a:spcAft>
                <a:buClr>
                  <a:srgbClr val="0033CC"/>
                </a:buClr>
                <a:buSzTx/>
                <a:buFont typeface="Wingdings" pitchFamily="2" charset="2"/>
                <a:buNone/>
                <a:tabLst/>
                <a:defRPr/>
              </a:pPr>
              <a:r>
                <a:rPr kumimoji="0" lang="fi-FI" sz="1200" b="0" i="0" u="none" strike="noStrike" kern="1200" cap="none" spc="0" normalizeH="0" baseline="0" noProof="0">
                  <a:ln>
                    <a:noFill/>
                  </a:ln>
                  <a:solidFill>
                    <a:srgbClr val="000000"/>
                  </a:solidFill>
                  <a:effectLst/>
                  <a:uLnTx/>
                  <a:uFillTx/>
                  <a:latin typeface="Arial"/>
                  <a:ea typeface="+mn-ea"/>
                  <a:cs typeface="Calibri" panose="020F0502020204030204" pitchFamily="34" charset="0"/>
                  <a:sym typeface="Trebuchet MS" panose="020B0603020202020204" pitchFamily="34" charset="0"/>
                </a:rPr>
                <a:t>Ve2: Lentoradalla kulkee kaikki pääradan ja oikoradan kaukojunat sekä yksi R-juna tunnissa suuntaansa</a:t>
              </a:r>
            </a:p>
            <a:p>
              <a:pPr marL="271463" marR="0" lvl="0" indent="-271463" algn="ctr" defTabSz="914400" rtl="0" eaLnBrk="1" fontAlgn="auto" latinLnBrk="0" hangingPunct="1">
                <a:lnSpc>
                  <a:spcPct val="100000"/>
                </a:lnSpc>
                <a:spcBef>
                  <a:spcPts val="0"/>
                </a:spcBef>
                <a:spcAft>
                  <a:spcPts val="600"/>
                </a:spcAft>
                <a:buClr>
                  <a:srgbClr val="0033CC"/>
                </a:buClr>
                <a:buSzTx/>
                <a:buFont typeface="Wingdings" pitchFamily="2" charset="2"/>
                <a:buChar char="§"/>
                <a:tabLst/>
                <a:defRPr/>
              </a:pPr>
              <a:endParaRPr kumimoji="0" lang="fi-FI" sz="2000" b="0" i="0" u="none" strike="noStrike" kern="1200" cap="none" spc="0" normalizeH="0" baseline="0" noProof="0">
                <a:ln>
                  <a:noFill/>
                </a:ln>
                <a:solidFill>
                  <a:srgbClr val="000000"/>
                </a:solidFill>
                <a:effectLst/>
                <a:uLnTx/>
                <a:uFillTx/>
                <a:latin typeface="Arial"/>
                <a:ea typeface="+mn-ea"/>
                <a:cs typeface="Calibri" panose="020F0502020204030204" pitchFamily="34" charset="0"/>
                <a:sym typeface="Trebuchet MS" panose="020B0603020202020204" pitchFamily="34" charset="0"/>
              </a:endParaRPr>
            </a:p>
          </p:txBody>
        </p:sp>
        <p:grpSp>
          <p:nvGrpSpPr>
            <p:cNvPr id="11" name="Group 43">
              <a:extLst>
                <a:ext uri="{FF2B5EF4-FFF2-40B4-BE49-F238E27FC236}">
                  <a16:creationId xmlns:a16="http://schemas.microsoft.com/office/drawing/2014/main" id="{F21B3AF2-53A1-53C7-C9DA-9D488FF46E6E}"/>
                </a:ext>
              </a:extLst>
            </p:cNvPr>
            <p:cNvGrpSpPr/>
            <p:nvPr/>
          </p:nvGrpSpPr>
          <p:grpSpPr>
            <a:xfrm>
              <a:off x="8622912" y="1691008"/>
              <a:ext cx="3230246" cy="3863975"/>
              <a:chOff x="20598" y="0"/>
              <a:chExt cx="4482496" cy="4341269"/>
            </a:xfrm>
          </p:grpSpPr>
          <p:grpSp>
            <p:nvGrpSpPr>
              <p:cNvPr id="12" name="Group 44">
                <a:extLst>
                  <a:ext uri="{FF2B5EF4-FFF2-40B4-BE49-F238E27FC236}">
                    <a16:creationId xmlns:a16="http://schemas.microsoft.com/office/drawing/2014/main" id="{1F968D63-A0A9-D34C-4FBB-C5D5BD9B57B0}"/>
                  </a:ext>
                </a:extLst>
              </p:cNvPr>
              <p:cNvGrpSpPr/>
              <p:nvPr/>
            </p:nvGrpSpPr>
            <p:grpSpPr>
              <a:xfrm>
                <a:off x="20598" y="0"/>
                <a:ext cx="4482496" cy="4341269"/>
                <a:chOff x="20598" y="0"/>
                <a:chExt cx="4482496" cy="4341269"/>
              </a:xfrm>
            </p:grpSpPr>
            <p:cxnSp>
              <p:nvCxnSpPr>
                <p:cNvPr id="17" name="Straight Connector 49">
                  <a:extLst>
                    <a:ext uri="{FF2B5EF4-FFF2-40B4-BE49-F238E27FC236}">
                      <a16:creationId xmlns:a16="http://schemas.microsoft.com/office/drawing/2014/main" id="{8EDAA19D-0E69-3314-D155-2482DD81E7A9}"/>
                    </a:ext>
                  </a:extLst>
                </p:cNvPr>
                <p:cNvCxnSpPr>
                  <a:cxnSpLocks/>
                </p:cNvCxnSpPr>
                <p:nvPr/>
              </p:nvCxnSpPr>
              <p:spPr>
                <a:xfrm flipV="1">
                  <a:off x="3097712" y="373522"/>
                  <a:ext cx="584317" cy="51729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8" name="Oval 50">
                  <a:extLst>
                    <a:ext uri="{FF2B5EF4-FFF2-40B4-BE49-F238E27FC236}">
                      <a16:creationId xmlns:a16="http://schemas.microsoft.com/office/drawing/2014/main" id="{AF00F0CF-E358-E17A-4EB7-93F04D45EE88}"/>
                    </a:ext>
                  </a:extLst>
                </p:cNvPr>
                <p:cNvSpPr/>
                <p:nvPr/>
              </p:nvSpPr>
              <p:spPr>
                <a:xfrm>
                  <a:off x="2022358" y="1898581"/>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Oval 51">
                  <a:extLst>
                    <a:ext uri="{FF2B5EF4-FFF2-40B4-BE49-F238E27FC236}">
                      <a16:creationId xmlns:a16="http://schemas.microsoft.com/office/drawing/2014/main" id="{474D59FA-F493-D43F-D70A-1C83C125E751}"/>
                    </a:ext>
                  </a:extLst>
                </p:cNvPr>
                <p:cNvSpPr/>
                <p:nvPr/>
              </p:nvSpPr>
              <p:spPr>
                <a:xfrm>
                  <a:off x="2895585" y="2059857"/>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Oval 52">
                  <a:extLst>
                    <a:ext uri="{FF2B5EF4-FFF2-40B4-BE49-F238E27FC236}">
                      <a16:creationId xmlns:a16="http://schemas.microsoft.com/office/drawing/2014/main" id="{C179CA82-4825-56F1-714C-3DADBD264A5F}"/>
                    </a:ext>
                  </a:extLst>
                </p:cNvPr>
                <p:cNvSpPr/>
                <p:nvPr/>
              </p:nvSpPr>
              <p:spPr>
                <a:xfrm>
                  <a:off x="1861369" y="3471328"/>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Oval 53">
                  <a:extLst>
                    <a:ext uri="{FF2B5EF4-FFF2-40B4-BE49-F238E27FC236}">
                      <a16:creationId xmlns:a16="http://schemas.microsoft.com/office/drawing/2014/main" id="{927B326E-5735-4967-0B77-B857BD02CDA4}"/>
                    </a:ext>
                  </a:extLst>
                </p:cNvPr>
                <p:cNvSpPr/>
                <p:nvPr/>
              </p:nvSpPr>
              <p:spPr>
                <a:xfrm>
                  <a:off x="1312679" y="3043041"/>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Oval 54">
                  <a:extLst>
                    <a:ext uri="{FF2B5EF4-FFF2-40B4-BE49-F238E27FC236}">
                      <a16:creationId xmlns:a16="http://schemas.microsoft.com/office/drawing/2014/main" id="{C41FADED-8503-E867-2DC6-3D6B59472272}"/>
                    </a:ext>
                  </a:extLst>
                </p:cNvPr>
                <p:cNvSpPr/>
                <p:nvPr/>
              </p:nvSpPr>
              <p:spPr>
                <a:xfrm>
                  <a:off x="1101083" y="1934418"/>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Oval 55">
                  <a:extLst>
                    <a:ext uri="{FF2B5EF4-FFF2-40B4-BE49-F238E27FC236}">
                      <a16:creationId xmlns:a16="http://schemas.microsoft.com/office/drawing/2014/main" id="{BB8D5123-F45F-1336-90BE-59A7055F4AE2}"/>
                    </a:ext>
                  </a:extLst>
                </p:cNvPr>
                <p:cNvSpPr/>
                <p:nvPr/>
              </p:nvSpPr>
              <p:spPr>
                <a:xfrm>
                  <a:off x="489069" y="2995178"/>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Oval 56">
                  <a:extLst>
                    <a:ext uri="{FF2B5EF4-FFF2-40B4-BE49-F238E27FC236}">
                      <a16:creationId xmlns:a16="http://schemas.microsoft.com/office/drawing/2014/main" id="{2EF386FB-FB2D-359A-01B4-653F59F2D5A9}"/>
                    </a:ext>
                  </a:extLst>
                </p:cNvPr>
                <p:cNvSpPr/>
                <p:nvPr/>
              </p:nvSpPr>
              <p:spPr>
                <a:xfrm>
                  <a:off x="1861369" y="4175535"/>
                  <a:ext cx="108000" cy="88976"/>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5" name="Straight Connector 57">
                  <a:extLst>
                    <a:ext uri="{FF2B5EF4-FFF2-40B4-BE49-F238E27FC236}">
                      <a16:creationId xmlns:a16="http://schemas.microsoft.com/office/drawing/2014/main" id="{8A264274-E062-EAFA-A8C2-7A788450F2CD}"/>
                    </a:ext>
                  </a:extLst>
                </p:cNvPr>
                <p:cNvCxnSpPr>
                  <a:cxnSpLocks/>
                </p:cNvCxnSpPr>
                <p:nvPr/>
              </p:nvCxnSpPr>
              <p:spPr>
                <a:xfrm>
                  <a:off x="1915370" y="3560304"/>
                  <a:ext cx="0" cy="61523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6" name="Straight Connector 58">
                  <a:extLst>
                    <a:ext uri="{FF2B5EF4-FFF2-40B4-BE49-F238E27FC236}">
                      <a16:creationId xmlns:a16="http://schemas.microsoft.com/office/drawing/2014/main" id="{C70F2805-A8A2-40D1-A97C-89347FD2E893}"/>
                    </a:ext>
                  </a:extLst>
                </p:cNvPr>
                <p:cNvCxnSpPr>
                  <a:cxnSpLocks/>
                </p:cNvCxnSpPr>
                <p:nvPr/>
              </p:nvCxnSpPr>
              <p:spPr>
                <a:xfrm flipH="1">
                  <a:off x="1953552" y="2135803"/>
                  <a:ext cx="957849" cy="134855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7" name="Straight Connector 59">
                  <a:extLst>
                    <a:ext uri="{FF2B5EF4-FFF2-40B4-BE49-F238E27FC236}">
                      <a16:creationId xmlns:a16="http://schemas.microsoft.com/office/drawing/2014/main" id="{E10C382F-8AFA-14B7-F2F4-F172EACDF542}"/>
                    </a:ext>
                  </a:extLst>
                </p:cNvPr>
                <p:cNvCxnSpPr>
                  <a:cxnSpLocks/>
                </p:cNvCxnSpPr>
                <p:nvPr/>
              </p:nvCxnSpPr>
              <p:spPr>
                <a:xfrm flipH="1" flipV="1">
                  <a:off x="2130358" y="1943069"/>
                  <a:ext cx="765227" cy="16127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8" name="Straight Connector 60">
                  <a:extLst>
                    <a:ext uri="{FF2B5EF4-FFF2-40B4-BE49-F238E27FC236}">
                      <a16:creationId xmlns:a16="http://schemas.microsoft.com/office/drawing/2014/main" id="{D9E9C64E-BD1F-A611-1585-CA2B3C8D8F2F}"/>
                    </a:ext>
                  </a:extLst>
                </p:cNvPr>
                <p:cNvCxnSpPr>
                  <a:cxnSpLocks/>
                </p:cNvCxnSpPr>
                <p:nvPr/>
              </p:nvCxnSpPr>
              <p:spPr>
                <a:xfrm flipH="1">
                  <a:off x="1209083" y="1943069"/>
                  <a:ext cx="813275" cy="3583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9" name="Straight Connector 61">
                  <a:extLst>
                    <a:ext uri="{FF2B5EF4-FFF2-40B4-BE49-F238E27FC236}">
                      <a16:creationId xmlns:a16="http://schemas.microsoft.com/office/drawing/2014/main" id="{A7F6C9D2-1946-ECD6-1D84-4AC400962888}"/>
                    </a:ext>
                  </a:extLst>
                </p:cNvPr>
                <p:cNvCxnSpPr>
                  <a:cxnSpLocks/>
                </p:cNvCxnSpPr>
                <p:nvPr/>
              </p:nvCxnSpPr>
              <p:spPr>
                <a:xfrm flipH="1" flipV="1">
                  <a:off x="1155084" y="2023394"/>
                  <a:ext cx="211596" cy="101964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0" name="Straight Connector 62">
                  <a:extLst>
                    <a:ext uri="{FF2B5EF4-FFF2-40B4-BE49-F238E27FC236}">
                      <a16:creationId xmlns:a16="http://schemas.microsoft.com/office/drawing/2014/main" id="{F11DC333-882C-6162-D9B0-DC0A3D237E3C}"/>
                    </a:ext>
                  </a:extLst>
                </p:cNvPr>
                <p:cNvCxnSpPr>
                  <a:cxnSpLocks/>
                </p:cNvCxnSpPr>
                <p:nvPr/>
              </p:nvCxnSpPr>
              <p:spPr>
                <a:xfrm flipH="1" flipV="1">
                  <a:off x="1404862" y="3118986"/>
                  <a:ext cx="472324" cy="36537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1" name="Straight Connector 127">
                  <a:extLst>
                    <a:ext uri="{FF2B5EF4-FFF2-40B4-BE49-F238E27FC236}">
                      <a16:creationId xmlns:a16="http://schemas.microsoft.com/office/drawing/2014/main" id="{DCCFB3F3-26A1-78AA-51D0-D9CF4BD3AED4}"/>
                    </a:ext>
                  </a:extLst>
                </p:cNvPr>
                <p:cNvCxnSpPr>
                  <a:cxnSpLocks/>
                </p:cNvCxnSpPr>
                <p:nvPr/>
              </p:nvCxnSpPr>
              <p:spPr>
                <a:xfrm flipH="1" flipV="1">
                  <a:off x="597069" y="3039666"/>
                  <a:ext cx="715610" cy="4786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2" name="Straight Connector 128">
                  <a:extLst>
                    <a:ext uri="{FF2B5EF4-FFF2-40B4-BE49-F238E27FC236}">
                      <a16:creationId xmlns:a16="http://schemas.microsoft.com/office/drawing/2014/main" id="{964388BE-F77E-BBC5-74C1-B8CD5F283398}"/>
                    </a:ext>
                  </a:extLst>
                </p:cNvPr>
                <p:cNvCxnSpPr>
                  <a:cxnSpLocks/>
                </p:cNvCxnSpPr>
                <p:nvPr/>
              </p:nvCxnSpPr>
              <p:spPr>
                <a:xfrm flipV="1">
                  <a:off x="2949585" y="893093"/>
                  <a:ext cx="134911" cy="116676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3" name="Straight Connector 129">
                  <a:extLst>
                    <a:ext uri="{FF2B5EF4-FFF2-40B4-BE49-F238E27FC236}">
                      <a16:creationId xmlns:a16="http://schemas.microsoft.com/office/drawing/2014/main" id="{C5491A5C-58F5-E6B8-C497-45F197F3258A}"/>
                    </a:ext>
                  </a:extLst>
                </p:cNvPr>
                <p:cNvCxnSpPr>
                  <a:cxnSpLocks/>
                </p:cNvCxnSpPr>
                <p:nvPr/>
              </p:nvCxnSpPr>
              <p:spPr>
                <a:xfrm flipH="1" flipV="1">
                  <a:off x="2821841" y="228815"/>
                  <a:ext cx="275871" cy="679903"/>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4" name="TextBox 269">
                  <a:extLst>
                    <a:ext uri="{FF2B5EF4-FFF2-40B4-BE49-F238E27FC236}">
                      <a16:creationId xmlns:a16="http://schemas.microsoft.com/office/drawing/2014/main" id="{FDD159A6-410F-D236-E48A-F134788D098E}"/>
                    </a:ext>
                  </a:extLst>
                </p:cNvPr>
                <p:cNvSpPr txBox="1"/>
                <p:nvPr/>
              </p:nvSpPr>
              <p:spPr>
                <a:xfrm>
                  <a:off x="1436495" y="1644895"/>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Lentoasem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35" name="TextBox 270">
                  <a:extLst>
                    <a:ext uri="{FF2B5EF4-FFF2-40B4-BE49-F238E27FC236}">
                      <a16:creationId xmlns:a16="http://schemas.microsoft.com/office/drawing/2014/main" id="{1725703E-E4F9-791A-305C-36166624E3C1}"/>
                    </a:ext>
                  </a:extLst>
                </p:cNvPr>
                <p:cNvSpPr txBox="1"/>
                <p:nvPr/>
              </p:nvSpPr>
              <p:spPr>
                <a:xfrm>
                  <a:off x="2358866" y="770979"/>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Kytöma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36" name="TextBox 271">
                  <a:extLst>
                    <a:ext uri="{FF2B5EF4-FFF2-40B4-BE49-F238E27FC236}">
                      <a16:creationId xmlns:a16="http://schemas.microsoft.com/office/drawing/2014/main" id="{F9CED835-92F9-E2A1-7B3C-75B5EB049862}"/>
                    </a:ext>
                  </a:extLst>
                </p:cNvPr>
                <p:cNvSpPr txBox="1"/>
                <p:nvPr/>
              </p:nvSpPr>
              <p:spPr>
                <a:xfrm>
                  <a:off x="2970164" y="2054536"/>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Tikkuril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37" name="TextBox 272">
                  <a:extLst>
                    <a:ext uri="{FF2B5EF4-FFF2-40B4-BE49-F238E27FC236}">
                      <a16:creationId xmlns:a16="http://schemas.microsoft.com/office/drawing/2014/main" id="{7921AB07-1F97-666A-D56B-66CCAB52ADF0}"/>
                    </a:ext>
                  </a:extLst>
                </p:cNvPr>
                <p:cNvSpPr txBox="1"/>
                <p:nvPr/>
              </p:nvSpPr>
              <p:spPr>
                <a:xfrm>
                  <a:off x="3621713" y="159671"/>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Lahti</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38" name="TextBox 273">
                  <a:extLst>
                    <a:ext uri="{FF2B5EF4-FFF2-40B4-BE49-F238E27FC236}">
                      <a16:creationId xmlns:a16="http://schemas.microsoft.com/office/drawing/2014/main" id="{FF38C8FB-38F4-488D-7B01-345456D1A6DD}"/>
                    </a:ext>
                  </a:extLst>
                </p:cNvPr>
                <p:cNvSpPr txBox="1"/>
                <p:nvPr/>
              </p:nvSpPr>
              <p:spPr>
                <a:xfrm>
                  <a:off x="2373382" y="0"/>
                  <a:ext cx="881025" cy="224714"/>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Järvenpää</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39" name="TextBox 274">
                  <a:extLst>
                    <a:ext uri="{FF2B5EF4-FFF2-40B4-BE49-F238E27FC236}">
                      <a16:creationId xmlns:a16="http://schemas.microsoft.com/office/drawing/2014/main" id="{7CEE8DFF-F6CA-35CE-2702-9C8A5222FF12}"/>
                    </a:ext>
                  </a:extLst>
                </p:cNvPr>
                <p:cNvSpPr txBox="1"/>
                <p:nvPr/>
              </p:nvSpPr>
              <p:spPr>
                <a:xfrm>
                  <a:off x="688272" y="1723211"/>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Kivistö</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0" name="TextBox 275">
                  <a:extLst>
                    <a:ext uri="{FF2B5EF4-FFF2-40B4-BE49-F238E27FC236}">
                      <a16:creationId xmlns:a16="http://schemas.microsoft.com/office/drawing/2014/main" id="{FEA345B7-825F-6EA4-7A6B-384C4A129D45}"/>
                    </a:ext>
                  </a:extLst>
                </p:cNvPr>
                <p:cNvSpPr txBox="1"/>
                <p:nvPr/>
              </p:nvSpPr>
              <p:spPr>
                <a:xfrm>
                  <a:off x="608013" y="3146707"/>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Huopalahti</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1" name="TextBox 276">
                  <a:extLst>
                    <a:ext uri="{FF2B5EF4-FFF2-40B4-BE49-F238E27FC236}">
                      <a16:creationId xmlns:a16="http://schemas.microsoft.com/office/drawing/2014/main" id="{244AEEF3-543B-CDA8-E48A-9CDC0E6403A6}"/>
                    </a:ext>
                  </a:extLst>
                </p:cNvPr>
                <p:cNvSpPr txBox="1"/>
                <p:nvPr/>
              </p:nvSpPr>
              <p:spPr>
                <a:xfrm>
                  <a:off x="20598" y="2761175"/>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Leppävaar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2" name="TextBox 277">
                  <a:extLst>
                    <a:ext uri="{FF2B5EF4-FFF2-40B4-BE49-F238E27FC236}">
                      <a16:creationId xmlns:a16="http://schemas.microsoft.com/office/drawing/2014/main" id="{C831E0C8-A111-6AA9-9354-7CAEE7E9BAFF}"/>
                    </a:ext>
                  </a:extLst>
                </p:cNvPr>
                <p:cNvSpPr txBox="1"/>
                <p:nvPr/>
              </p:nvSpPr>
              <p:spPr>
                <a:xfrm>
                  <a:off x="1931199" y="3426778"/>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Pasila</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3" name="TextBox 278">
                  <a:extLst>
                    <a:ext uri="{FF2B5EF4-FFF2-40B4-BE49-F238E27FC236}">
                      <a16:creationId xmlns:a16="http://schemas.microsoft.com/office/drawing/2014/main" id="{8DF032FC-04A2-4E20-1652-653E9610A9BC}"/>
                    </a:ext>
                  </a:extLst>
                </p:cNvPr>
                <p:cNvSpPr txBox="1"/>
                <p:nvPr/>
              </p:nvSpPr>
              <p:spPr>
                <a:xfrm>
                  <a:off x="1912404" y="4116521"/>
                  <a:ext cx="881381" cy="224748"/>
                </a:xfrm>
                <a:prstGeom prst="rect">
                  <a:avLst/>
                </a:prstGeom>
                <a:noFill/>
              </p:spPr>
              <p:txBody>
                <a:bodyPr wrap="square" rtlCol="0">
                  <a:spAutoFit/>
                </a:bodyPr>
                <a:lstStyle/>
                <a:p>
                  <a:pPr marL="0" marR="0" lvl="0" indent="0" algn="l" defTabSz="914400" rtl="0" eaLnBrk="1" fontAlgn="base" latinLnBrk="0" hangingPunct="0">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Arial" panose="020B0604020202020204" pitchFamily="34" charset="0"/>
                    </a:rPr>
                    <a:t>Helsinki</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4" name="TextBox 279">
                  <a:extLst>
                    <a:ext uri="{FF2B5EF4-FFF2-40B4-BE49-F238E27FC236}">
                      <a16:creationId xmlns:a16="http://schemas.microsoft.com/office/drawing/2014/main" id="{D3331CB8-E3FE-5514-E49E-F0CB4BF3634C}"/>
                    </a:ext>
                  </a:extLst>
                </p:cNvPr>
                <p:cNvSpPr txBox="1"/>
                <p:nvPr/>
              </p:nvSpPr>
              <p:spPr>
                <a:xfrm>
                  <a:off x="1660303" y="3773052"/>
                  <a:ext cx="509247"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37 8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5" name="TextBox 280">
                  <a:extLst>
                    <a:ext uri="{FF2B5EF4-FFF2-40B4-BE49-F238E27FC236}">
                      <a16:creationId xmlns:a16="http://schemas.microsoft.com/office/drawing/2014/main" id="{4EDDFF4E-3E21-5535-15F1-CFE99079536A}"/>
                    </a:ext>
                  </a:extLst>
                </p:cNvPr>
                <p:cNvSpPr txBox="1"/>
                <p:nvPr/>
              </p:nvSpPr>
              <p:spPr>
                <a:xfrm>
                  <a:off x="2151991" y="2779383"/>
                  <a:ext cx="509247"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28 0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6" name="TextBox 281">
                  <a:extLst>
                    <a:ext uri="{FF2B5EF4-FFF2-40B4-BE49-F238E27FC236}">
                      <a16:creationId xmlns:a16="http://schemas.microsoft.com/office/drawing/2014/main" id="{3662E1D5-F5DC-3728-43EE-504DE20DDE41}"/>
                    </a:ext>
                  </a:extLst>
                </p:cNvPr>
                <p:cNvSpPr txBox="1"/>
                <p:nvPr/>
              </p:nvSpPr>
              <p:spPr>
                <a:xfrm>
                  <a:off x="1323437" y="3206450"/>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32 3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7" name="TextBox 282">
                  <a:extLst>
                    <a:ext uri="{FF2B5EF4-FFF2-40B4-BE49-F238E27FC236}">
                      <a16:creationId xmlns:a16="http://schemas.microsoft.com/office/drawing/2014/main" id="{6F6922AF-79CB-E1FF-62F6-9831D3A4042F}"/>
                    </a:ext>
                  </a:extLst>
                </p:cNvPr>
                <p:cNvSpPr txBox="1"/>
                <p:nvPr/>
              </p:nvSpPr>
              <p:spPr>
                <a:xfrm>
                  <a:off x="701729" y="2978526"/>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21 0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8" name="TextBox 283">
                  <a:extLst>
                    <a:ext uri="{FF2B5EF4-FFF2-40B4-BE49-F238E27FC236}">
                      <a16:creationId xmlns:a16="http://schemas.microsoft.com/office/drawing/2014/main" id="{AA1A2C98-6E3E-2CB3-B7C6-5A854037B6C1}"/>
                    </a:ext>
                  </a:extLst>
                </p:cNvPr>
                <p:cNvSpPr txBox="1"/>
                <p:nvPr/>
              </p:nvSpPr>
              <p:spPr>
                <a:xfrm>
                  <a:off x="1033190" y="2501374"/>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4 6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49" name="TextBox 284">
                  <a:extLst>
                    <a:ext uri="{FF2B5EF4-FFF2-40B4-BE49-F238E27FC236}">
                      <a16:creationId xmlns:a16="http://schemas.microsoft.com/office/drawing/2014/main" id="{5DCC91AA-ED1A-8B0D-9104-C5C909AE80C7}"/>
                    </a:ext>
                  </a:extLst>
                </p:cNvPr>
                <p:cNvSpPr txBox="1"/>
                <p:nvPr/>
              </p:nvSpPr>
              <p:spPr>
                <a:xfrm>
                  <a:off x="1309322" y="1862736"/>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8 2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50" name="TextBox 285">
                  <a:extLst>
                    <a:ext uri="{FF2B5EF4-FFF2-40B4-BE49-F238E27FC236}">
                      <a16:creationId xmlns:a16="http://schemas.microsoft.com/office/drawing/2014/main" id="{0C57F3BD-7D7C-6E61-FEB9-FF3EFDF2312A}"/>
                    </a:ext>
                  </a:extLst>
                </p:cNvPr>
                <p:cNvSpPr txBox="1"/>
                <p:nvPr/>
              </p:nvSpPr>
              <p:spPr>
                <a:xfrm>
                  <a:off x="2241786" y="1910589"/>
                  <a:ext cx="509247"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8 1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51" name="TextBox 286">
                  <a:extLst>
                    <a:ext uri="{FF2B5EF4-FFF2-40B4-BE49-F238E27FC236}">
                      <a16:creationId xmlns:a16="http://schemas.microsoft.com/office/drawing/2014/main" id="{76B4A292-C744-6E6D-FEB3-E55C3F4524D0}"/>
                    </a:ext>
                  </a:extLst>
                </p:cNvPr>
                <p:cNvSpPr txBox="1"/>
                <p:nvPr/>
              </p:nvSpPr>
              <p:spPr>
                <a:xfrm>
                  <a:off x="2740025" y="1608908"/>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8 5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52" name="TextBox 287">
                  <a:extLst>
                    <a:ext uri="{FF2B5EF4-FFF2-40B4-BE49-F238E27FC236}">
                      <a16:creationId xmlns:a16="http://schemas.microsoft.com/office/drawing/2014/main" id="{1ABD2E89-981B-C291-5E56-9DBDB89A27D3}"/>
                    </a:ext>
                  </a:extLst>
                </p:cNvPr>
                <p:cNvSpPr txBox="1"/>
                <p:nvPr/>
              </p:nvSpPr>
              <p:spPr>
                <a:xfrm>
                  <a:off x="2615843" y="541131"/>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5 5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53" name="TextBox 288">
                  <a:extLst>
                    <a:ext uri="{FF2B5EF4-FFF2-40B4-BE49-F238E27FC236}">
                      <a16:creationId xmlns:a16="http://schemas.microsoft.com/office/drawing/2014/main" id="{EE65EB4E-FD95-70F4-50ED-EFDAC2F082FE}"/>
                    </a:ext>
                  </a:extLst>
                </p:cNvPr>
                <p:cNvSpPr txBox="1"/>
                <p:nvPr/>
              </p:nvSpPr>
              <p:spPr>
                <a:xfrm>
                  <a:off x="3243310" y="549480"/>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6 6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grpSp>
          <p:cxnSp>
            <p:nvCxnSpPr>
              <p:cNvPr id="13" name="Straight Connector 45">
                <a:extLst>
                  <a:ext uri="{FF2B5EF4-FFF2-40B4-BE49-F238E27FC236}">
                    <a16:creationId xmlns:a16="http://schemas.microsoft.com/office/drawing/2014/main" id="{3216812A-B40D-59E5-96BF-8E4479F109D3}"/>
                  </a:ext>
                </a:extLst>
              </p:cNvPr>
              <p:cNvCxnSpPr>
                <a:cxnSpLocks/>
              </p:cNvCxnSpPr>
              <p:nvPr/>
            </p:nvCxnSpPr>
            <p:spPr>
              <a:xfrm flipH="1">
                <a:off x="1915370" y="1987557"/>
                <a:ext cx="160989" cy="1483771"/>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46">
                <a:extLst>
                  <a:ext uri="{FF2B5EF4-FFF2-40B4-BE49-F238E27FC236}">
                    <a16:creationId xmlns:a16="http://schemas.microsoft.com/office/drawing/2014/main" id="{7327F97D-D524-9064-A73B-F8BBCD8D6A7F}"/>
                  </a:ext>
                </a:extLst>
              </p:cNvPr>
              <p:cNvCxnSpPr>
                <a:cxnSpLocks/>
              </p:cNvCxnSpPr>
              <p:nvPr/>
            </p:nvCxnSpPr>
            <p:spPr>
              <a:xfrm flipH="1">
                <a:off x="2114541" y="883354"/>
                <a:ext cx="976562" cy="1028258"/>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Box 248">
                <a:extLst>
                  <a:ext uri="{FF2B5EF4-FFF2-40B4-BE49-F238E27FC236}">
                    <a16:creationId xmlns:a16="http://schemas.microsoft.com/office/drawing/2014/main" id="{52E28DEC-CA2E-A3A1-D9C7-69FDDE24D2AA}"/>
                  </a:ext>
                </a:extLst>
              </p:cNvPr>
              <p:cNvSpPr txBox="1"/>
              <p:nvPr/>
            </p:nvSpPr>
            <p:spPr>
              <a:xfrm>
                <a:off x="1730113" y="2448377"/>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4 3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sp>
            <p:nvSpPr>
              <p:cNvPr id="16" name="TextBox 249">
                <a:extLst>
                  <a:ext uri="{FF2B5EF4-FFF2-40B4-BE49-F238E27FC236}">
                    <a16:creationId xmlns:a16="http://schemas.microsoft.com/office/drawing/2014/main" id="{59B4A0F2-416D-373B-197C-701DB3CFDA61}"/>
                  </a:ext>
                </a:extLst>
              </p:cNvPr>
              <p:cNvSpPr txBox="1"/>
              <p:nvPr/>
            </p:nvSpPr>
            <p:spPr>
              <a:xfrm>
                <a:off x="2316553" y="1257321"/>
                <a:ext cx="510128" cy="170509"/>
              </a:xfrm>
              <a:prstGeom prst="rect">
                <a:avLst/>
              </a:prstGeom>
              <a:solidFill>
                <a:schemeClr val="bg1"/>
              </a:solidFill>
              <a:ln w="6350">
                <a:solidFill>
                  <a:schemeClr val="tx1"/>
                </a:solidFill>
              </a:ln>
            </p:spPr>
            <p:txBody>
              <a:bodyPr wrap="square" lIns="10800" tIns="10800" rIns="10800" bIns="10800" rtlCol="0">
                <a:spAutoFit/>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92442"/>
                    </a:solidFill>
                    <a:effectLst/>
                    <a:uLnTx/>
                    <a:uFillTx/>
                    <a:latin typeface="Calibri" panose="020F0502020204030204" pitchFamily="34" charset="0"/>
                    <a:ea typeface="Times New Roman" panose="02020603050405020304" pitchFamily="18" charset="0"/>
                    <a:cs typeface="Arial" panose="020B0604020202020204" pitchFamily="34" charset="0"/>
                  </a:rPr>
                  <a:t>13 400</a:t>
                </a:r>
                <a:endParaRPr kumimoji="0" lang="fi-FI" sz="1200" b="0" i="0" u="none" strike="noStrike" kern="1200" cap="none" spc="0" normalizeH="0" baseline="0" noProof="0">
                  <a:ln>
                    <a:noFill/>
                  </a:ln>
                  <a:solidFill>
                    <a:srgbClr val="000000"/>
                  </a:solidFill>
                  <a:effectLst/>
                  <a:uLnTx/>
                  <a:uFillTx/>
                  <a:latin typeface="Gilroy"/>
                  <a:ea typeface="Calibri" panose="020F0502020204030204" pitchFamily="34" charset="0"/>
                  <a:cs typeface="Calibri" panose="020F0502020204030204" pitchFamily="34" charset="0"/>
                </a:endParaRPr>
              </a:p>
            </p:txBody>
          </p:sp>
        </p:grpSp>
      </p:grpSp>
      <p:sp>
        <p:nvSpPr>
          <p:cNvPr id="133" name="TextBox 135">
            <a:extLst>
              <a:ext uri="{FF2B5EF4-FFF2-40B4-BE49-F238E27FC236}">
                <a16:creationId xmlns:a16="http://schemas.microsoft.com/office/drawing/2014/main" id="{A18650B9-8FC5-9B4D-3E65-16E9E3F8A70C}"/>
              </a:ext>
            </a:extLst>
          </p:cNvPr>
          <p:cNvSpPr txBox="1"/>
          <p:nvPr/>
        </p:nvSpPr>
        <p:spPr>
          <a:xfrm>
            <a:off x="8487963" y="529591"/>
            <a:ext cx="1982998" cy="938719"/>
          </a:xfrm>
          <a:prstGeom prst="rect">
            <a:avLst/>
          </a:prstGeom>
          <a:noFill/>
          <a:ln>
            <a:solidFill>
              <a:schemeClr val="tx1"/>
            </a:solidFill>
          </a:ln>
        </p:spPr>
        <p:txBody>
          <a:bodyPr wrap="square" rtlCol="0">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fi-FI" sz="1100" b="0" i="0" u="none" strike="noStrike" kern="0" cap="none" spc="0" normalizeH="0" baseline="0" noProof="0" dirty="0">
                <a:ln>
                  <a:noFill/>
                </a:ln>
                <a:solidFill>
                  <a:srgbClr val="5E5E5E"/>
                </a:solidFill>
                <a:effectLst/>
                <a:uLnTx/>
                <a:uFillTx/>
                <a:latin typeface="Arial"/>
                <a:ea typeface="+mn-ea"/>
                <a:cs typeface="+mn-cs"/>
                <a:sym typeface="Helvetica Neue"/>
              </a:rPr>
              <a:t>1000 matkaa / vuosi</a:t>
            </a:r>
            <a:br>
              <a:rPr kumimoji="0" lang="fi-FI" sz="1100" b="0" i="0" u="none" strike="noStrike" kern="0" cap="none" spc="0" normalizeH="0" baseline="0" noProof="0" dirty="0">
                <a:ln>
                  <a:noFill/>
                </a:ln>
                <a:solidFill>
                  <a:srgbClr val="5E5E5E"/>
                </a:solidFill>
                <a:effectLst/>
                <a:uLnTx/>
                <a:uFillTx/>
                <a:latin typeface="Arial"/>
                <a:ea typeface="+mn-ea"/>
                <a:cs typeface="+mn-cs"/>
                <a:sym typeface="Helvetica Neue"/>
              </a:rPr>
            </a:br>
            <a:br>
              <a:rPr kumimoji="0" lang="fi-FI" sz="1100" b="0" i="0" u="none" strike="noStrike" kern="0" cap="none" spc="0" normalizeH="0" baseline="0" noProof="0" dirty="0">
                <a:ln>
                  <a:noFill/>
                </a:ln>
                <a:solidFill>
                  <a:srgbClr val="5E5E5E"/>
                </a:solidFill>
                <a:effectLst/>
                <a:uLnTx/>
                <a:uFillTx/>
                <a:latin typeface="Arial"/>
                <a:ea typeface="+mn-ea"/>
                <a:cs typeface="+mn-cs"/>
                <a:sym typeface="Helvetica Neue"/>
              </a:rPr>
            </a:br>
            <a:r>
              <a:rPr kumimoji="0" lang="fi-FI" sz="1100" b="0" i="0" u="none" strike="noStrike" kern="0" cap="none" spc="0" normalizeH="0" baseline="0" noProof="0" dirty="0">
                <a:ln>
                  <a:noFill/>
                </a:ln>
                <a:solidFill>
                  <a:srgbClr val="5E5E5E"/>
                </a:solidFill>
                <a:effectLst/>
                <a:uLnTx/>
                <a:uFillTx/>
                <a:latin typeface="Arial"/>
                <a:ea typeface="+mn-ea"/>
                <a:cs typeface="+mn-cs"/>
                <a:sym typeface="Helvetica Neue"/>
              </a:rPr>
              <a:t>Liikennemäärät kuvaavat yhteysvälin</a:t>
            </a:r>
            <a:br>
              <a:rPr kumimoji="0" lang="fi-FI" sz="1100" b="0" i="0" u="none" strike="noStrike" kern="0" cap="none" spc="0" normalizeH="0" baseline="0" noProof="0" dirty="0">
                <a:ln>
                  <a:noFill/>
                </a:ln>
                <a:solidFill>
                  <a:srgbClr val="5E5E5E"/>
                </a:solidFill>
                <a:effectLst/>
                <a:uLnTx/>
                <a:uFillTx/>
                <a:latin typeface="Arial"/>
                <a:ea typeface="+mn-ea"/>
                <a:cs typeface="+mn-cs"/>
                <a:sym typeface="Helvetica Neue"/>
              </a:rPr>
            </a:br>
            <a:r>
              <a:rPr kumimoji="0" lang="fi-FI" sz="1100" b="0" i="0" u="none" strike="noStrike" kern="0" cap="none" spc="0" normalizeH="0" baseline="0" noProof="0" dirty="0">
                <a:ln>
                  <a:noFill/>
                </a:ln>
                <a:solidFill>
                  <a:srgbClr val="5E5E5E"/>
                </a:solidFill>
                <a:effectLst/>
                <a:uLnTx/>
                <a:uFillTx/>
                <a:latin typeface="Arial"/>
                <a:ea typeface="+mn-ea"/>
                <a:cs typeface="+mn-cs"/>
                <a:sym typeface="Helvetica Neue"/>
              </a:rPr>
              <a:t>vilkkainta asemaväliä</a:t>
            </a:r>
          </a:p>
        </p:txBody>
      </p:sp>
    </p:spTree>
    <p:extLst>
      <p:ext uri="{BB962C8B-B14F-4D97-AF65-F5344CB8AC3E}">
        <p14:creationId xmlns:p14="http://schemas.microsoft.com/office/powerpoint/2010/main" val="3540209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52199-944F-222C-4A70-57C99A6FE448}"/>
            </a:ext>
          </a:extLst>
        </p:cNvPr>
        <p:cNvGrpSpPr/>
        <p:nvPr/>
      </p:nvGrpSpPr>
      <p:grpSpPr>
        <a:xfrm>
          <a:off x="0" y="0"/>
          <a:ext cx="0" cy="0"/>
          <a:chOff x="0" y="0"/>
          <a:chExt cx="0" cy="0"/>
        </a:xfrm>
      </p:grpSpPr>
      <p:sp>
        <p:nvSpPr>
          <p:cNvPr id="5" name="Otsikko 1">
            <a:extLst>
              <a:ext uri="{FF2B5EF4-FFF2-40B4-BE49-F238E27FC236}">
                <a16:creationId xmlns:a16="http://schemas.microsoft.com/office/drawing/2014/main" id="{705AD725-BDE9-F772-0EC0-320816AED3AB}"/>
              </a:ext>
            </a:extLst>
          </p:cNvPr>
          <p:cNvSpPr>
            <a:spLocks noGrp="1"/>
          </p:cNvSpPr>
          <p:nvPr>
            <p:ph type="title"/>
          </p:nvPr>
        </p:nvSpPr>
        <p:spPr/>
        <p:txBody>
          <a:bodyPr/>
          <a:lstStyle/>
          <a:p>
            <a:r>
              <a:rPr lang="fi-FI" b="1" noProof="0" dirty="0"/>
              <a:t>Rata tunnelissa</a:t>
            </a:r>
          </a:p>
        </p:txBody>
      </p:sp>
      <p:sp>
        <p:nvSpPr>
          <p:cNvPr id="6" name="Tekstin paikkamerkki 3">
            <a:extLst>
              <a:ext uri="{FF2B5EF4-FFF2-40B4-BE49-F238E27FC236}">
                <a16:creationId xmlns:a16="http://schemas.microsoft.com/office/drawing/2014/main" id="{43405EFA-5DFC-9EF3-131B-60A26E801D6A}"/>
              </a:ext>
            </a:extLst>
          </p:cNvPr>
          <p:cNvSpPr>
            <a:spLocks noGrp="1"/>
          </p:cNvSpPr>
          <p:nvPr>
            <p:ph type="body" sz="quarter" idx="4294967295"/>
          </p:nvPr>
        </p:nvSpPr>
        <p:spPr>
          <a:xfrm>
            <a:off x="479425" y="894923"/>
            <a:ext cx="10757089" cy="4533900"/>
          </a:xfrm>
        </p:spPr>
        <p:txBody>
          <a:bodyPr vert="horz" lIns="0" tIns="45720" rIns="91440" bIns="45720" rtlCol="0" anchor="t">
            <a:noAutofit/>
          </a:bodyPr>
          <a:lstStyle/>
          <a:p>
            <a:pPr marL="271145" indent="-271145"/>
            <a:r>
              <a:rPr lang="fi-FI" sz="1800" noProof="0" dirty="0">
                <a:ea typeface="Calibri Light"/>
                <a:cs typeface="Calibri"/>
              </a:rPr>
              <a:t>Lentoradan rautatietunneli koostuu kahdesta erillisestä ratatunnelista eli molemmat raiteet kulkevat omissa rinnakkain olevissa ratatunneleissa. Ratatunneleita yhdistää määrävälein rakennettavat yhdyskäytävät</a:t>
            </a:r>
          </a:p>
          <a:p>
            <a:pPr marL="271145" indent="-271145"/>
            <a:r>
              <a:rPr lang="fi-FI" sz="1800" dirty="0">
                <a:ea typeface="Calibri Light"/>
                <a:cs typeface="Calibri"/>
              </a:rPr>
              <a:t>Suuaukolle tarvitaan lisäksi betonitunneli sille osuudelle, jossa tunnelin syvyys suhteessa kalliopinnan korkeusasemaan ei vielä mahdollista kalliotunnelin toteuttamista</a:t>
            </a:r>
            <a:endParaRPr lang="fi-FI" sz="1800" noProof="0" dirty="0">
              <a:ea typeface="Calibri Light"/>
              <a:cs typeface="Calibri"/>
            </a:endParaRPr>
          </a:p>
          <a:p>
            <a:pPr marL="271145" indent="-271145"/>
            <a:r>
              <a:rPr lang="fi-FI" sz="1800" noProof="0" dirty="0">
                <a:cs typeface="Calibri"/>
              </a:rPr>
              <a:t>Maan alla raiteet sijaitsevat pääosin 18 metrin raidevälillä omissa tunneleissaan. Tällä varmistetaan riittävän paksu kalliopilari ratatunneleiden välillä</a:t>
            </a:r>
            <a:endParaRPr lang="fi-FI" sz="1800" noProof="0" dirty="0">
              <a:ea typeface="Calibri Light" panose="020F0302020204030204" pitchFamily="34" charset="0"/>
              <a:cs typeface="Calibri"/>
            </a:endParaRPr>
          </a:p>
          <a:p>
            <a:pPr marL="271145" indent="-271145"/>
            <a:r>
              <a:rPr lang="fi-FI" sz="1800" noProof="0" dirty="0">
                <a:ea typeface="Calibri Light"/>
                <a:cs typeface="Calibri"/>
              </a:rPr>
              <a:t>T</a:t>
            </a:r>
            <a:r>
              <a:rPr lang="fi-FI" sz="1800" noProof="0" dirty="0">
                <a:effectLst/>
                <a:ea typeface="Calibri Light"/>
                <a:cs typeface="Calibri"/>
              </a:rPr>
              <a:t>unnelin korkeusasema ja syvyys vaihtelee </a:t>
            </a:r>
            <a:r>
              <a:rPr lang="fi-FI" sz="1800" noProof="0" dirty="0">
                <a:ea typeface="Calibri Light"/>
                <a:cs typeface="Calibri"/>
              </a:rPr>
              <a:t>pääosin </a:t>
            </a:r>
            <a:r>
              <a:rPr lang="fi-FI" sz="1800" noProof="0" dirty="0">
                <a:effectLst/>
                <a:ea typeface="Calibri Light"/>
                <a:cs typeface="Calibri"/>
              </a:rPr>
              <a:t>30–60 metrin välillä. Suuaukkojen ja lentoaseman alueilla tunneli on lähempänä maan pintaa.</a:t>
            </a:r>
          </a:p>
          <a:p>
            <a:pPr marL="0" indent="0">
              <a:buNone/>
            </a:pPr>
            <a:endParaRPr lang="fi-FI" sz="1800" noProof="0" dirty="0"/>
          </a:p>
        </p:txBody>
      </p:sp>
      <p:sp>
        <p:nvSpPr>
          <p:cNvPr id="3" name="Tekstin paikkamerkki 2">
            <a:extLst>
              <a:ext uri="{FF2B5EF4-FFF2-40B4-BE49-F238E27FC236}">
                <a16:creationId xmlns:a16="http://schemas.microsoft.com/office/drawing/2014/main" id="{DC02A853-C5B6-A099-BF2A-C3DEB31D403C}"/>
              </a:ext>
            </a:extLst>
          </p:cNvPr>
          <p:cNvSpPr txBox="1">
            <a:spLocks/>
          </p:cNvSpPr>
          <p:nvPr/>
        </p:nvSpPr>
        <p:spPr>
          <a:xfrm>
            <a:off x="400646" y="6437432"/>
            <a:ext cx="6966178" cy="744138"/>
          </a:xfrm>
          <a:prstGeom prst="rect">
            <a:avLst/>
          </a:prstGeom>
        </p:spPr>
        <p:txBody>
          <a:bodyPr vert="horz" lIns="0" tIns="45720" rIns="0" bIns="45720" rtlCol="0">
            <a:noAutofit/>
          </a:bodyPr>
          <a:lstStyle>
            <a:lvl1pPr marL="271463" indent="-271463" algn="l" defTabSz="914400" rtl="0" eaLnBrk="1" latinLnBrk="0" hangingPunct="1">
              <a:lnSpc>
                <a:spcPct val="100000"/>
              </a:lnSpc>
              <a:spcBef>
                <a:spcPts val="0"/>
              </a:spcBef>
              <a:spcAft>
                <a:spcPts val="600"/>
              </a:spcAft>
              <a:buClr>
                <a:schemeClr val="tx2"/>
              </a:buClr>
              <a:buFont typeface="Wingdings" pitchFamily="2" charset="2"/>
              <a:buChar char="§"/>
              <a:tabLst/>
              <a:defRPr lang="en-US" sz="1800" b="0" i="0" kern="1200">
                <a:solidFill>
                  <a:schemeClr val="tx1"/>
                </a:solidFill>
                <a:latin typeface="+mn-lt"/>
                <a:ea typeface="+mn-ea"/>
                <a:cs typeface="Calibri" panose="020F0502020204030204" pitchFamily="34" charset="0"/>
                <a:sym typeface="Trebuchet MS" panose="020B0603020202020204" pitchFamily="34" charset="0"/>
              </a:defRPr>
            </a:lvl1pPr>
            <a:lvl2pPr marL="320040" indent="-219456"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500" b="0" i="0" kern="1200">
                <a:solidFill>
                  <a:schemeClr val="tx1"/>
                </a:solidFill>
                <a:latin typeface="Gilroy" pitchFamily="2" charset="77"/>
                <a:ea typeface="+mn-ea"/>
                <a:cs typeface="Calibri" panose="020F0502020204030204" pitchFamily="34" charset="0"/>
                <a:sym typeface="Trebuchet MS" panose="020B0603020202020204" pitchFamily="34" charset="0"/>
              </a:defRPr>
            </a:lvl2pPr>
            <a:lvl3pPr marL="649224" marR="0" indent="-219456" algn="l" defTabSz="914400" rtl="0" eaLnBrk="1" fontAlgn="auto" latinLnBrk="0" hangingPunct="1">
              <a:lnSpc>
                <a:spcPct val="90000"/>
              </a:lnSpc>
              <a:spcBef>
                <a:spcPts val="0"/>
              </a:spcBef>
              <a:spcAft>
                <a:spcPts val="300"/>
              </a:spcAft>
              <a:buClr>
                <a:schemeClr val="tx2"/>
              </a:buClr>
              <a:buSzTx/>
              <a:buFont typeface="Trebuchet MS" panose="020B0603020202020204" pitchFamily="34" charset="0"/>
              <a:buChar char="–"/>
              <a:tabLst/>
              <a:defRPr lang="en-US" sz="1500" b="0" i="0" kern="1200">
                <a:solidFill>
                  <a:schemeClr val="tx1"/>
                </a:solidFill>
                <a:latin typeface="Gilroy" pitchFamily="2" charset="77"/>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None/>
              <a:defRPr lang="en-US" sz="1500" b="0" i="0" kern="1200">
                <a:solidFill>
                  <a:schemeClr val="tx2"/>
                </a:solidFill>
                <a:latin typeface="Gilroy" pitchFamily="2" charset="77"/>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500" b="0" i="0" kern="1200">
                <a:solidFill>
                  <a:schemeClr val="tx1"/>
                </a:solidFill>
                <a:latin typeface="Gilroy" pitchFamily="2" charset="77"/>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0" i="0" kern="1200" baseline="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0" i="0" kern="1200" baseline="0" smtClean="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0" i="0" kern="1200" baseline="0" dirty="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600"/>
              </a:spcAft>
              <a:buClr>
                <a:srgbClr val="0033CC"/>
              </a:buClr>
              <a:buSzTx/>
              <a:buFont typeface="Wingdings" pitchFamily="2" charset="2"/>
              <a:buNone/>
              <a:tabLst/>
              <a:defRPr/>
            </a:pPr>
            <a:r>
              <a:rPr kumimoji="0" lang="fi-FI" sz="1400" b="0" i="1" u="none" strike="noStrike" kern="1200" cap="none" spc="0" normalizeH="0" baseline="0" noProof="0" dirty="0">
                <a:ln>
                  <a:noFill/>
                </a:ln>
                <a:solidFill>
                  <a:srgbClr val="000000"/>
                </a:solidFill>
                <a:effectLst/>
                <a:uLnTx/>
                <a:uFillTx/>
                <a:latin typeface="Gilroy ExtraBold"/>
                <a:ea typeface="+mn-ea"/>
                <a:cs typeface="Calibri" panose="020F0502020204030204" pitchFamily="34" charset="0"/>
                <a:sym typeface="Trebuchet MS" panose="020B0603020202020204" pitchFamily="34" charset="0"/>
              </a:rPr>
              <a:t>Lentoradan yleispiirteinen pituusleikkaus</a:t>
            </a:r>
          </a:p>
        </p:txBody>
      </p:sp>
      <p:pic>
        <p:nvPicPr>
          <p:cNvPr id="2" name="Picture 1">
            <a:extLst>
              <a:ext uri="{FF2B5EF4-FFF2-40B4-BE49-F238E27FC236}">
                <a16:creationId xmlns:a16="http://schemas.microsoft.com/office/drawing/2014/main" id="{839252B6-6AF5-F28C-44EC-3BCFFBC68C31}"/>
              </a:ext>
            </a:extLst>
          </p:cNvPr>
          <p:cNvPicPr>
            <a:picLocks noChangeAspect="1"/>
          </p:cNvPicPr>
          <p:nvPr/>
        </p:nvPicPr>
        <p:blipFill>
          <a:blip r:embed="rId2"/>
          <a:stretch>
            <a:fillRect/>
          </a:stretch>
        </p:blipFill>
        <p:spPr>
          <a:xfrm>
            <a:off x="0" y="4309427"/>
            <a:ext cx="12192000" cy="1703644"/>
          </a:xfrm>
          <a:prstGeom prst="rect">
            <a:avLst/>
          </a:prstGeom>
        </p:spPr>
      </p:pic>
    </p:spTree>
    <p:extLst>
      <p:ext uri="{BB962C8B-B14F-4D97-AF65-F5344CB8AC3E}">
        <p14:creationId xmlns:p14="http://schemas.microsoft.com/office/powerpoint/2010/main" val="1867572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45A11-F6AC-C611-1B62-45D5F7EE616D}"/>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7CB353A2-93F0-B8B8-1A17-58AA21782F34}"/>
              </a:ext>
            </a:extLst>
          </p:cNvPr>
          <p:cNvSpPr>
            <a:spLocks noGrp="1"/>
          </p:cNvSpPr>
          <p:nvPr>
            <p:ph type="body" sz="quarter" idx="10"/>
          </p:nvPr>
        </p:nvSpPr>
        <p:spPr>
          <a:xfrm>
            <a:off x="409575" y="1479550"/>
            <a:ext cx="5686425" cy="4537075"/>
          </a:xfrm>
        </p:spPr>
        <p:txBody>
          <a:bodyPr/>
          <a:lstStyle/>
          <a:p>
            <a:r>
              <a:rPr lang="fi-FI" sz="1800" dirty="0"/>
              <a:t>Lentoradan rautatieasema sijoittuu Helsinki-Vantaan lentoasemalle tunneliin, Kehäradan aseman luoteispuolelle. ​</a:t>
            </a:r>
          </a:p>
          <a:p>
            <a:r>
              <a:rPr lang="fi-FI" sz="1800" dirty="0"/>
              <a:t>Tunneliasema toteutetaan kallioasemana eli kahtena kallioon louhittuna hallina, joihin rakennetaan aseman edellyttämät laiturirakenteet ja muut rakenteet. </a:t>
            </a:r>
          </a:p>
          <a:p>
            <a:r>
              <a:rPr lang="fi-FI" sz="1800" dirty="0"/>
              <a:t>Matkustajien jalankulkuyhteydet tunneliasemalle hyödyntävät Kehäradan nykyisten tasonvaihtokuilujen kulkuyhteyksiä. </a:t>
            </a:r>
          </a:p>
          <a:p>
            <a:r>
              <a:rPr lang="fi-FI" sz="1800" noProof="0" dirty="0"/>
              <a:t>Asemasta muodostuu valtakunnallisesti ja kansainvälisesti merkittävä henkilöliikenteen solmupiste, joka palvelee kauko- ja lähi-junaliikennettä sekä lentomatkustamista.​</a:t>
            </a:r>
          </a:p>
          <a:p>
            <a:r>
              <a:rPr lang="fi-FI" sz="1800" noProof="0" dirty="0"/>
              <a:t>Asemalla on varauduttu neljään laituriraiteeseen.</a:t>
            </a:r>
            <a:endParaRPr lang="fi-FI" sz="2000" b="1" dirty="0">
              <a:solidFill>
                <a:schemeClr val="tx2">
                  <a:lumMod val="100000"/>
                </a:schemeClr>
              </a:solidFill>
            </a:endParaRPr>
          </a:p>
          <a:p>
            <a:pPr marL="0" indent="0">
              <a:buNone/>
            </a:pPr>
            <a:r>
              <a:rPr lang="fi-FI" dirty="0"/>
              <a:t> ​</a:t>
            </a:r>
          </a:p>
          <a:p>
            <a:pPr marL="0" indent="0">
              <a:buNone/>
            </a:pPr>
            <a:endParaRPr lang="fi-FI" noProof="0" dirty="0"/>
          </a:p>
          <a:p>
            <a:pPr marL="0" indent="0">
              <a:buNone/>
            </a:pPr>
            <a:endParaRPr lang="fi-FI" dirty="0"/>
          </a:p>
          <a:p>
            <a:pPr marL="0" indent="0">
              <a:buNone/>
            </a:pPr>
            <a:endParaRPr lang="fi-FI" noProof="0" dirty="0"/>
          </a:p>
          <a:p>
            <a:pPr marL="0" indent="0">
              <a:buNone/>
            </a:pPr>
            <a:endParaRPr lang="fi-FI" dirty="0"/>
          </a:p>
          <a:p>
            <a:pPr marL="0" indent="0">
              <a:buNone/>
            </a:pPr>
            <a:endParaRPr lang="fi-FI" noProof="0" dirty="0"/>
          </a:p>
        </p:txBody>
      </p:sp>
      <p:sp>
        <p:nvSpPr>
          <p:cNvPr id="4" name="Title 3">
            <a:extLst>
              <a:ext uri="{FF2B5EF4-FFF2-40B4-BE49-F238E27FC236}">
                <a16:creationId xmlns:a16="http://schemas.microsoft.com/office/drawing/2014/main" id="{E6C00FFB-C232-9323-71DB-FCDA7791E39C}"/>
              </a:ext>
            </a:extLst>
          </p:cNvPr>
          <p:cNvSpPr>
            <a:spLocks noGrp="1"/>
          </p:cNvSpPr>
          <p:nvPr>
            <p:ph type="title"/>
          </p:nvPr>
        </p:nvSpPr>
        <p:spPr/>
        <p:txBody>
          <a:bodyPr/>
          <a:lstStyle/>
          <a:p>
            <a:r>
              <a:rPr lang="fi-FI" b="1" noProof="0" dirty="0"/>
              <a:t>Lentoradan asema</a:t>
            </a:r>
          </a:p>
        </p:txBody>
      </p:sp>
      <p:pic>
        <p:nvPicPr>
          <p:cNvPr id="5" name="Kuvan paikkamerkki 4">
            <a:extLst>
              <a:ext uri="{FF2B5EF4-FFF2-40B4-BE49-F238E27FC236}">
                <a16:creationId xmlns:a16="http://schemas.microsoft.com/office/drawing/2014/main" id="{2A7D1D33-362C-68F0-0F06-C0397323CED4}"/>
              </a:ext>
            </a:extLst>
          </p:cNvPr>
          <p:cNvPicPr>
            <a:picLocks noGrp="1" noChangeAspect="1"/>
          </p:cNvPicPr>
          <p:nvPr>
            <p:ph type="pic" sz="quarter" idx="11"/>
          </p:nvPr>
        </p:nvPicPr>
        <p:blipFill>
          <a:blip r:embed="rId2"/>
          <a:srcRect t="1" b="1"/>
          <a:stretch>
            <a:fillRect/>
          </a:stretch>
        </p:blipFill>
        <p:spPr>
          <a:xfrm>
            <a:off x="6400800" y="247202"/>
            <a:ext cx="5791200" cy="6016752"/>
          </a:xfrm>
          <a:prstGeom prst="rect">
            <a:avLst/>
          </a:prstGeom>
        </p:spPr>
      </p:pic>
      <p:sp>
        <p:nvSpPr>
          <p:cNvPr id="2" name="Tekstiruutu 7">
            <a:extLst>
              <a:ext uri="{FF2B5EF4-FFF2-40B4-BE49-F238E27FC236}">
                <a16:creationId xmlns:a16="http://schemas.microsoft.com/office/drawing/2014/main" id="{72FD6B20-3135-1305-F538-A26472CBFEE1}"/>
              </a:ext>
            </a:extLst>
          </p:cNvPr>
          <p:cNvSpPr txBox="1"/>
          <p:nvPr/>
        </p:nvSpPr>
        <p:spPr>
          <a:xfrm>
            <a:off x="6400800" y="6263954"/>
            <a:ext cx="3480111"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1" u="none" strike="noStrike" kern="1200" cap="none" spc="0" normalizeH="0" baseline="0" noProof="0" dirty="0">
                <a:ln>
                  <a:noFill/>
                </a:ln>
                <a:solidFill>
                  <a:srgbClr val="000000"/>
                </a:solidFill>
                <a:effectLst/>
                <a:uLnTx/>
                <a:uFillTx/>
                <a:latin typeface="Arial"/>
                <a:ea typeface="+mn-ea"/>
                <a:cs typeface="Calibri"/>
                <a:sym typeface="Trebuchet MS" panose="020B0603020202020204" pitchFamily="34" charset="0"/>
              </a:rPr>
              <a:t>Havainnekuva </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13733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n paikkamerkki 1">
            <a:extLst>
              <a:ext uri="{FF2B5EF4-FFF2-40B4-BE49-F238E27FC236}">
                <a16:creationId xmlns:a16="http://schemas.microsoft.com/office/drawing/2014/main" id="{620EB096-C482-2288-22AA-1084EDEF2E73}"/>
              </a:ext>
            </a:extLst>
          </p:cNvPr>
          <p:cNvSpPr>
            <a:spLocks noGrp="1"/>
          </p:cNvSpPr>
          <p:nvPr>
            <p:ph type="body" sz="quarter" idx="10"/>
          </p:nvPr>
        </p:nvSpPr>
        <p:spPr>
          <a:xfrm>
            <a:off x="405334" y="1455620"/>
            <a:ext cx="5440661" cy="4537075"/>
          </a:xfrm>
        </p:spPr>
        <p:txBody>
          <a:bodyPr vert="horz" lIns="0" tIns="45720" rIns="91440" bIns="45720" rtlCol="0" anchor="t">
            <a:noAutofit/>
          </a:bodyPr>
          <a:lstStyle/>
          <a:p>
            <a:pPr marL="285750" indent="-285750">
              <a:lnSpc>
                <a:spcPct val="100000"/>
              </a:lnSpc>
              <a:buFont typeface="Arial" panose="020B0604020202020204" pitchFamily="34" charset="0"/>
              <a:buChar char="•"/>
            </a:pPr>
            <a:r>
              <a:rPr lang="fi-FI" sz="1800"/>
              <a:t>Kuiluja tarvitaan normaalitilanteessa paineentasaukseen ja tekniikalle (sähkö, vesi) ja poikkeustilanteissa savunpoistoon sekä hätäpoistumiseen</a:t>
            </a:r>
          </a:p>
          <a:p>
            <a:pPr marL="285750" indent="-285750">
              <a:buFont typeface="Arial" panose="020B0604020202020204" pitchFamily="34" charset="0"/>
              <a:buChar char="•"/>
            </a:pPr>
            <a:r>
              <a:rPr lang="fi-FI" sz="1800">
                <a:cs typeface="Calibri"/>
              </a:rPr>
              <a:t>Yleissuunnitelmassa on esitetty 16 kuilurakennusta. </a:t>
            </a:r>
            <a:endParaRPr lang="fi-FI" sz="1800"/>
          </a:p>
          <a:p>
            <a:pPr marL="285750" indent="-285750">
              <a:buFont typeface="Arial" panose="020B0604020202020204" pitchFamily="34" charset="0"/>
              <a:buChar char="•"/>
            </a:pPr>
            <a:r>
              <a:rPr lang="fi-FI" sz="1800">
                <a:ea typeface="Verdana"/>
                <a:cs typeface="Calibri"/>
              </a:rPr>
              <a:t>Kuilujen paikat on pyritty löytämään noin 1,5 km etäisyydellä toisistaan ja alle 200 metrin etäisyydellä ratalinjauksesta. </a:t>
            </a:r>
            <a:r>
              <a:rPr lang="fi-FI" sz="1600">
                <a:cs typeface="Calibri"/>
              </a:rPr>
              <a:t>A</a:t>
            </a:r>
            <a:r>
              <a:rPr lang="fi-FI" sz="1800">
                <a:cs typeface="Calibri"/>
              </a:rPr>
              <a:t>erodynaamisten simulointien perusteella kuiluväli voisi olla pidempi</a:t>
            </a:r>
            <a:endParaRPr lang="fi-FI" sz="1800">
              <a:ea typeface="Verdana"/>
              <a:cs typeface="Calibri"/>
            </a:endParaRPr>
          </a:p>
          <a:p>
            <a:pPr marL="285750" indent="-285750">
              <a:lnSpc>
                <a:spcPct val="100000"/>
              </a:lnSpc>
              <a:buFont typeface="Arial" panose="020B0604020202020204" pitchFamily="34" charset="0"/>
              <a:buChar char="•"/>
            </a:pPr>
            <a:r>
              <a:rPr lang="fi-FI" sz="1800">
                <a:ea typeface="Verdana"/>
                <a:cs typeface="Calibri"/>
              </a:rPr>
              <a:t>M</a:t>
            </a:r>
            <a:r>
              <a:rPr lang="fi-FI" sz="1800">
                <a:effectLst/>
                <a:ea typeface="Verdana"/>
                <a:cs typeface="Calibri"/>
              </a:rPr>
              <a:t>aanpäällisen rakennuksen koko riippuu valitusta ratkaisusta tekniikan sijoittamisen suhteen</a:t>
            </a:r>
            <a:r>
              <a:rPr lang="fi-FI" sz="1800">
                <a:ea typeface="Verdana"/>
                <a:cs typeface="Calibri"/>
              </a:rPr>
              <a:t>.</a:t>
            </a:r>
            <a:endParaRPr lang="fi-FI" sz="1800">
              <a:effectLst/>
              <a:ea typeface="Verdana"/>
              <a:cs typeface="Calibri"/>
            </a:endParaRPr>
          </a:p>
          <a:p>
            <a:pPr marL="285750" indent="-285750">
              <a:lnSpc>
                <a:spcPct val="100000"/>
              </a:lnSpc>
              <a:buFont typeface="Arial" panose="020B0604020202020204" pitchFamily="34" charset="0"/>
              <a:buChar char="•"/>
            </a:pPr>
            <a:r>
              <a:rPr lang="fi-FI" sz="1800">
                <a:effectLst/>
                <a:ea typeface="Verdana"/>
                <a:cs typeface="Calibri"/>
              </a:rPr>
              <a:t>Kuilujen tarvittava määrä, rakennusten koko sekä sovittaminen ympäristöön tarkentuvat </a:t>
            </a:r>
            <a:r>
              <a:rPr lang="fi-FI" sz="1800">
                <a:ea typeface="Verdana"/>
                <a:cs typeface="Calibri"/>
              </a:rPr>
              <a:t>rata</a:t>
            </a:r>
            <a:r>
              <a:rPr lang="fi-FI" sz="1800">
                <a:effectLst/>
                <a:ea typeface="Verdana"/>
                <a:cs typeface="Calibri"/>
              </a:rPr>
              <a:t>suunnitelmassa.</a:t>
            </a:r>
            <a:endParaRPr lang="fi-FI" dirty="0"/>
          </a:p>
        </p:txBody>
      </p:sp>
      <p:sp>
        <p:nvSpPr>
          <p:cNvPr id="3" name="Otsikko 2">
            <a:extLst>
              <a:ext uri="{FF2B5EF4-FFF2-40B4-BE49-F238E27FC236}">
                <a16:creationId xmlns:a16="http://schemas.microsoft.com/office/drawing/2014/main" id="{AE6F10AF-AD4E-B933-2D5B-CCE863CF6A1E}"/>
              </a:ext>
            </a:extLst>
          </p:cNvPr>
          <p:cNvSpPr>
            <a:spLocks noGrp="1"/>
          </p:cNvSpPr>
          <p:nvPr>
            <p:ph type="title"/>
          </p:nvPr>
        </p:nvSpPr>
        <p:spPr>
          <a:xfrm>
            <a:off x="479425" y="420568"/>
            <a:ext cx="7969250" cy="826162"/>
          </a:xfrm>
        </p:spPr>
        <p:txBody>
          <a:bodyPr/>
          <a:lstStyle/>
          <a:p>
            <a:r>
              <a:rPr lang="fi-FI"/>
              <a:t>Tunneliosuuden maanpintarakenteet: kuilut </a:t>
            </a:r>
          </a:p>
        </p:txBody>
      </p:sp>
      <p:sp>
        <p:nvSpPr>
          <p:cNvPr id="8" name="Tekstiruutu 7">
            <a:extLst>
              <a:ext uri="{FF2B5EF4-FFF2-40B4-BE49-F238E27FC236}">
                <a16:creationId xmlns:a16="http://schemas.microsoft.com/office/drawing/2014/main" id="{5D568A96-1D46-1968-EE95-B02F6FD48C12}"/>
              </a:ext>
            </a:extLst>
          </p:cNvPr>
          <p:cNvSpPr txBox="1"/>
          <p:nvPr/>
        </p:nvSpPr>
        <p:spPr>
          <a:xfrm>
            <a:off x="5845995" y="3840834"/>
            <a:ext cx="1916527" cy="246221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Trebuchet MS" panose="020B0603020202020204" pitchFamily="34" charset="0"/>
              </a:rPr>
              <a:t>Esimerkki </a:t>
            </a:r>
            <a:r>
              <a:rPr kumimoji="0" lang="fi-FI" sz="14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kuilurakennuksesta, jossa ratatunnelia palvelevaa tekniikkaa on viety mahdollisimman paljon maan alle. Esimerkkirakennuksen mitat ovat noin 16 x 12 metriä ja korkeus noin 4 metriä.</a:t>
            </a:r>
          </a:p>
        </p:txBody>
      </p:sp>
      <p:pic>
        <p:nvPicPr>
          <p:cNvPr id="6146" name="Picture 2" descr="Maanpäällisessä rakennuksessa on tummat ruutuneliön malliset paneelit ja se sijaitsee tien risteyksessä. Toiselle sivustalle on istutettu kasvillisuutta.">
            <a:extLst>
              <a:ext uri="{FF2B5EF4-FFF2-40B4-BE49-F238E27FC236}">
                <a16:creationId xmlns:a16="http://schemas.microsoft.com/office/drawing/2014/main" id="{5E18C279-9AC6-CD34-2D1B-154CD25B80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3080" y="3429000"/>
            <a:ext cx="4408920" cy="25062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D9DDEA9-F6AF-343C-C8FB-6E0D40E7ACA6}"/>
              </a:ext>
            </a:extLst>
          </p:cNvPr>
          <p:cNvPicPr>
            <a:picLocks noChangeAspect="1"/>
          </p:cNvPicPr>
          <p:nvPr/>
        </p:nvPicPr>
        <p:blipFill>
          <a:blip r:embed="rId3"/>
          <a:stretch>
            <a:fillRect/>
          </a:stretch>
        </p:blipFill>
        <p:spPr>
          <a:xfrm>
            <a:off x="7392388" y="916617"/>
            <a:ext cx="4720443" cy="2253856"/>
          </a:xfrm>
          <a:prstGeom prst="rect">
            <a:avLst/>
          </a:prstGeom>
        </p:spPr>
      </p:pic>
      <p:sp>
        <p:nvSpPr>
          <p:cNvPr id="6" name="Tekstiruutu 7">
            <a:extLst>
              <a:ext uri="{FF2B5EF4-FFF2-40B4-BE49-F238E27FC236}">
                <a16:creationId xmlns:a16="http://schemas.microsoft.com/office/drawing/2014/main" id="{EF4CF2A5-1825-9A8C-4E3E-8C7CBFE96EA9}"/>
              </a:ext>
            </a:extLst>
          </p:cNvPr>
          <p:cNvSpPr txBox="1"/>
          <p:nvPr/>
        </p:nvSpPr>
        <p:spPr>
          <a:xfrm>
            <a:off x="7280929" y="3118418"/>
            <a:ext cx="3480111"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1" u="none" strike="noStrike" kern="1200" cap="none" spc="0" normalizeH="0" baseline="0" noProof="0" dirty="0">
                <a:ln>
                  <a:noFill/>
                </a:ln>
                <a:solidFill>
                  <a:srgbClr val="000000"/>
                </a:solidFill>
                <a:effectLst/>
                <a:uLnTx/>
                <a:uFillTx/>
                <a:latin typeface="Arial"/>
                <a:ea typeface="+mn-ea"/>
                <a:cs typeface="Calibri"/>
                <a:sym typeface="Trebuchet MS" panose="020B0603020202020204" pitchFamily="34" charset="0"/>
              </a:rPr>
              <a:t>Havainnekuva K15, Vantaa</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877457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18CC4D56-8A80-8C32-7B2C-3A76A86A578A}"/>
              </a:ext>
            </a:extLst>
          </p:cNvPr>
          <p:cNvSpPr txBox="1">
            <a:spLocks/>
          </p:cNvSpPr>
          <p:nvPr/>
        </p:nvSpPr>
        <p:spPr>
          <a:xfrm>
            <a:off x="475489" y="460372"/>
            <a:ext cx="10875095" cy="826162"/>
          </a:xfrm>
          <a:prstGeom prst="rect">
            <a:avLst/>
          </a:prstGeom>
        </p:spPr>
        <p:txBody>
          <a:bodyPr vert="horz" wrap="square" lIns="0" tIns="45720" rIns="91440" bIns="45720" rtlCol="0" anchor="t" anchorCtr="0">
            <a:noAutofit/>
          </a:bodyPr>
          <a:lstStyle>
            <a:lvl1pPr marL="0" indent="0" algn="l" defTabSz="914400" rtl="0" eaLnBrk="1" latinLnBrk="0" hangingPunct="1">
              <a:lnSpc>
                <a:spcPct val="90000"/>
              </a:lnSpc>
              <a:spcBef>
                <a:spcPct val="0"/>
              </a:spcBef>
              <a:spcAft>
                <a:spcPts val="0"/>
              </a:spcAft>
              <a:buNone/>
              <a:defRPr sz="3000" b="0" i="0" u="none" kern="1200" spc="0">
                <a:solidFill>
                  <a:schemeClr val="tx2">
                    <a:lumMod val="100000"/>
                  </a:schemeClr>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000" b="0" i="0" u="none" strike="noStrike" kern="1200" cap="none" spc="0" normalizeH="0" baseline="0" noProof="0">
                <a:ln>
                  <a:noFill/>
                </a:ln>
                <a:solidFill>
                  <a:srgbClr val="0033CC">
                    <a:lumMod val="100000"/>
                  </a:srgbClr>
                </a:solidFill>
                <a:effectLst/>
                <a:uLnTx/>
                <a:uFillTx/>
                <a:latin typeface="Arial Black"/>
                <a:ea typeface="+mj-ea"/>
                <a:cs typeface="+mj-cs"/>
                <a:sym typeface="Trebuchet MS" panose="020B0603020202020204" pitchFamily="34" charset="0"/>
              </a:rPr>
              <a:t>Tunneliosuuden maanpintarakenteet: ajotunnelit</a:t>
            </a:r>
          </a:p>
        </p:txBody>
      </p:sp>
      <p:sp>
        <p:nvSpPr>
          <p:cNvPr id="6" name="Text Placeholder 1">
            <a:extLst>
              <a:ext uri="{FF2B5EF4-FFF2-40B4-BE49-F238E27FC236}">
                <a16:creationId xmlns:a16="http://schemas.microsoft.com/office/drawing/2014/main" id="{D76DB2EC-2EF5-6839-C0E4-18285840B933}"/>
              </a:ext>
            </a:extLst>
          </p:cNvPr>
          <p:cNvSpPr txBox="1">
            <a:spLocks/>
          </p:cNvSpPr>
          <p:nvPr/>
        </p:nvSpPr>
        <p:spPr>
          <a:xfrm>
            <a:off x="475489" y="1176054"/>
            <a:ext cx="6420612" cy="5300946"/>
          </a:xfrm>
          <a:prstGeom prst="rect">
            <a:avLst/>
          </a:prstGeom>
        </p:spPr>
        <p:txBody>
          <a:bodyPr numCol="1" spcCol="360000">
            <a:normAutofit lnSpcReduction="10000"/>
          </a:bodyPr>
          <a:lstStyle>
            <a:lvl1pPr marL="271463" indent="-271463" algn="l" defTabSz="914400" rtl="0" eaLnBrk="1" latinLnBrk="0" hangingPunct="1">
              <a:lnSpc>
                <a:spcPct val="110000"/>
              </a:lnSpc>
              <a:spcBef>
                <a:spcPts val="600"/>
              </a:spcBef>
              <a:spcAft>
                <a:spcPts val="300"/>
              </a:spcAft>
              <a:buClr>
                <a:schemeClr val="tx2"/>
              </a:buClr>
              <a:buFont typeface="Wingdings" pitchFamily="2" charset="2"/>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1pPr>
            <a:lvl2pPr marL="320040" indent="-219456"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2000" b="0" i="0" kern="1200">
                <a:solidFill>
                  <a:schemeClr val="tx1"/>
                </a:solidFill>
                <a:latin typeface="+mn-lt"/>
                <a:ea typeface="+mn-ea"/>
                <a:cs typeface="Calibri" panose="020F0502020204030204" pitchFamily="34" charset="0"/>
                <a:sym typeface="Trebuchet MS" panose="020B0603020202020204" pitchFamily="34" charset="0"/>
              </a:defRPr>
            </a:lvl2pPr>
            <a:lvl3pPr marL="649224" marR="0" indent="-219456" algn="l" defTabSz="914400" rtl="0" eaLnBrk="1" fontAlgn="auto" latinLnBrk="0" hangingPunct="1">
              <a:lnSpc>
                <a:spcPct val="90000"/>
              </a:lnSpc>
              <a:spcBef>
                <a:spcPts val="0"/>
              </a:spcBef>
              <a:spcAft>
                <a:spcPts val="300"/>
              </a:spcAft>
              <a:buClr>
                <a:schemeClr val="tx2"/>
              </a:buClr>
              <a:buSzTx/>
              <a:buFont typeface="Trebuchet MS" panose="020B0603020202020204" pitchFamily="34" charset="0"/>
              <a:buChar char="–"/>
              <a:tabLst/>
              <a:defRPr lang="en-US" sz="2000" b="0" i="0" kern="1200">
                <a:solidFill>
                  <a:schemeClr val="tx1"/>
                </a:solidFill>
                <a:latin typeface="+mn-lt"/>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None/>
              <a:defRPr lang="en-US" sz="2800" b="0" i="0" kern="120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2800" b="0" i="0" kern="120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0" i="0" kern="1200" baseline="0" smtClean="0">
                <a:solidFill>
                  <a:schemeClr val="tx1"/>
                </a:solidFill>
                <a:latin typeface="Calibri" panose="020F050202020403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0" i="0" kern="1200" baseline="0" smtClean="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0" i="0" kern="1200" baseline="0" dirty="0">
                <a:solidFill>
                  <a:schemeClr val="tx2"/>
                </a:solidFill>
                <a:latin typeface="Calibri" panose="020F0502020204030204" pitchFamily="34" charset="0"/>
                <a:ea typeface="+mn-ea"/>
                <a:cs typeface="Calibri" panose="020F0502020204030204" pitchFamily="34" charset="0"/>
                <a:sym typeface="Trebuchet MS" panose="020B0603020202020204" pitchFamily="34" charset="0"/>
              </a:defRPr>
            </a:lvl9pPr>
          </a:lstStyle>
          <a:p>
            <a:pPr marL="285750" marR="0" lvl="0" indent="-285750" algn="l" defTabSz="914400" rtl="0" eaLnBrk="1" fontAlgn="auto" latinLnBrk="0" hangingPunct="1">
              <a:lnSpc>
                <a:spcPct val="110000"/>
              </a:lnSpc>
              <a:spcBef>
                <a:spcPts val="600"/>
              </a:spcBef>
              <a:spcAft>
                <a:spcPts val="300"/>
              </a:spcAft>
              <a:buClr>
                <a:srgbClr val="0033CC"/>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sym typeface="Trebuchet MS" panose="020B0603020202020204" pitchFamily="34" charset="0"/>
              </a:rPr>
              <a:t>Ajotunneleita käytetään työnaikaisina rakentamisen reitteinä. Niitä pyritään hyödyntämään myös huolto- ja pelastusyhteyksinä. </a:t>
            </a:r>
          </a:p>
          <a:p>
            <a:pPr marL="285750" marR="0" lvl="0" indent="-285750" algn="l" defTabSz="914400" rtl="0" eaLnBrk="1" fontAlgn="auto" latinLnBrk="0" hangingPunct="1">
              <a:lnSpc>
                <a:spcPct val="110000"/>
              </a:lnSpc>
              <a:spcBef>
                <a:spcPts val="600"/>
              </a:spcBef>
              <a:spcAft>
                <a:spcPts val="300"/>
              </a:spcAft>
              <a:buClr>
                <a:srgbClr val="0033CC"/>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sym typeface="Trebuchet MS" panose="020B0603020202020204" pitchFamily="34" charset="0"/>
              </a:rPr>
              <a:t>Yleissuunnitelmassa on esitetty 10 ajotunnelia. </a:t>
            </a:r>
          </a:p>
          <a:p>
            <a:pPr marL="285750" marR="0" lvl="0" indent="-285750" algn="l" defTabSz="914400" rtl="0" eaLnBrk="1" fontAlgn="auto" latinLnBrk="0" hangingPunct="1">
              <a:lnSpc>
                <a:spcPct val="110000"/>
              </a:lnSpc>
              <a:spcBef>
                <a:spcPts val="600"/>
              </a:spcBef>
              <a:spcAft>
                <a:spcPts val="300"/>
              </a:spcAft>
              <a:buClr>
                <a:srgbClr val="0033CC"/>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Trebuchet MS" panose="020B0603020202020204" pitchFamily="34" charset="0"/>
              </a:rPr>
              <a:t>Ratasuunnitelmassa tullaan tarkastelemaan pohjoispään väliaikaisen ajoyhteyden mahdollisuutta, koska louhinta suuaukolta käsin voi olla haastavaa. </a:t>
            </a:r>
            <a:endParaRPr kumimoji="0" lang="fi-FI" sz="18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sym typeface="Trebuchet MS" panose="020B0603020202020204" pitchFamily="34" charset="0"/>
            </a:endParaRPr>
          </a:p>
          <a:p>
            <a:pPr marL="285750" marR="0" lvl="0" indent="-285750" algn="l" defTabSz="914400" rtl="0" eaLnBrk="1" fontAlgn="auto" latinLnBrk="0" hangingPunct="1">
              <a:lnSpc>
                <a:spcPct val="110000"/>
              </a:lnSpc>
              <a:spcBef>
                <a:spcPts val="600"/>
              </a:spcBef>
              <a:spcAft>
                <a:spcPts val="300"/>
              </a:spcAft>
              <a:buClr>
                <a:srgbClr val="0033CC"/>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Trebuchet MS" panose="020B0603020202020204" pitchFamily="34" charset="0"/>
              </a:rPr>
              <a:t>Rakentamisen aikana tunneleiden kautta kuljetetaan merkittäviä määriä louhetta ja niiden kautta kuljetetaan myös muuta rakentamiseen tarvittavaa materiaalia. </a:t>
            </a:r>
          </a:p>
          <a:p>
            <a:pPr marL="285750" marR="0" lvl="0" indent="-285750" algn="l" defTabSz="914400" rtl="0" eaLnBrk="1" fontAlgn="auto" latinLnBrk="0" hangingPunct="1">
              <a:lnSpc>
                <a:spcPct val="110000"/>
              </a:lnSpc>
              <a:spcBef>
                <a:spcPts val="600"/>
              </a:spcBef>
              <a:spcAft>
                <a:spcPts val="300"/>
              </a:spcAft>
              <a:buClr>
                <a:srgbClr val="0033CC"/>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Trebuchet MS" panose="020B0603020202020204" pitchFamily="34" charset="0"/>
              </a:rPr>
              <a:t>Ajotunneleita on suunniteltu ratalinjan varrelle tasaisesti noin kolmen kilometrin välein, sillä ratatunnelin louhiminen samanaikaisesti monen eri ajotunnelin kautta nopeuttaa hankkeen rakentamista. Suuaukkojen ei tarvitse olla kiinni ratalinjauksessa, sillä tunnelin enimmäiskaltevuus ja maanpinnan sekä ratatunnelitason välinen korkoero edellyttävät ajotunnelilta joka tapauksessa tiettyä pituutta.</a:t>
            </a:r>
          </a:p>
          <a:p>
            <a:pPr marL="271463" marR="0" lvl="0" indent="-271463" algn="l" defTabSz="914400" rtl="0" eaLnBrk="1" fontAlgn="auto" latinLnBrk="0" hangingPunct="1">
              <a:lnSpc>
                <a:spcPct val="110000"/>
              </a:lnSpc>
              <a:spcBef>
                <a:spcPts val="600"/>
              </a:spcBef>
              <a:spcAft>
                <a:spcPts val="300"/>
              </a:spcAft>
              <a:buClr>
                <a:srgbClr val="0033CC"/>
              </a:buClr>
              <a:buSzTx/>
              <a:buFont typeface="Wingdings" pitchFamily="2" charset="2"/>
              <a:buChar char="§"/>
              <a:tabLst/>
              <a:defRPr/>
            </a:pPr>
            <a:endParaRPr kumimoji="0" lang="fi-FI" sz="20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Trebuchet MS" panose="020B0603020202020204" pitchFamily="34" charset="0"/>
            </a:endParaRPr>
          </a:p>
        </p:txBody>
      </p:sp>
      <p:sp>
        <p:nvSpPr>
          <p:cNvPr id="8" name="Tekstiruutu 7">
            <a:extLst>
              <a:ext uri="{FF2B5EF4-FFF2-40B4-BE49-F238E27FC236}">
                <a16:creationId xmlns:a16="http://schemas.microsoft.com/office/drawing/2014/main" id="{19429318-6888-16E7-BFB8-A9A5EE32B5E7}"/>
              </a:ext>
            </a:extLst>
          </p:cNvPr>
          <p:cNvSpPr txBox="1"/>
          <p:nvPr/>
        </p:nvSpPr>
        <p:spPr>
          <a:xfrm>
            <a:off x="7029450" y="5098537"/>
            <a:ext cx="4292216" cy="3385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0" i="1" u="none" strike="noStrike" kern="1200" cap="none" spc="0" normalizeH="0" baseline="0" noProof="0">
                <a:ln>
                  <a:noFill/>
                </a:ln>
                <a:solidFill>
                  <a:srgbClr val="000000"/>
                </a:solidFill>
                <a:effectLst/>
                <a:uLnTx/>
                <a:uFillTx/>
                <a:latin typeface="Arial"/>
                <a:ea typeface="+mn-ea"/>
                <a:cs typeface="Calibri" panose="020F0502020204030204" pitchFamily="34" charset="0"/>
                <a:sym typeface="Trebuchet MS" panose="020B0603020202020204" pitchFamily="34" charset="0"/>
              </a:rPr>
              <a:t>Esimerkki ajotunnelin rakennuksesta</a:t>
            </a:r>
            <a:endParaRPr kumimoji="0" lang="fi-FI" sz="1600" b="0" i="1" u="none" strike="noStrike" kern="1200" cap="none" spc="0" normalizeH="0" baseline="0" noProof="0">
              <a:ln>
                <a:noFill/>
              </a:ln>
              <a:solidFill>
                <a:srgbClr val="000000"/>
              </a:solidFill>
              <a:effectLst/>
              <a:uLnTx/>
              <a:uFillTx/>
              <a:latin typeface="Arial"/>
              <a:ea typeface="+mn-ea"/>
              <a:cs typeface="Calibri" panose="020F0502020204030204" pitchFamily="34" charset="0"/>
            </a:endParaRPr>
          </a:p>
        </p:txBody>
      </p:sp>
      <p:pic>
        <p:nvPicPr>
          <p:cNvPr id="2" name="Picture 8" descr="Ajotunnelin suuaukko on osin maan alla rinteessä ja etuosassa on sujlettavat ovet lipan allla. Ajokuilu on ympäröity aidalla ja vierellä kasvaa puustoa, joka peittää sen osittain.">
            <a:extLst>
              <a:ext uri="{FF2B5EF4-FFF2-40B4-BE49-F238E27FC236}">
                <a16:creationId xmlns:a16="http://schemas.microsoft.com/office/drawing/2014/main" id="{5C041206-0880-7E3F-3FDC-A50CDEEBC83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086600" y="1286533"/>
            <a:ext cx="4914900" cy="3686175"/>
          </a:xfrm>
          <a:prstGeom prst="rect">
            <a:avLst/>
          </a:prstGeom>
        </p:spPr>
      </p:pic>
    </p:spTree>
    <p:extLst>
      <p:ext uri="{BB962C8B-B14F-4D97-AF65-F5344CB8AC3E}">
        <p14:creationId xmlns:p14="http://schemas.microsoft.com/office/powerpoint/2010/main" val="2376577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7C68B9DA-44AB-3847-6414-B8ACD3F1F66D}"/>
              </a:ext>
            </a:extLst>
          </p:cNvPr>
          <p:cNvSpPr>
            <a:spLocks noGrp="1"/>
          </p:cNvSpPr>
          <p:nvPr>
            <p:ph type="title"/>
          </p:nvPr>
        </p:nvSpPr>
        <p:spPr>
          <a:xfrm>
            <a:off x="526539" y="429846"/>
            <a:ext cx="4248692" cy="825500"/>
          </a:xfrm>
        </p:spPr>
        <p:txBody>
          <a:bodyPr/>
          <a:lstStyle/>
          <a:p>
            <a:r>
              <a:rPr lang="fi-FI" dirty="0"/>
              <a:t>Kuilut ja ajotunnelit</a:t>
            </a:r>
          </a:p>
        </p:txBody>
      </p:sp>
      <p:sp>
        <p:nvSpPr>
          <p:cNvPr id="5" name="Title 4">
            <a:extLst>
              <a:ext uri="{FF2B5EF4-FFF2-40B4-BE49-F238E27FC236}">
                <a16:creationId xmlns:a16="http://schemas.microsoft.com/office/drawing/2014/main" id="{7F318319-56FF-2D5F-1CB6-FEE6E2B1C194}"/>
              </a:ext>
            </a:extLst>
          </p:cNvPr>
          <p:cNvSpPr txBox="1">
            <a:spLocks/>
          </p:cNvSpPr>
          <p:nvPr/>
        </p:nvSpPr>
        <p:spPr>
          <a:xfrm>
            <a:off x="6040243" y="445661"/>
            <a:ext cx="5653668" cy="825500"/>
          </a:xfrm>
          <a:prstGeom prst="rect">
            <a:avLst/>
          </a:prstGeom>
        </p:spPr>
        <p:txBody>
          <a:bodyPr vert="horz" wrap="square" lIns="0" tIns="45720" rIns="91440" bIns="45720" rtlCol="0" anchor="t" anchorCtr="0">
            <a:noAutofit/>
          </a:bodyPr>
          <a:lstStyle>
            <a:lvl1pPr marL="0" indent="0" algn="l" defTabSz="914400" rtl="0" eaLnBrk="1" latinLnBrk="0" hangingPunct="1">
              <a:lnSpc>
                <a:spcPct val="90000"/>
              </a:lnSpc>
              <a:spcBef>
                <a:spcPct val="0"/>
              </a:spcBef>
              <a:spcAft>
                <a:spcPts val="0"/>
              </a:spcAft>
              <a:buNone/>
              <a:defRPr sz="3000" b="0" i="0" u="none" kern="1200" spc="0">
                <a:solidFill>
                  <a:schemeClr val="tx2">
                    <a:lumMod val="100000"/>
                  </a:schemeClr>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000" b="0" i="0" u="none" strike="noStrike" kern="1200" cap="none" spc="0" normalizeH="0" baseline="0" noProof="0" dirty="0">
                <a:ln>
                  <a:noFill/>
                </a:ln>
                <a:solidFill>
                  <a:srgbClr val="0033CC">
                    <a:lumMod val="100000"/>
                  </a:srgbClr>
                </a:solidFill>
                <a:effectLst/>
                <a:uLnTx/>
                <a:uFillTx/>
                <a:latin typeface="Arial Black"/>
                <a:ea typeface="+mj-ea"/>
                <a:cs typeface="+mj-cs"/>
                <a:sym typeface="Trebuchet MS" panose="020B0603020202020204" pitchFamily="34" charset="0"/>
              </a:rPr>
              <a:t>Louhintamäärät ja </a:t>
            </a:r>
            <a:r>
              <a:rPr kumimoji="0" lang="fi-FI" sz="3000" b="0" i="0" u="none" strike="noStrike" kern="1200" cap="none" spc="0" normalizeH="0" baseline="0" noProof="0">
                <a:ln>
                  <a:noFill/>
                </a:ln>
                <a:solidFill>
                  <a:srgbClr val="0033CC">
                    <a:lumMod val="100000"/>
                  </a:srgbClr>
                </a:solidFill>
                <a:effectLst/>
                <a:uLnTx/>
                <a:uFillTx/>
                <a:latin typeface="Arial Black"/>
                <a:ea typeface="+mj-ea"/>
                <a:cs typeface="+mj-cs"/>
                <a:sym typeface="Trebuchet MS" panose="020B0603020202020204" pitchFamily="34" charset="0"/>
              </a:rPr>
              <a:t>louhinnan arvioitu kesto</a:t>
            </a:r>
          </a:p>
        </p:txBody>
      </p:sp>
      <p:sp>
        <p:nvSpPr>
          <p:cNvPr id="8" name="TextBox 7">
            <a:extLst>
              <a:ext uri="{FF2B5EF4-FFF2-40B4-BE49-F238E27FC236}">
                <a16:creationId xmlns:a16="http://schemas.microsoft.com/office/drawing/2014/main" id="{94D5EC7D-636F-2E36-1233-4FC8A1EDE27C}"/>
              </a:ext>
            </a:extLst>
          </p:cNvPr>
          <p:cNvSpPr txBox="1"/>
          <p:nvPr/>
        </p:nvSpPr>
        <p:spPr>
          <a:xfrm>
            <a:off x="435428" y="6665071"/>
            <a:ext cx="6096000"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err="1">
                <a:ln>
                  <a:noFill/>
                </a:ln>
                <a:solidFill>
                  <a:srgbClr val="000000"/>
                </a:solidFill>
                <a:effectLst/>
                <a:uLnTx/>
                <a:uFillTx/>
                <a:latin typeface="Arial"/>
                <a:ea typeface="Gilroy"/>
                <a:cs typeface="Arial"/>
              </a:rPr>
              <a:t>Kuilujen</a:t>
            </a:r>
            <a:r>
              <a:rPr kumimoji="0" lang="en-US" sz="1200" b="0" i="1" u="none" strike="noStrike" kern="1200" cap="none" spc="0" normalizeH="0" baseline="0" noProof="0" dirty="0">
                <a:ln>
                  <a:noFill/>
                </a:ln>
                <a:solidFill>
                  <a:srgbClr val="000000"/>
                </a:solidFill>
                <a:effectLst/>
                <a:uLnTx/>
                <a:uFillTx/>
                <a:latin typeface="Arial"/>
                <a:ea typeface="Gilroy"/>
                <a:cs typeface="Arial"/>
              </a:rPr>
              <a:t> ja </a:t>
            </a:r>
            <a:r>
              <a:rPr kumimoji="0" lang="en-US" sz="1200" b="0" i="1" u="none" strike="noStrike" kern="1200" cap="none" spc="0" normalizeH="0" baseline="0" noProof="0" dirty="0" err="1">
                <a:ln>
                  <a:noFill/>
                </a:ln>
                <a:solidFill>
                  <a:srgbClr val="000000"/>
                </a:solidFill>
                <a:effectLst/>
                <a:uLnTx/>
                <a:uFillTx/>
                <a:latin typeface="Arial"/>
                <a:ea typeface="Gilroy"/>
                <a:cs typeface="Arial"/>
              </a:rPr>
              <a:t>ajotunneleiden</a:t>
            </a:r>
            <a:r>
              <a:rPr kumimoji="0" lang="en-US" sz="1200" b="0" i="1" u="none" strike="noStrike" kern="1200" cap="none" spc="0" normalizeH="0" baseline="0" noProof="0" dirty="0">
                <a:ln>
                  <a:noFill/>
                </a:ln>
                <a:solidFill>
                  <a:srgbClr val="000000"/>
                </a:solidFill>
                <a:effectLst/>
                <a:uLnTx/>
                <a:uFillTx/>
                <a:latin typeface="Arial"/>
                <a:ea typeface="Gilroy"/>
                <a:cs typeface="Arial"/>
              </a:rPr>
              <a:t> </a:t>
            </a:r>
            <a:r>
              <a:rPr kumimoji="0" lang="en-US" sz="1200" b="0" i="1" u="none" strike="noStrike" kern="1200" cap="none" spc="0" normalizeH="0" baseline="0" noProof="0" dirty="0" err="1">
                <a:ln>
                  <a:noFill/>
                </a:ln>
                <a:solidFill>
                  <a:srgbClr val="000000"/>
                </a:solidFill>
                <a:effectLst/>
                <a:uLnTx/>
                <a:uFillTx/>
                <a:latin typeface="Arial"/>
                <a:ea typeface="Gilroy"/>
                <a:cs typeface="Arial"/>
              </a:rPr>
              <a:t>vaihtoehtotarkastelut</a:t>
            </a:r>
            <a:r>
              <a:rPr kumimoji="0" lang="en-US" sz="1200" b="0" i="1" u="none" strike="noStrike" kern="1200" cap="none" spc="0" normalizeH="0" baseline="0" noProof="0" dirty="0">
                <a:ln>
                  <a:noFill/>
                </a:ln>
                <a:solidFill>
                  <a:srgbClr val="000000"/>
                </a:solidFill>
                <a:effectLst/>
                <a:uLnTx/>
                <a:uFillTx/>
                <a:latin typeface="Arial"/>
                <a:ea typeface="Gilroy"/>
                <a:cs typeface="Arial"/>
              </a:rPr>
              <a:t> </a:t>
            </a:r>
            <a:r>
              <a:rPr kumimoji="0" lang="en-US" sz="1200" b="0" i="1" u="none" strike="noStrike" kern="1200" cap="none" spc="0" normalizeH="0" baseline="0" noProof="0" dirty="0" err="1">
                <a:ln>
                  <a:noFill/>
                </a:ln>
                <a:solidFill>
                  <a:srgbClr val="000000"/>
                </a:solidFill>
                <a:effectLst/>
                <a:uLnTx/>
                <a:uFillTx/>
                <a:latin typeface="Arial"/>
                <a:ea typeface="Gilroy"/>
                <a:cs typeface="Arial"/>
              </a:rPr>
              <a:t>kaava-alueella</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6" name="Table 5">
            <a:extLst>
              <a:ext uri="{FF2B5EF4-FFF2-40B4-BE49-F238E27FC236}">
                <a16:creationId xmlns:a16="http://schemas.microsoft.com/office/drawing/2014/main" id="{641EBD4E-84A7-50CA-04D2-A4BA9633C1CD}"/>
              </a:ext>
            </a:extLst>
          </p:cNvPr>
          <p:cNvGraphicFramePr>
            <a:graphicFrameLocks noGrp="1"/>
          </p:cNvGraphicFramePr>
          <p:nvPr/>
        </p:nvGraphicFramePr>
        <p:xfrm>
          <a:off x="5872534" y="1909000"/>
          <a:ext cx="5997360" cy="3040352"/>
        </p:xfrm>
        <a:graphic>
          <a:graphicData uri="http://schemas.openxmlformats.org/drawingml/2006/table">
            <a:tbl>
              <a:tblPr firstRow="1" firstCol="1" bandRow="1">
                <a:tableStyleId>{5C22544A-7EE6-4342-B048-85BDC9FD1C3A}</a:tableStyleId>
              </a:tblPr>
              <a:tblGrid>
                <a:gridCol w="854819">
                  <a:extLst>
                    <a:ext uri="{9D8B030D-6E8A-4147-A177-3AD203B41FA5}">
                      <a16:colId xmlns:a16="http://schemas.microsoft.com/office/drawing/2014/main" val="362730468"/>
                    </a:ext>
                  </a:extLst>
                </a:gridCol>
                <a:gridCol w="1360462">
                  <a:extLst>
                    <a:ext uri="{9D8B030D-6E8A-4147-A177-3AD203B41FA5}">
                      <a16:colId xmlns:a16="http://schemas.microsoft.com/office/drawing/2014/main" val="2970898849"/>
                    </a:ext>
                  </a:extLst>
                </a:gridCol>
                <a:gridCol w="1428061">
                  <a:extLst>
                    <a:ext uri="{9D8B030D-6E8A-4147-A177-3AD203B41FA5}">
                      <a16:colId xmlns:a16="http://schemas.microsoft.com/office/drawing/2014/main" val="3246593612"/>
                    </a:ext>
                  </a:extLst>
                </a:gridCol>
                <a:gridCol w="1157659">
                  <a:extLst>
                    <a:ext uri="{9D8B030D-6E8A-4147-A177-3AD203B41FA5}">
                      <a16:colId xmlns:a16="http://schemas.microsoft.com/office/drawing/2014/main" val="2253471146"/>
                    </a:ext>
                  </a:extLst>
                </a:gridCol>
                <a:gridCol w="1196359">
                  <a:extLst>
                    <a:ext uri="{9D8B030D-6E8A-4147-A177-3AD203B41FA5}">
                      <a16:colId xmlns:a16="http://schemas.microsoft.com/office/drawing/2014/main" val="2910990082"/>
                    </a:ext>
                  </a:extLst>
                </a:gridCol>
              </a:tblGrid>
              <a:tr h="628008">
                <a:tc>
                  <a:txBody>
                    <a:bodyPr/>
                    <a:lstStyle/>
                    <a:p>
                      <a:pPr>
                        <a:spcBef>
                          <a:spcPts val="200"/>
                        </a:spcBef>
                        <a:spcAft>
                          <a:spcPts val="200"/>
                        </a:spcAft>
                        <a:buNone/>
                      </a:pPr>
                      <a:r>
                        <a:rPr lang="en-US" sz="1000" b="1">
                          <a:solidFill>
                            <a:srgbClr val="000000"/>
                          </a:solidFill>
                          <a:effectLst/>
                          <a:latin typeface="Arial" panose="020B0604020202020204" pitchFamily="34" charset="0"/>
                        </a:rPr>
                        <a:t>Ajo-</a:t>
                      </a:r>
                      <a:br>
                        <a:rPr lang="en-US" sz="1000" b="1">
                          <a:solidFill>
                            <a:srgbClr val="000000"/>
                          </a:solidFill>
                          <a:effectLst/>
                          <a:latin typeface="Arial" panose="020B0604020202020204" pitchFamily="34" charset="0"/>
                        </a:rPr>
                      </a:br>
                      <a:r>
                        <a:rPr lang="en-US" sz="1000" b="1">
                          <a:solidFill>
                            <a:srgbClr val="000000"/>
                          </a:solidFill>
                          <a:effectLst/>
                          <a:latin typeface="Arial" panose="020B0604020202020204" pitchFamily="34" charset="0"/>
                        </a:rPr>
                        <a:t>tunneli</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F2FC"/>
                    </a:solidFill>
                  </a:tcPr>
                </a:tc>
                <a:tc>
                  <a:txBody>
                    <a:bodyPr/>
                    <a:lstStyle/>
                    <a:p>
                      <a:pPr>
                        <a:spcBef>
                          <a:spcPts val="200"/>
                        </a:spcBef>
                        <a:spcAft>
                          <a:spcPts val="200"/>
                        </a:spcAft>
                        <a:buNone/>
                      </a:pPr>
                      <a:r>
                        <a:rPr lang="en-US" sz="1000" b="1">
                          <a:solidFill>
                            <a:srgbClr val="000000"/>
                          </a:solidFill>
                          <a:effectLst/>
                          <a:latin typeface="Arial" panose="020B0604020202020204" pitchFamily="34" charset="0"/>
                        </a:rPr>
                        <a:t>Louhintamäärä </a:t>
                      </a:r>
                      <a:endParaRPr lang="en-US">
                        <a:effectLst/>
                      </a:endParaRPr>
                    </a:p>
                    <a:p>
                      <a:pPr>
                        <a:spcBef>
                          <a:spcPts val="200"/>
                        </a:spcBef>
                        <a:spcAft>
                          <a:spcPts val="200"/>
                        </a:spcAft>
                        <a:buNone/>
                      </a:pPr>
                      <a:r>
                        <a:rPr lang="en-US" sz="1000" b="1">
                          <a:solidFill>
                            <a:srgbClr val="000000"/>
                          </a:solidFill>
                          <a:effectLst/>
                          <a:latin typeface="Arial" panose="020B0604020202020204" pitchFamily="34" charset="0"/>
                        </a:rPr>
                        <a:t>yhteensä m³ktr</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F2FC"/>
                    </a:solidFill>
                  </a:tcPr>
                </a:tc>
                <a:tc>
                  <a:txBody>
                    <a:bodyPr/>
                    <a:lstStyle/>
                    <a:p>
                      <a:pPr>
                        <a:spcBef>
                          <a:spcPts val="200"/>
                        </a:spcBef>
                        <a:spcAft>
                          <a:spcPts val="200"/>
                        </a:spcAft>
                        <a:buNone/>
                      </a:pPr>
                      <a:r>
                        <a:rPr lang="en-US" sz="1000" b="1">
                          <a:solidFill>
                            <a:srgbClr val="000000"/>
                          </a:solidFill>
                          <a:effectLst/>
                          <a:latin typeface="Arial" panose="020B0604020202020204" pitchFamily="34" charset="0"/>
                        </a:rPr>
                        <a:t>Louhe-</a:t>
                      </a:r>
                      <a:br>
                        <a:rPr lang="en-US" sz="1000" b="1">
                          <a:solidFill>
                            <a:srgbClr val="000000"/>
                          </a:solidFill>
                          <a:effectLst/>
                          <a:latin typeface="Arial" panose="020B0604020202020204" pitchFamily="34" charset="0"/>
                        </a:rPr>
                      </a:br>
                      <a:r>
                        <a:rPr lang="en-US" sz="1000" b="1">
                          <a:solidFill>
                            <a:srgbClr val="000000"/>
                          </a:solidFill>
                          <a:effectLst/>
                          <a:latin typeface="Arial" panose="020B0604020202020204" pitchFamily="34" charset="0"/>
                        </a:rPr>
                        <a:t>kuljetusten määrä (kpl)**</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F2FC"/>
                    </a:solidFill>
                  </a:tcPr>
                </a:tc>
                <a:tc>
                  <a:txBody>
                    <a:bodyPr/>
                    <a:lstStyle/>
                    <a:p>
                      <a:pPr>
                        <a:spcBef>
                          <a:spcPts val="200"/>
                        </a:spcBef>
                        <a:spcAft>
                          <a:spcPts val="200"/>
                        </a:spcAft>
                        <a:buNone/>
                      </a:pPr>
                      <a:r>
                        <a:rPr lang="en-US" sz="1000" b="1">
                          <a:solidFill>
                            <a:srgbClr val="000000"/>
                          </a:solidFill>
                          <a:effectLst/>
                          <a:latin typeface="Arial" panose="020B0604020202020204" pitchFamily="34" charset="0"/>
                        </a:rPr>
                        <a:t>Louhinnan* </a:t>
                      </a:r>
                      <a:br>
                        <a:rPr lang="en-US" sz="1000" b="1">
                          <a:solidFill>
                            <a:srgbClr val="000000"/>
                          </a:solidFill>
                          <a:effectLst/>
                          <a:latin typeface="Arial" panose="020B0604020202020204" pitchFamily="34" charset="0"/>
                        </a:rPr>
                      </a:br>
                      <a:r>
                        <a:rPr lang="en-US" sz="1000" b="1">
                          <a:solidFill>
                            <a:srgbClr val="000000"/>
                          </a:solidFill>
                          <a:effectLst/>
                          <a:latin typeface="Arial" panose="020B0604020202020204" pitchFamily="34" charset="0"/>
                        </a:rPr>
                        <a:t>arvioitu kesto (kk)</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F2FC"/>
                    </a:solidFill>
                  </a:tcPr>
                </a:tc>
                <a:tc>
                  <a:txBody>
                    <a:bodyPr/>
                    <a:lstStyle/>
                    <a:p>
                      <a:pPr>
                        <a:spcBef>
                          <a:spcPts val="200"/>
                        </a:spcBef>
                        <a:spcAft>
                          <a:spcPts val="200"/>
                        </a:spcAft>
                        <a:buNone/>
                      </a:pPr>
                      <a:r>
                        <a:rPr lang="en-US" sz="1000" b="1">
                          <a:solidFill>
                            <a:srgbClr val="000000"/>
                          </a:solidFill>
                          <a:effectLst/>
                          <a:latin typeface="Arial" panose="020B0604020202020204" pitchFamily="34" charset="0"/>
                        </a:rPr>
                        <a:t>Matkoja </a:t>
                      </a:r>
                      <a:br>
                        <a:rPr lang="en-US" sz="1000" b="1">
                          <a:solidFill>
                            <a:srgbClr val="000000"/>
                          </a:solidFill>
                          <a:effectLst/>
                          <a:latin typeface="Arial" panose="020B0604020202020204" pitchFamily="34" charset="0"/>
                        </a:rPr>
                      </a:br>
                      <a:r>
                        <a:rPr lang="en-US" sz="1000" b="1">
                          <a:solidFill>
                            <a:srgbClr val="000000"/>
                          </a:solidFill>
                          <a:effectLst/>
                          <a:latin typeface="Arial" panose="020B0604020202020204" pitchFamily="34" charset="0"/>
                        </a:rPr>
                        <a:t>työpäivää </a:t>
                      </a:r>
                      <a:br>
                        <a:rPr lang="en-US" sz="1000" b="1">
                          <a:solidFill>
                            <a:srgbClr val="000000"/>
                          </a:solidFill>
                          <a:effectLst/>
                          <a:latin typeface="Arial" panose="020B0604020202020204" pitchFamily="34" charset="0"/>
                        </a:rPr>
                      </a:br>
                      <a:r>
                        <a:rPr lang="en-US" sz="1000" b="1">
                          <a:solidFill>
                            <a:srgbClr val="000000"/>
                          </a:solidFill>
                          <a:effectLst/>
                          <a:latin typeface="Arial" panose="020B0604020202020204" pitchFamily="34" charset="0"/>
                        </a:rPr>
                        <a:t>kohden***</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F2FC"/>
                    </a:solidFill>
                  </a:tcPr>
                </a:tc>
                <a:extLst>
                  <a:ext uri="{0D108BD9-81ED-4DB2-BD59-A6C34878D82A}">
                    <a16:rowId xmlns:a16="http://schemas.microsoft.com/office/drawing/2014/main" val="824358331"/>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1</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344 6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49 22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19</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237</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0673245"/>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2</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270 4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38 64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18</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194</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7817649"/>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3</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246 5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35 21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18</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177</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1790845"/>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4</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501 4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71 63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32</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208</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3224629"/>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5</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511 0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73 0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33</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203</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2107924"/>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6</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594 5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84 93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28</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276</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985443"/>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7</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904 7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129 24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28</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432</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3354504"/>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8</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839 3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119 9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39</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283</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5970679"/>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9</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672 2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96 02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38</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232</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2880528"/>
                  </a:ext>
                </a:extLst>
              </a:tr>
              <a:tr h="219304">
                <a:tc>
                  <a:txBody>
                    <a:bodyPr/>
                    <a:lstStyle/>
                    <a:p>
                      <a:pPr>
                        <a:spcBef>
                          <a:spcPts val="200"/>
                        </a:spcBef>
                        <a:spcAft>
                          <a:spcPts val="200"/>
                        </a:spcAft>
                        <a:buNone/>
                      </a:pPr>
                      <a:r>
                        <a:rPr lang="en-US" sz="1000">
                          <a:solidFill>
                            <a:srgbClr val="000000"/>
                          </a:solidFill>
                          <a:effectLst/>
                          <a:latin typeface="Arial" panose="020B0604020202020204" pitchFamily="34" charset="0"/>
                        </a:rPr>
                        <a:t>A1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799 90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114 280</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effectLst/>
                          <a:latin typeface="Arial" panose="020B0604020202020204" pitchFamily="34" charset="0"/>
                        </a:rPr>
                        <a:t>40</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264</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6151386"/>
                  </a:ext>
                </a:extLst>
              </a:tr>
              <a:tr h="219304">
                <a:tc>
                  <a:txBody>
                    <a:bodyPr/>
                    <a:lstStyle/>
                    <a:p>
                      <a:pPr>
                        <a:spcBef>
                          <a:spcPts val="200"/>
                        </a:spcBef>
                        <a:spcAft>
                          <a:spcPts val="200"/>
                        </a:spcAft>
                        <a:buNone/>
                      </a:pPr>
                      <a:r>
                        <a:rPr lang="en-US" sz="1000" b="1">
                          <a:solidFill>
                            <a:srgbClr val="000000"/>
                          </a:solidFill>
                          <a:effectLst/>
                          <a:latin typeface="Arial" panose="020B0604020202020204" pitchFamily="34" charset="0"/>
                        </a:rPr>
                        <a:t>Yhteensä</a:t>
                      </a:r>
                      <a:endParaRPr lang="en-US">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b="1">
                          <a:solidFill>
                            <a:srgbClr val="000000"/>
                          </a:solidFill>
                          <a:effectLst/>
                          <a:latin typeface="Arial" panose="020B0604020202020204" pitchFamily="34" charset="0"/>
                        </a:rPr>
                        <a:t>5 684 300</a:t>
                      </a:r>
                      <a:endParaRPr lang="en-US">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b="1">
                          <a:solidFill>
                            <a:srgbClr val="000000"/>
                          </a:solidFill>
                          <a:effectLst/>
                          <a:latin typeface="Arial" panose="020B0604020202020204" pitchFamily="34" charset="0"/>
                        </a:rPr>
                        <a:t>812 050</a:t>
                      </a:r>
                      <a:endParaRPr lang="en-US">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 </a:t>
                      </a:r>
                      <a:endParaRPr lang="en-US">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200"/>
                        </a:spcBef>
                        <a:spcAft>
                          <a:spcPts val="200"/>
                        </a:spcAft>
                        <a:buNone/>
                      </a:pPr>
                      <a:r>
                        <a:rPr lang="en-US" sz="1000">
                          <a:solidFill>
                            <a:srgbClr val="000000"/>
                          </a:solidFill>
                          <a:effectLst/>
                          <a:latin typeface="Arial" panose="020B0604020202020204" pitchFamily="34" charset="0"/>
                        </a:rPr>
                        <a:t> </a:t>
                      </a:r>
                      <a:endParaRPr lang="en-US">
                        <a:effectLs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8143369"/>
                  </a:ext>
                </a:extLst>
              </a:tr>
            </a:tbl>
          </a:graphicData>
        </a:graphic>
      </p:graphicFrame>
      <p:sp>
        <p:nvSpPr>
          <p:cNvPr id="9" name="TextBox 8">
            <a:extLst>
              <a:ext uri="{FF2B5EF4-FFF2-40B4-BE49-F238E27FC236}">
                <a16:creationId xmlns:a16="http://schemas.microsoft.com/office/drawing/2014/main" id="{C051C4B4-8948-70EF-2266-CC61E9040215}"/>
              </a:ext>
            </a:extLst>
          </p:cNvPr>
          <p:cNvSpPr txBox="1"/>
          <p:nvPr/>
        </p:nvSpPr>
        <p:spPr>
          <a:xfrm>
            <a:off x="5872534" y="5027345"/>
            <a:ext cx="6096000" cy="155427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1" u="none" strike="noStrike" kern="1200" cap="none" spc="0" normalizeH="0" baseline="0" noProof="0" dirty="0">
                <a:ln>
                  <a:noFill/>
                </a:ln>
                <a:solidFill>
                  <a:srgbClr val="000000"/>
                </a:solidFill>
                <a:effectLst/>
                <a:uLnTx/>
                <a:uFillTx/>
                <a:latin typeface="Arial"/>
                <a:ea typeface="+mn-ea"/>
                <a:cs typeface="Arial"/>
              </a:rPr>
              <a:t>* V</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ain</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louhinnan</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kesto</a:t>
            </a:r>
            <a:r>
              <a:rPr kumimoji="0" lang="en-US" sz="1100" b="0" i="1" u="none" strike="noStrike" kern="1200" cap="none" spc="0" normalizeH="0" baseline="0" noProof="0" dirty="0">
                <a:ln>
                  <a:noFill/>
                </a:ln>
                <a:solidFill>
                  <a:srgbClr val="000000"/>
                </a:solidFill>
                <a:effectLst/>
                <a:uLnTx/>
                <a:uFillTx/>
                <a:latin typeface="Arial"/>
                <a:ea typeface="Arial"/>
                <a:cs typeface="Arial"/>
              </a:rPr>
              <a:t>. Ei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muun</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rakentamisen</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kesto</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esim</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avokaivanto</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luiskat</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tunnelin</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varustelut</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Louhintaa</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tehdään</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samanaikaisesti</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monen</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eri</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ajotunnelin</a:t>
            </a:r>
            <a:r>
              <a:rPr kumimoji="0" lang="en-US" sz="1100" b="0" i="1" u="none" strike="noStrike" kern="1200" cap="none" spc="0" normalizeH="0" baseline="0" noProof="0" dirty="0">
                <a:ln>
                  <a:noFill/>
                </a:ln>
                <a:solidFill>
                  <a:srgbClr val="000000"/>
                </a:solidFill>
                <a:effectLst/>
                <a:uLnTx/>
                <a:uFillTx/>
                <a:latin typeface="Arial"/>
                <a:ea typeface="Arial"/>
                <a:cs typeface="Arial"/>
              </a:rPr>
              <a:t> </a:t>
            </a:r>
            <a:r>
              <a:rPr kumimoji="0" lang="en-US" sz="1100" b="0" i="1" u="none" strike="noStrike" kern="1200" cap="none" spc="0" normalizeH="0" baseline="0" noProof="0" dirty="0" err="1">
                <a:ln>
                  <a:noFill/>
                </a:ln>
                <a:solidFill>
                  <a:srgbClr val="000000"/>
                </a:solidFill>
                <a:effectLst/>
                <a:uLnTx/>
                <a:uFillTx/>
                <a:latin typeface="Arial"/>
                <a:ea typeface="Arial"/>
                <a:cs typeface="Arial"/>
              </a:rPr>
              <a:t>kautta</a:t>
            </a:r>
            <a:r>
              <a:rPr kumimoji="0" lang="en-US" sz="1100" b="0" i="1" u="none" strike="noStrike" kern="1200" cap="none" spc="0" normalizeH="0" baseline="0" noProof="0" dirty="0">
                <a:ln>
                  <a:noFill/>
                </a:ln>
                <a:solidFill>
                  <a:srgbClr val="000000"/>
                </a:solidFill>
                <a:effectLst/>
                <a:uLnTx/>
                <a:uFillTx/>
                <a:latin typeface="Arial"/>
                <a:ea typeface="Arial"/>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000000"/>
              </a:solidFill>
              <a:effectLst/>
              <a:uLnTx/>
              <a:uFillTx/>
              <a:latin typeface="Arial"/>
              <a:ea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1" u="none" strike="noStrike" kern="1200" cap="none" spc="0" normalizeH="0" baseline="0" noProof="0" dirty="0">
                <a:ln>
                  <a:noFill/>
                </a:ln>
                <a:solidFill>
                  <a:srgbClr val="000000"/>
                </a:solidFill>
                <a:effectLst/>
                <a:uLnTx/>
                <a:uFillTx/>
                <a:latin typeface="Arial"/>
                <a:ea typeface="+mn-ea"/>
                <a:cs typeface="Arial"/>
              </a:rPr>
              <a:t>**Sisältää louheen kuljetuksen pois tunnelista. Tunneliin ajaa vastaava määrä louhekuorma-autoja hakemaan louhetta, joten louhekuorma-autojen liikenne-määrä on kaksinkertain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100" b="0" i="1"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1" u="none" strike="noStrike" kern="1200" cap="none" spc="0" normalizeH="0" baseline="0" noProof="0" dirty="0">
                <a:ln>
                  <a:noFill/>
                </a:ln>
                <a:solidFill>
                  <a:srgbClr val="000000"/>
                </a:solidFill>
                <a:effectLst/>
                <a:uLnTx/>
                <a:uFillTx/>
                <a:latin typeface="Arial"/>
                <a:ea typeface="+mn-ea"/>
                <a:cs typeface="Arial"/>
              </a:rPr>
              <a:t>***Sisältää kuorma-auton ajon tunneliin sekä louheen kuljetuksen pois tunnelista. </a:t>
            </a:r>
            <a:r>
              <a:rPr kumimoji="0" lang="en-US" sz="1100" b="0" i="1" u="none" strike="noStrike" kern="1200" cap="none" spc="0" normalizeH="0" baseline="0" noProof="0" dirty="0">
                <a:ln>
                  <a:noFill/>
                </a:ln>
                <a:solidFill>
                  <a:srgbClr val="000000"/>
                </a:solidFill>
                <a:effectLst/>
                <a:uLnTx/>
                <a:uFillTx/>
                <a:latin typeface="Arial"/>
                <a:ea typeface="+mn-ea"/>
                <a:cs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7" name="Kuva 6">
            <a:extLst>
              <a:ext uri="{FF2B5EF4-FFF2-40B4-BE49-F238E27FC236}">
                <a16:creationId xmlns:a16="http://schemas.microsoft.com/office/drawing/2014/main" id="{AADBC5B9-CB4F-B45E-5820-907F6CC96ED8}"/>
              </a:ext>
            </a:extLst>
          </p:cNvPr>
          <p:cNvPicPr>
            <a:picLocks noChangeAspect="1"/>
          </p:cNvPicPr>
          <p:nvPr/>
        </p:nvPicPr>
        <p:blipFill>
          <a:blip r:embed="rId2"/>
          <a:stretch>
            <a:fillRect/>
          </a:stretch>
        </p:blipFill>
        <p:spPr>
          <a:xfrm>
            <a:off x="435428" y="1438226"/>
            <a:ext cx="5145100" cy="4560238"/>
          </a:xfrm>
          <a:prstGeom prst="rect">
            <a:avLst/>
          </a:prstGeom>
        </p:spPr>
      </p:pic>
    </p:spTree>
    <p:extLst>
      <p:ext uri="{BB962C8B-B14F-4D97-AF65-F5344CB8AC3E}">
        <p14:creationId xmlns:p14="http://schemas.microsoft.com/office/powerpoint/2010/main" val="2549672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42B82-7C50-4CF7-CCB3-4EF9AA9EACE2}"/>
              </a:ext>
            </a:extLst>
          </p:cNvPr>
          <p:cNvSpPr>
            <a:spLocks noGrp="1"/>
          </p:cNvSpPr>
          <p:nvPr>
            <p:ph type="title"/>
          </p:nvPr>
        </p:nvSpPr>
        <p:spPr/>
        <p:txBody>
          <a:bodyPr/>
          <a:lstStyle/>
          <a:p>
            <a:r>
              <a:rPr lang="en-US" err="1"/>
              <a:t>Kalliotunnelin</a:t>
            </a:r>
            <a:r>
              <a:rPr lang="en-US"/>
              <a:t> </a:t>
            </a:r>
            <a:r>
              <a:rPr lang="en-US" err="1"/>
              <a:t>rakentaminen</a:t>
            </a:r>
          </a:p>
        </p:txBody>
      </p:sp>
      <p:sp>
        <p:nvSpPr>
          <p:cNvPr id="3" name="Text Placeholder 2">
            <a:extLst>
              <a:ext uri="{FF2B5EF4-FFF2-40B4-BE49-F238E27FC236}">
                <a16:creationId xmlns:a16="http://schemas.microsoft.com/office/drawing/2014/main" id="{46AD037C-484C-3635-D41C-92A00DAB0223}"/>
              </a:ext>
            </a:extLst>
          </p:cNvPr>
          <p:cNvSpPr>
            <a:spLocks noGrp="1"/>
          </p:cNvSpPr>
          <p:nvPr>
            <p:ph type="body" sz="quarter" idx="11"/>
          </p:nvPr>
        </p:nvSpPr>
        <p:spPr>
          <a:xfrm>
            <a:off x="479425" y="1484313"/>
            <a:ext cx="5968999" cy="4537075"/>
          </a:xfrm>
        </p:spPr>
        <p:txBody>
          <a:bodyPr vert="horz" lIns="0" tIns="45720" rIns="0" bIns="45720" rtlCol="0" anchor="t">
            <a:noAutofit/>
          </a:bodyPr>
          <a:lstStyle/>
          <a:p>
            <a:pPr marL="271145" indent="-271145"/>
            <a:r>
              <a:rPr lang="en-US" dirty="0" err="1">
                <a:cs typeface="Calibri"/>
              </a:rPr>
              <a:t>Rautatietunnelin</a:t>
            </a:r>
            <a:r>
              <a:rPr lang="en-US" dirty="0">
                <a:cs typeface="Calibri"/>
              </a:rPr>
              <a:t> </a:t>
            </a:r>
            <a:r>
              <a:rPr lang="en-US" dirty="0" err="1">
                <a:cs typeface="Calibri"/>
              </a:rPr>
              <a:t>louhintamenetelmää</a:t>
            </a:r>
            <a:r>
              <a:rPr lang="en-US" dirty="0">
                <a:cs typeface="Calibri"/>
              </a:rPr>
              <a:t> </a:t>
            </a:r>
            <a:r>
              <a:rPr lang="en-US" dirty="0" err="1">
                <a:cs typeface="Calibri"/>
              </a:rPr>
              <a:t>ei</a:t>
            </a:r>
            <a:r>
              <a:rPr lang="en-US" dirty="0">
                <a:cs typeface="Calibri"/>
              </a:rPr>
              <a:t> ole </a:t>
            </a:r>
            <a:r>
              <a:rPr lang="en-US" dirty="0" err="1">
                <a:cs typeface="Calibri"/>
              </a:rPr>
              <a:t>rajoitettu</a:t>
            </a:r>
            <a:r>
              <a:rPr lang="en-US" dirty="0">
                <a:cs typeface="Calibri"/>
              </a:rPr>
              <a:t> </a:t>
            </a:r>
            <a:r>
              <a:rPr lang="en-US" dirty="0" err="1">
                <a:cs typeface="Calibri"/>
              </a:rPr>
              <a:t>yleissuunnitteluvaiheessa</a:t>
            </a:r>
            <a:endParaRPr lang="en-US" dirty="0"/>
          </a:p>
          <a:p>
            <a:pPr marL="271145" indent="-271145"/>
            <a:r>
              <a:rPr lang="en-US" dirty="0" err="1">
                <a:cs typeface="Calibri"/>
              </a:rPr>
              <a:t>Kalliotunneli</a:t>
            </a:r>
            <a:r>
              <a:rPr lang="en-US" dirty="0">
                <a:cs typeface="Calibri"/>
              </a:rPr>
              <a:t> </a:t>
            </a:r>
            <a:r>
              <a:rPr lang="en-US" dirty="0" err="1">
                <a:cs typeface="Calibri"/>
              </a:rPr>
              <a:t>rakennetaan</a:t>
            </a:r>
            <a:r>
              <a:rPr lang="en-US" dirty="0">
                <a:cs typeface="Calibri"/>
              </a:rPr>
              <a:t> </a:t>
            </a:r>
            <a:r>
              <a:rPr lang="en-US" dirty="0" err="1">
                <a:cs typeface="Calibri"/>
              </a:rPr>
              <a:t>skandinaavisessa</a:t>
            </a:r>
            <a:r>
              <a:rPr lang="en-US" dirty="0">
                <a:cs typeface="Calibri"/>
              </a:rPr>
              <a:t> </a:t>
            </a:r>
            <a:r>
              <a:rPr lang="en-US" dirty="0" err="1">
                <a:cs typeface="Calibri"/>
              </a:rPr>
              <a:t>kovassa</a:t>
            </a:r>
            <a:r>
              <a:rPr lang="en-US" dirty="0">
                <a:cs typeface="Calibri"/>
              </a:rPr>
              <a:t> </a:t>
            </a:r>
            <a:r>
              <a:rPr lang="en-US" dirty="0" err="1">
                <a:cs typeface="Calibri"/>
              </a:rPr>
              <a:t>kiteisessä</a:t>
            </a:r>
            <a:r>
              <a:rPr lang="en-US" dirty="0">
                <a:cs typeface="Calibri"/>
              </a:rPr>
              <a:t> </a:t>
            </a:r>
            <a:r>
              <a:rPr lang="en-US" dirty="0" err="1">
                <a:cs typeface="Calibri"/>
              </a:rPr>
              <a:t>kallioperässä</a:t>
            </a:r>
            <a:r>
              <a:rPr lang="en-US" dirty="0">
                <a:cs typeface="Calibri"/>
              </a:rPr>
              <a:t> </a:t>
            </a:r>
            <a:r>
              <a:rPr lang="en-US" dirty="0" err="1">
                <a:cs typeface="Calibri"/>
              </a:rPr>
              <a:t>pääsääntöisesti</a:t>
            </a:r>
            <a:r>
              <a:rPr lang="en-US" dirty="0">
                <a:cs typeface="Calibri"/>
              </a:rPr>
              <a:t> </a:t>
            </a:r>
            <a:r>
              <a:rPr lang="en-US" dirty="0" err="1">
                <a:cs typeface="Calibri"/>
              </a:rPr>
              <a:t>poraus-räjäytys</a:t>
            </a:r>
            <a:r>
              <a:rPr lang="en-US" dirty="0">
                <a:cs typeface="Calibri"/>
              </a:rPr>
              <a:t> –</a:t>
            </a:r>
            <a:r>
              <a:rPr lang="en-US" dirty="0" err="1">
                <a:cs typeface="Calibri"/>
              </a:rPr>
              <a:t>menetelmällä</a:t>
            </a:r>
            <a:r>
              <a:rPr lang="en-US" dirty="0">
                <a:cs typeface="Calibri"/>
              </a:rPr>
              <a:t> ja </a:t>
            </a:r>
            <a:r>
              <a:rPr lang="en-US" dirty="0" err="1">
                <a:cs typeface="Calibri"/>
              </a:rPr>
              <a:t>louhinnan</a:t>
            </a:r>
            <a:r>
              <a:rPr lang="en-US" dirty="0">
                <a:cs typeface="Calibri"/>
              </a:rPr>
              <a:t> </a:t>
            </a:r>
            <a:r>
              <a:rPr lang="en-US" dirty="0" err="1">
                <a:cs typeface="Calibri"/>
              </a:rPr>
              <a:t>etenemä</a:t>
            </a:r>
            <a:r>
              <a:rPr lang="en-US" dirty="0">
                <a:cs typeface="Calibri"/>
              </a:rPr>
              <a:t> on </a:t>
            </a:r>
            <a:r>
              <a:rPr lang="en-US" dirty="0" err="1">
                <a:cs typeface="Calibri"/>
              </a:rPr>
              <a:t>tyypillisesti</a:t>
            </a:r>
            <a:r>
              <a:rPr lang="en-US" dirty="0">
                <a:cs typeface="Calibri"/>
              </a:rPr>
              <a:t> 3…20 m </a:t>
            </a:r>
            <a:r>
              <a:rPr lang="en-US" dirty="0" err="1">
                <a:cs typeface="Calibri"/>
              </a:rPr>
              <a:t>viikossa</a:t>
            </a:r>
            <a:r>
              <a:rPr lang="en-US" dirty="0">
                <a:cs typeface="Calibri"/>
              </a:rPr>
              <a:t>, </a:t>
            </a:r>
            <a:r>
              <a:rPr lang="en-US" dirty="0" err="1">
                <a:cs typeface="Calibri"/>
              </a:rPr>
              <a:t>riippuen</a:t>
            </a:r>
            <a:r>
              <a:rPr lang="en-US" dirty="0">
                <a:cs typeface="Calibri"/>
              </a:rPr>
              <a:t> </a:t>
            </a:r>
            <a:r>
              <a:rPr lang="en-US" dirty="0" err="1">
                <a:cs typeface="Calibri"/>
              </a:rPr>
              <a:t>kalliolaadusta</a:t>
            </a:r>
            <a:r>
              <a:rPr lang="en-US" dirty="0">
                <a:cs typeface="Calibri"/>
              </a:rPr>
              <a:t> ja </a:t>
            </a:r>
            <a:r>
              <a:rPr lang="en-US" dirty="0" err="1">
                <a:cs typeface="Calibri"/>
              </a:rPr>
              <a:t>ympäristöolosuhteista</a:t>
            </a:r>
            <a:endParaRPr lang="en-US" dirty="0">
              <a:cs typeface="Calibri"/>
            </a:endParaRPr>
          </a:p>
          <a:p>
            <a:pPr marL="271145" indent="-271145"/>
            <a:r>
              <a:rPr lang="en-US" dirty="0" err="1">
                <a:cs typeface="Calibri"/>
              </a:rPr>
              <a:t>Kaupungin</a:t>
            </a:r>
            <a:r>
              <a:rPr lang="en-US" dirty="0">
                <a:cs typeface="Calibri"/>
              </a:rPr>
              <a:t> </a:t>
            </a:r>
            <a:r>
              <a:rPr lang="en-US" dirty="0" err="1">
                <a:cs typeface="Calibri"/>
              </a:rPr>
              <a:t>hyväksymä</a:t>
            </a:r>
            <a:r>
              <a:rPr lang="en-US" dirty="0">
                <a:cs typeface="Calibri"/>
              </a:rPr>
              <a:t> </a:t>
            </a:r>
            <a:r>
              <a:rPr lang="en-US" dirty="0" err="1">
                <a:cs typeface="Calibri"/>
              </a:rPr>
              <a:t>melulupa</a:t>
            </a:r>
            <a:r>
              <a:rPr lang="en-US" dirty="0">
                <a:cs typeface="Calibri"/>
              </a:rPr>
              <a:t> </a:t>
            </a:r>
            <a:r>
              <a:rPr lang="en-US" dirty="0" err="1">
                <a:cs typeface="Calibri"/>
              </a:rPr>
              <a:t>säätelee</a:t>
            </a:r>
            <a:r>
              <a:rPr lang="en-US" dirty="0">
                <a:cs typeface="Calibri"/>
              </a:rPr>
              <a:t> </a:t>
            </a:r>
            <a:r>
              <a:rPr lang="en-US" dirty="0" err="1">
                <a:cs typeface="Calibri"/>
              </a:rPr>
              <a:t>melua</a:t>
            </a:r>
            <a:r>
              <a:rPr lang="en-US" dirty="0">
                <a:cs typeface="Calibri"/>
              </a:rPr>
              <a:t> </a:t>
            </a:r>
            <a:r>
              <a:rPr lang="en-US" dirty="0" err="1">
                <a:cs typeface="Calibri"/>
              </a:rPr>
              <a:t>aiheuttavia</a:t>
            </a:r>
            <a:r>
              <a:rPr lang="en-US" dirty="0">
                <a:cs typeface="Calibri"/>
              </a:rPr>
              <a:t> </a:t>
            </a:r>
            <a:r>
              <a:rPr lang="en-US" dirty="0" err="1">
                <a:cs typeface="Calibri"/>
              </a:rPr>
              <a:t>rakentamistöitä</a:t>
            </a:r>
            <a:endParaRPr lang="en-US" dirty="0">
              <a:cs typeface="Calibri"/>
            </a:endParaRPr>
          </a:p>
          <a:p>
            <a:pPr marL="271145" indent="-271145"/>
            <a:r>
              <a:rPr lang="en-US" dirty="0" err="1">
                <a:cs typeface="Arial"/>
              </a:rPr>
              <a:t>Jokaiselle</a:t>
            </a:r>
            <a:r>
              <a:rPr lang="en-US" dirty="0">
                <a:cs typeface="Arial"/>
              </a:rPr>
              <a:t> </a:t>
            </a:r>
            <a:r>
              <a:rPr lang="en-US" dirty="0" err="1">
                <a:cs typeface="Arial"/>
              </a:rPr>
              <a:t>rakenteelle</a:t>
            </a:r>
            <a:r>
              <a:rPr lang="en-US" dirty="0">
                <a:cs typeface="Arial"/>
              </a:rPr>
              <a:t> </a:t>
            </a:r>
            <a:r>
              <a:rPr lang="en-US" dirty="0" err="1">
                <a:cs typeface="Arial"/>
              </a:rPr>
              <a:t>määritetään</a:t>
            </a:r>
            <a:r>
              <a:rPr lang="en-US" dirty="0">
                <a:cs typeface="Arial"/>
              </a:rPr>
              <a:t> </a:t>
            </a:r>
            <a:r>
              <a:rPr lang="en-US" dirty="0" err="1">
                <a:cs typeface="Arial"/>
              </a:rPr>
              <a:t>sen</a:t>
            </a:r>
            <a:r>
              <a:rPr lang="en-US" dirty="0">
                <a:cs typeface="Arial"/>
              </a:rPr>
              <a:t> </a:t>
            </a:r>
            <a:r>
              <a:rPr lang="en-US" dirty="0" err="1">
                <a:cs typeface="Arial"/>
              </a:rPr>
              <a:t>perustamistapa</a:t>
            </a:r>
            <a:r>
              <a:rPr lang="en-US" dirty="0">
                <a:cs typeface="Arial"/>
              </a:rPr>
              <a:t>, </a:t>
            </a:r>
            <a:r>
              <a:rPr lang="en-US" dirty="0" err="1">
                <a:cs typeface="Arial"/>
              </a:rPr>
              <a:t>runko</a:t>
            </a:r>
            <a:r>
              <a:rPr lang="en-US" dirty="0">
                <a:cs typeface="Arial"/>
              </a:rPr>
              <a:t>- ja </a:t>
            </a:r>
            <a:r>
              <a:rPr lang="en-US" dirty="0" err="1">
                <a:cs typeface="Arial"/>
              </a:rPr>
              <a:t>julkisivurakenne</a:t>
            </a:r>
            <a:r>
              <a:rPr lang="en-US" dirty="0">
                <a:cs typeface="Arial"/>
              </a:rPr>
              <a:t> </a:t>
            </a:r>
            <a:r>
              <a:rPr lang="en-US" dirty="0" err="1">
                <a:cs typeface="Arial"/>
              </a:rPr>
              <a:t>huomioiva</a:t>
            </a:r>
            <a:r>
              <a:rPr lang="en-US" dirty="0">
                <a:cs typeface="Arial"/>
              </a:rPr>
              <a:t> </a:t>
            </a:r>
            <a:r>
              <a:rPr lang="en-US" dirty="0" err="1">
                <a:cs typeface="Arial"/>
              </a:rPr>
              <a:t>tärinän</a:t>
            </a:r>
            <a:r>
              <a:rPr lang="en-US" dirty="0">
                <a:cs typeface="Arial"/>
              </a:rPr>
              <a:t> </a:t>
            </a:r>
            <a:r>
              <a:rPr lang="en-US" dirty="0" err="1">
                <a:cs typeface="Arial"/>
              </a:rPr>
              <a:t>heilahdusnopeuden</a:t>
            </a:r>
            <a:r>
              <a:rPr lang="en-US" dirty="0">
                <a:cs typeface="Arial"/>
              </a:rPr>
              <a:t> raja-</a:t>
            </a:r>
            <a:r>
              <a:rPr lang="en-US" dirty="0" err="1">
                <a:cs typeface="Arial"/>
              </a:rPr>
              <a:t>arvo</a:t>
            </a:r>
            <a:r>
              <a:rPr lang="en-US" dirty="0">
                <a:cs typeface="Arial"/>
              </a:rPr>
              <a:t>, jota </a:t>
            </a:r>
            <a:r>
              <a:rPr lang="en-US" dirty="0" err="1">
                <a:cs typeface="Arial"/>
              </a:rPr>
              <a:t>räjäytystoimilla</a:t>
            </a:r>
            <a:r>
              <a:rPr lang="en-US" dirty="0">
                <a:cs typeface="Arial"/>
              </a:rPr>
              <a:t> </a:t>
            </a:r>
            <a:r>
              <a:rPr lang="en-US" dirty="0" err="1">
                <a:cs typeface="Arial"/>
              </a:rPr>
              <a:t>ei</a:t>
            </a:r>
            <a:r>
              <a:rPr lang="en-US" dirty="0">
                <a:cs typeface="Arial"/>
              </a:rPr>
              <a:t> </a:t>
            </a:r>
            <a:r>
              <a:rPr lang="en-US" dirty="0" err="1">
                <a:cs typeface="Arial"/>
              </a:rPr>
              <a:t>saa</a:t>
            </a:r>
            <a:r>
              <a:rPr lang="en-US" dirty="0">
                <a:cs typeface="Arial"/>
              </a:rPr>
              <a:t> </a:t>
            </a:r>
            <a:r>
              <a:rPr lang="en-US" dirty="0" err="1">
                <a:cs typeface="Arial"/>
              </a:rPr>
              <a:t>ylittää</a:t>
            </a:r>
            <a:r>
              <a:rPr lang="en-US" dirty="0">
                <a:cs typeface="Arial"/>
              </a:rPr>
              <a:t>. </a:t>
            </a:r>
            <a:r>
              <a:rPr lang="en-US" dirty="0" err="1">
                <a:cs typeface="Arial"/>
              </a:rPr>
              <a:t>Rakenteiden</a:t>
            </a:r>
            <a:r>
              <a:rPr lang="en-US" dirty="0">
                <a:cs typeface="Arial"/>
              </a:rPr>
              <a:t> raja-</a:t>
            </a:r>
            <a:r>
              <a:rPr lang="en-US" dirty="0" err="1">
                <a:cs typeface="Arial"/>
              </a:rPr>
              <a:t>arvoja</a:t>
            </a:r>
            <a:r>
              <a:rPr lang="en-US" dirty="0">
                <a:cs typeface="Arial"/>
              </a:rPr>
              <a:t> </a:t>
            </a:r>
            <a:r>
              <a:rPr lang="en-US" dirty="0" err="1">
                <a:cs typeface="Arial"/>
              </a:rPr>
              <a:t>seurataan</a:t>
            </a:r>
            <a:r>
              <a:rPr lang="en-US" dirty="0">
                <a:cs typeface="Arial"/>
              </a:rPr>
              <a:t> </a:t>
            </a:r>
            <a:r>
              <a:rPr lang="en-US" dirty="0" err="1">
                <a:cs typeface="Arial"/>
              </a:rPr>
              <a:t>mittauksin</a:t>
            </a:r>
            <a:r>
              <a:rPr lang="en-US" dirty="0">
                <a:cs typeface="Arial"/>
              </a:rPr>
              <a:t> ja </a:t>
            </a:r>
            <a:r>
              <a:rPr lang="en-US" dirty="0" err="1">
                <a:cs typeface="Arial"/>
              </a:rPr>
              <a:t>tarvittaessa</a:t>
            </a:r>
            <a:r>
              <a:rPr lang="en-US" dirty="0">
                <a:cs typeface="Arial"/>
              </a:rPr>
              <a:t> </a:t>
            </a:r>
            <a:r>
              <a:rPr lang="en-US" dirty="0" err="1">
                <a:cs typeface="Arial"/>
              </a:rPr>
              <a:t>säädetään</a:t>
            </a:r>
            <a:r>
              <a:rPr lang="en-US" dirty="0">
                <a:cs typeface="Arial"/>
              </a:rPr>
              <a:t> </a:t>
            </a:r>
            <a:r>
              <a:rPr lang="en-US" dirty="0" err="1">
                <a:cs typeface="Arial"/>
              </a:rPr>
              <a:t>niiden</a:t>
            </a:r>
            <a:r>
              <a:rPr lang="en-US" dirty="0">
                <a:cs typeface="Arial"/>
              </a:rPr>
              <a:t> </a:t>
            </a:r>
            <a:r>
              <a:rPr lang="en-US" dirty="0" err="1">
                <a:cs typeface="Arial"/>
              </a:rPr>
              <a:t>voimakkuutta</a:t>
            </a:r>
            <a:r>
              <a:rPr lang="en-US" dirty="0">
                <a:cs typeface="Arial"/>
              </a:rPr>
              <a:t>.</a:t>
            </a:r>
            <a:endParaRPr lang="en-US" dirty="0">
              <a:cs typeface="Calibri"/>
            </a:endParaRPr>
          </a:p>
          <a:p>
            <a:pPr marL="271145" indent="-271145"/>
            <a:r>
              <a:rPr lang="en-US" dirty="0" err="1">
                <a:cs typeface="Arial"/>
              </a:rPr>
              <a:t>Kalliotunneli</a:t>
            </a:r>
            <a:r>
              <a:rPr lang="en-US" dirty="0">
                <a:cs typeface="Arial"/>
              </a:rPr>
              <a:t> </a:t>
            </a:r>
            <a:r>
              <a:rPr lang="en-US" dirty="0" err="1">
                <a:cs typeface="Arial"/>
              </a:rPr>
              <a:t>rakennetaan</a:t>
            </a:r>
            <a:r>
              <a:rPr lang="en-US" dirty="0">
                <a:cs typeface="Arial"/>
              </a:rPr>
              <a:t> </a:t>
            </a:r>
            <a:r>
              <a:rPr lang="en-US" dirty="0" err="1">
                <a:cs typeface="Arial"/>
              </a:rPr>
              <a:t>niin</a:t>
            </a:r>
            <a:r>
              <a:rPr lang="en-US" dirty="0">
                <a:cs typeface="Arial"/>
              </a:rPr>
              <a:t>, </a:t>
            </a:r>
            <a:r>
              <a:rPr lang="en-US" dirty="0" err="1">
                <a:cs typeface="Arial"/>
              </a:rPr>
              <a:t>että</a:t>
            </a:r>
            <a:r>
              <a:rPr lang="en-US" dirty="0">
                <a:cs typeface="Arial"/>
              </a:rPr>
              <a:t> ne </a:t>
            </a:r>
            <a:r>
              <a:rPr lang="en-US" dirty="0" err="1">
                <a:cs typeface="Arial"/>
              </a:rPr>
              <a:t>eivät</a:t>
            </a:r>
            <a:r>
              <a:rPr lang="en-US" dirty="0">
                <a:cs typeface="Arial"/>
              </a:rPr>
              <a:t> </a:t>
            </a:r>
            <a:r>
              <a:rPr lang="en-US" dirty="0" err="1">
                <a:cs typeface="Arial"/>
              </a:rPr>
              <a:t>vaaranna</a:t>
            </a:r>
            <a:r>
              <a:rPr lang="en-US" dirty="0">
                <a:cs typeface="Arial"/>
              </a:rPr>
              <a:t> </a:t>
            </a:r>
            <a:r>
              <a:rPr lang="en-US" dirty="0" err="1">
                <a:cs typeface="Arial"/>
              </a:rPr>
              <a:t>asukkaiden</a:t>
            </a:r>
            <a:r>
              <a:rPr lang="en-US" dirty="0">
                <a:cs typeface="Arial"/>
              </a:rPr>
              <a:t> ja </a:t>
            </a:r>
            <a:r>
              <a:rPr lang="en-US" dirty="0" err="1">
                <a:cs typeface="Arial"/>
              </a:rPr>
              <a:t>kotien</a:t>
            </a:r>
            <a:r>
              <a:rPr lang="en-US" dirty="0">
                <a:cs typeface="Arial"/>
              </a:rPr>
              <a:t> </a:t>
            </a:r>
            <a:r>
              <a:rPr lang="en-US" dirty="0" err="1">
                <a:cs typeface="Arial"/>
              </a:rPr>
              <a:t>turvallisuutta</a:t>
            </a:r>
            <a:r>
              <a:rPr lang="en-US" dirty="0">
                <a:cs typeface="Arial"/>
              </a:rPr>
              <a:t>. </a:t>
            </a:r>
          </a:p>
          <a:p>
            <a:pPr marL="271145" indent="-271145"/>
            <a:endParaRPr lang="en-US" dirty="0"/>
          </a:p>
        </p:txBody>
      </p:sp>
      <p:pic>
        <p:nvPicPr>
          <p:cNvPr id="6" name="Picture 5" descr="A diagram of a construction vehicle&#10;&#10;AI-generated content may be incorrect.">
            <a:extLst>
              <a:ext uri="{FF2B5EF4-FFF2-40B4-BE49-F238E27FC236}">
                <a16:creationId xmlns:a16="http://schemas.microsoft.com/office/drawing/2014/main" id="{380168BF-654F-5939-0247-5DE957EF1ECC}"/>
              </a:ext>
            </a:extLst>
          </p:cNvPr>
          <p:cNvPicPr>
            <a:picLocks noChangeAspect="1"/>
          </p:cNvPicPr>
          <p:nvPr/>
        </p:nvPicPr>
        <p:blipFill>
          <a:blip r:embed="rId2"/>
          <a:stretch>
            <a:fillRect/>
          </a:stretch>
        </p:blipFill>
        <p:spPr>
          <a:xfrm>
            <a:off x="6552467" y="1249925"/>
            <a:ext cx="5639533" cy="3679477"/>
          </a:xfrm>
          <a:prstGeom prst="rect">
            <a:avLst/>
          </a:prstGeom>
        </p:spPr>
      </p:pic>
      <p:sp>
        <p:nvSpPr>
          <p:cNvPr id="8" name="TextBox 7">
            <a:extLst>
              <a:ext uri="{FF2B5EF4-FFF2-40B4-BE49-F238E27FC236}">
                <a16:creationId xmlns:a16="http://schemas.microsoft.com/office/drawing/2014/main" id="{9D977524-2513-075B-4DA3-75BEBD59D099}"/>
              </a:ext>
            </a:extLst>
          </p:cNvPr>
          <p:cNvSpPr txBox="1"/>
          <p:nvPr/>
        </p:nvSpPr>
        <p:spPr>
          <a:xfrm>
            <a:off x="6819482" y="5010254"/>
            <a:ext cx="5372518"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err="1">
                <a:ln>
                  <a:noFill/>
                </a:ln>
                <a:solidFill>
                  <a:srgbClr val="000000"/>
                </a:solidFill>
                <a:effectLst/>
                <a:uLnTx/>
                <a:uFillTx/>
                <a:latin typeface="Arial"/>
                <a:ea typeface="+mn-ea"/>
                <a:cs typeface="Arial"/>
              </a:rPr>
              <a:t>Tunnelilouhinnan</a:t>
            </a:r>
            <a:r>
              <a:rPr kumimoji="0" lang="en-US" sz="1200" b="0" i="1" u="none" strike="noStrike" kern="1200" cap="none" spc="0" normalizeH="0" baseline="0" noProof="0" dirty="0">
                <a:ln>
                  <a:noFill/>
                </a:ln>
                <a:solidFill>
                  <a:srgbClr val="000000"/>
                </a:solidFill>
                <a:effectLst/>
                <a:uLnTx/>
                <a:uFillTx/>
                <a:latin typeface="Arial"/>
                <a:ea typeface="+mn-ea"/>
                <a:cs typeface="Arial"/>
              </a:rPr>
              <a:t> </a:t>
            </a:r>
            <a:r>
              <a:rPr kumimoji="0" lang="en-US" sz="1200" b="0" i="1" u="none" strike="noStrike" kern="1200" cap="none" spc="0" normalizeH="0" baseline="0" noProof="0" dirty="0" err="1">
                <a:ln>
                  <a:noFill/>
                </a:ln>
                <a:solidFill>
                  <a:srgbClr val="000000"/>
                </a:solidFill>
                <a:effectLst/>
                <a:uLnTx/>
                <a:uFillTx/>
                <a:latin typeface="Arial"/>
                <a:ea typeface="+mn-ea"/>
                <a:cs typeface="Arial"/>
              </a:rPr>
              <a:t>louhintakierto</a:t>
            </a:r>
            <a:r>
              <a:rPr kumimoji="0" lang="en-US" sz="1200" b="0" i="1" u="none" strike="noStrike" kern="1200" cap="none" spc="0" normalizeH="0" baseline="0" noProof="0" dirty="0">
                <a:ln>
                  <a:noFill/>
                </a:ln>
                <a:solidFill>
                  <a:srgbClr val="000000"/>
                </a:solidFill>
                <a:effectLst/>
                <a:uLnTx/>
                <a:uFillTx/>
                <a:latin typeface="Arial"/>
                <a:ea typeface="+mn-ea"/>
                <a:cs typeface="Arial"/>
              </a:rPr>
              <a:t>. Kuva: Sandvik Mining and Construction</a:t>
            </a:r>
            <a:endParaRPr kumimoji="0" lang="en-US" sz="1800" b="0" i="1" u="none" strike="noStrike" kern="120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533658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n paikkamerkki 1">
            <a:extLst>
              <a:ext uri="{FF2B5EF4-FFF2-40B4-BE49-F238E27FC236}">
                <a16:creationId xmlns:a16="http://schemas.microsoft.com/office/drawing/2014/main" id="{498C044F-5175-D35A-8D84-10D429172544}"/>
              </a:ext>
            </a:extLst>
          </p:cNvPr>
          <p:cNvSpPr>
            <a:spLocks noGrp="1"/>
          </p:cNvSpPr>
          <p:nvPr>
            <p:ph type="body" sz="quarter" idx="10"/>
          </p:nvPr>
        </p:nvSpPr>
        <p:spPr>
          <a:xfrm>
            <a:off x="468511" y="1246730"/>
            <a:ext cx="5686425" cy="4537075"/>
          </a:xfrm>
        </p:spPr>
        <p:txBody>
          <a:bodyPr/>
          <a:lstStyle/>
          <a:p>
            <a:r>
              <a:rPr lang="fi-FI" sz="1600" dirty="0"/>
              <a:t>Lentoradan ratageometriaa on tarkennettu touko–kesäkuussa järjestettyjen yleisötilaisuuksien jälkeen huomioiden raiteenvaihtopaikkojen ja pelastustoimintojen sijoittaminen sekä lämpökaivojen sijainnit Pakila–Paloheinä-alueella.</a:t>
            </a:r>
          </a:p>
          <a:p>
            <a:r>
              <a:rPr lang="fi-FI" sz="1600" dirty="0"/>
              <a:t>Muutoksen vaikutuksesta linjaukselle sijoittuvien kaivojen määrää alueella on vähentynyt yli 60%</a:t>
            </a:r>
          </a:p>
          <a:p>
            <a:r>
              <a:rPr lang="fi-FI" sz="1600" dirty="0"/>
              <a:t>Seuraavissa suunnitteluvaiheessa tulleen tekemään kaivokartoitukset ja sen jälkeen voidaan arvioida ja esittää toimenpiteet.</a:t>
            </a:r>
          </a:p>
          <a:p>
            <a:r>
              <a:rPr lang="fi-FI" sz="1600" dirty="0" err="1"/>
              <a:t>Rei`jän</a:t>
            </a:r>
            <a:r>
              <a:rPr lang="fi-FI" sz="1600" dirty="0"/>
              <a:t> uudelleen suuntaus voisi joissain tapauksissa olla mahdollista ja sijoittaminen yleisille alueille tulee myös selvittää.</a:t>
            </a:r>
          </a:p>
          <a:p>
            <a:r>
              <a:rPr lang="fi-FI" sz="1600" dirty="0"/>
              <a:t>Hankkeesta vastaavan tulee minimoida haitat, ja jos niitä ei voida välttää, tulee korvaukset ja haitat maksaa kiinteistön omistajalle. Lainvoimaisen ratasuunnitelman jälkeen hankkeeseen ryhtyvä hakee ratatoimitusta, jossa määritellään kaikki korvaukset.</a:t>
            </a:r>
          </a:p>
        </p:txBody>
      </p:sp>
      <p:sp>
        <p:nvSpPr>
          <p:cNvPr id="3" name="Otsikko 2">
            <a:extLst>
              <a:ext uri="{FF2B5EF4-FFF2-40B4-BE49-F238E27FC236}">
                <a16:creationId xmlns:a16="http://schemas.microsoft.com/office/drawing/2014/main" id="{548B4C47-23EB-15E0-614B-4BFA6BBA29C6}"/>
              </a:ext>
            </a:extLst>
          </p:cNvPr>
          <p:cNvSpPr>
            <a:spLocks noGrp="1"/>
          </p:cNvSpPr>
          <p:nvPr>
            <p:ph type="title"/>
          </p:nvPr>
        </p:nvSpPr>
        <p:spPr/>
        <p:txBody>
          <a:bodyPr/>
          <a:lstStyle/>
          <a:p>
            <a:r>
              <a:rPr lang="fi-FI"/>
              <a:t>Maalämpökaivot</a:t>
            </a:r>
          </a:p>
        </p:txBody>
      </p:sp>
      <p:sp>
        <p:nvSpPr>
          <p:cNvPr id="5" name="AutoShape 2">
            <a:extLst>
              <a:ext uri="{FF2B5EF4-FFF2-40B4-BE49-F238E27FC236}">
                <a16:creationId xmlns:a16="http://schemas.microsoft.com/office/drawing/2014/main" id="{AEC450C9-EF63-0881-E0D5-C1A84D026D4C}"/>
              </a:ext>
            </a:extLst>
          </p:cNvPr>
          <p:cNvSpPr>
            <a:spLocks noGrp="1" noChangeAspect="1" noChangeArrowheads="1"/>
          </p:cNvSpPr>
          <p:nvPr>
            <p:ph type="pic" sz="quarter" idx="11"/>
          </p:nvPr>
        </p:nvSpPr>
        <p:spPr bwMode="auto">
          <a:xfrm>
            <a:off x="6400800" y="238133"/>
            <a:ext cx="5791200" cy="3558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i-FI"/>
          </a:p>
        </p:txBody>
      </p:sp>
      <p:pic>
        <p:nvPicPr>
          <p:cNvPr id="6" name="Kuva 5">
            <a:extLst>
              <a:ext uri="{FF2B5EF4-FFF2-40B4-BE49-F238E27FC236}">
                <a16:creationId xmlns:a16="http://schemas.microsoft.com/office/drawing/2014/main" id="{96361D76-3E91-0A9F-F871-90E94F5BE09D}"/>
              </a:ext>
            </a:extLst>
          </p:cNvPr>
          <p:cNvPicPr>
            <a:picLocks noChangeAspect="1"/>
          </p:cNvPicPr>
          <p:nvPr/>
        </p:nvPicPr>
        <p:blipFill>
          <a:blip r:embed="rId2"/>
          <a:stretch>
            <a:fillRect/>
          </a:stretch>
        </p:blipFill>
        <p:spPr>
          <a:xfrm>
            <a:off x="6531250" y="236137"/>
            <a:ext cx="4963228" cy="3426647"/>
          </a:xfrm>
          <a:prstGeom prst="rect">
            <a:avLst/>
          </a:prstGeom>
        </p:spPr>
      </p:pic>
      <p:sp>
        <p:nvSpPr>
          <p:cNvPr id="8" name="Tekstiruutu 7">
            <a:extLst>
              <a:ext uri="{FF2B5EF4-FFF2-40B4-BE49-F238E27FC236}">
                <a16:creationId xmlns:a16="http://schemas.microsoft.com/office/drawing/2014/main" id="{0F4CFA8C-8071-9AFB-1360-87CA65188134}"/>
              </a:ext>
            </a:extLst>
          </p:cNvPr>
          <p:cNvSpPr txBox="1"/>
          <p:nvPr/>
        </p:nvSpPr>
        <p:spPr>
          <a:xfrm>
            <a:off x="6531250" y="3560340"/>
            <a:ext cx="6149082" cy="3385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0" i="1" u="none" strike="noStrike" kern="1200" cap="none" spc="0" normalizeH="0" baseline="0" noProof="0" dirty="0">
                <a:ln>
                  <a:noFill/>
                </a:ln>
                <a:solidFill>
                  <a:srgbClr val="000000"/>
                </a:solidFill>
                <a:effectLst/>
                <a:uLnTx/>
                <a:uFillTx/>
                <a:latin typeface="Arial"/>
                <a:ea typeface="+mn-ea"/>
                <a:cs typeface="+mn-cs"/>
              </a:rPr>
              <a:t>Lähde, </a:t>
            </a:r>
            <a:r>
              <a:rPr kumimoji="0" lang="fi-FI" sz="1600" b="0" i="1" u="none" strike="noStrike" kern="1200" cap="none" spc="0" normalizeH="0" baseline="0" noProof="0" dirty="0">
                <a:ln>
                  <a:noFill/>
                </a:ln>
                <a:solidFill>
                  <a:srgbClr val="000000"/>
                </a:solidFill>
                <a:effectLst/>
                <a:uLnTx/>
                <a:uFillTx/>
                <a:latin typeface="Arial"/>
                <a:ea typeface="+mn-ea"/>
                <a:cs typeface="+mn-cs"/>
                <a:hlinkClick r:id="rId3"/>
              </a:rPr>
              <a:t>Maalämpöohje suunnittelijoille</a:t>
            </a:r>
            <a:r>
              <a:rPr kumimoji="0" lang="fi-FI" sz="1600" b="0" i="1" u="none" strike="noStrike" kern="1200" cap="none" spc="0" normalizeH="0" baseline="0" noProof="0" dirty="0">
                <a:ln>
                  <a:noFill/>
                </a:ln>
                <a:solidFill>
                  <a:srgbClr val="000000"/>
                </a:solidFill>
                <a:effectLst/>
                <a:uLnTx/>
                <a:uFillTx/>
                <a:latin typeface="Arial"/>
                <a:ea typeface="+mn-ea"/>
                <a:cs typeface="+mn-cs"/>
              </a:rPr>
              <a:t>, Helsingin kaupunki</a:t>
            </a:r>
          </a:p>
        </p:txBody>
      </p:sp>
      <p:pic>
        <p:nvPicPr>
          <p:cNvPr id="11" name="Kuva 10">
            <a:extLst>
              <a:ext uri="{FF2B5EF4-FFF2-40B4-BE49-F238E27FC236}">
                <a16:creationId xmlns:a16="http://schemas.microsoft.com/office/drawing/2014/main" id="{04F9E606-492A-9FC3-6A3E-32844BF0305A}"/>
              </a:ext>
            </a:extLst>
          </p:cNvPr>
          <p:cNvPicPr>
            <a:picLocks noChangeAspect="1"/>
          </p:cNvPicPr>
          <p:nvPr/>
        </p:nvPicPr>
        <p:blipFill>
          <a:blip r:embed="rId4"/>
          <a:stretch>
            <a:fillRect/>
          </a:stretch>
        </p:blipFill>
        <p:spPr>
          <a:xfrm>
            <a:off x="6298854" y="4221126"/>
            <a:ext cx="5771970" cy="2398741"/>
          </a:xfrm>
          <a:prstGeom prst="rect">
            <a:avLst/>
          </a:prstGeom>
        </p:spPr>
      </p:pic>
    </p:spTree>
    <p:extLst>
      <p:ext uri="{BB962C8B-B14F-4D97-AF65-F5344CB8AC3E}">
        <p14:creationId xmlns:p14="http://schemas.microsoft.com/office/powerpoint/2010/main" val="3952174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A730D-5FDF-78BA-815A-1FE21B462F5C}"/>
              </a:ext>
            </a:extLst>
          </p:cNvPr>
          <p:cNvSpPr>
            <a:spLocks noGrp="1"/>
          </p:cNvSpPr>
          <p:nvPr>
            <p:ph type="ctrTitle"/>
          </p:nvPr>
        </p:nvSpPr>
        <p:spPr/>
        <p:txBody>
          <a:bodyPr/>
          <a:lstStyle/>
          <a:p>
            <a:r>
              <a:rPr lang="fi-FI">
                <a:latin typeface="Arial Black"/>
                <a:cs typeface="Arial"/>
              </a:rPr>
              <a:t>Runkomelu</a:t>
            </a:r>
            <a:endParaRPr lang="fi-FI"/>
          </a:p>
        </p:txBody>
      </p:sp>
    </p:spTree>
    <p:extLst>
      <p:ext uri="{BB962C8B-B14F-4D97-AF65-F5344CB8AC3E}">
        <p14:creationId xmlns:p14="http://schemas.microsoft.com/office/powerpoint/2010/main" val="2038105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538A8-EBB9-EBE4-8528-3D61A6979CF1}"/>
              </a:ext>
            </a:extLst>
          </p:cNvPr>
          <p:cNvSpPr>
            <a:spLocks noGrp="1"/>
          </p:cNvSpPr>
          <p:nvPr>
            <p:ph type="title"/>
          </p:nvPr>
        </p:nvSpPr>
        <p:spPr>
          <a:xfrm>
            <a:off x="837394" y="143184"/>
            <a:ext cx="10515600" cy="1009651"/>
          </a:xfrm>
        </p:spPr>
        <p:txBody>
          <a:bodyPr lIns="91440" tIns="45720" rIns="91440" bIns="45720" anchor="t"/>
          <a:lstStyle/>
          <a:p>
            <a:r>
              <a:rPr lang="en-US" dirty="0"/>
              <a:t>Korson </a:t>
            </a:r>
            <a:r>
              <a:rPr lang="en-US" dirty="0" err="1"/>
              <a:t>raidehankkeiden</a:t>
            </a:r>
            <a:r>
              <a:rPr lang="en-US" dirty="0"/>
              <a:t> </a:t>
            </a:r>
            <a:r>
              <a:rPr lang="en-US" dirty="0" err="1"/>
              <a:t>vaihe-yleiskaava</a:t>
            </a:r>
            <a:r>
              <a:rPr lang="en-US" dirty="0"/>
              <a:t> YK0056</a:t>
            </a:r>
          </a:p>
        </p:txBody>
      </p:sp>
      <p:sp>
        <p:nvSpPr>
          <p:cNvPr id="3" name="Content Placeholder 2">
            <a:extLst>
              <a:ext uri="{FF2B5EF4-FFF2-40B4-BE49-F238E27FC236}">
                <a16:creationId xmlns:a16="http://schemas.microsoft.com/office/drawing/2014/main" id="{DFFED854-8C03-8514-6B95-19C699EFC39D}"/>
              </a:ext>
            </a:extLst>
          </p:cNvPr>
          <p:cNvSpPr>
            <a:spLocks noGrp="1"/>
          </p:cNvSpPr>
          <p:nvPr>
            <p:ph sz="quarter" idx="12"/>
          </p:nvPr>
        </p:nvSpPr>
        <p:spPr>
          <a:xfrm>
            <a:off x="6340669" y="1756061"/>
            <a:ext cx="5396946" cy="4545348"/>
          </a:xfrm>
        </p:spPr>
        <p:txBody>
          <a:bodyPr vert="horz" lIns="91440" tIns="45720" rIns="91440" bIns="45720" rtlCol="0" anchor="t">
            <a:normAutofit fontScale="55000" lnSpcReduction="20000"/>
          </a:bodyPr>
          <a:lstStyle/>
          <a:p>
            <a:r>
              <a:rPr lang="en-US" sz="2900" dirty="0" err="1">
                <a:ea typeface="Calibri"/>
                <a:cs typeface="Calibri"/>
              </a:rPr>
              <a:t>Lentoradalle</a:t>
            </a:r>
            <a:r>
              <a:rPr lang="en-US" sz="2900" dirty="0">
                <a:ea typeface="Calibri"/>
                <a:cs typeface="Calibri"/>
              </a:rPr>
              <a:t> on </a:t>
            </a:r>
            <a:r>
              <a:rPr lang="en-US" sz="2900" dirty="0" err="1">
                <a:ea typeface="Calibri"/>
                <a:cs typeface="Calibri"/>
              </a:rPr>
              <a:t>tehty</a:t>
            </a:r>
            <a:r>
              <a:rPr lang="en-US" sz="2900" dirty="0">
                <a:ea typeface="Calibri"/>
                <a:cs typeface="Calibri"/>
              </a:rPr>
              <a:t> </a:t>
            </a:r>
            <a:r>
              <a:rPr lang="en-US" sz="2900" dirty="0" err="1">
                <a:ea typeface="Calibri"/>
                <a:cs typeface="Calibri"/>
              </a:rPr>
              <a:t>uusi</a:t>
            </a:r>
            <a:r>
              <a:rPr lang="en-US" sz="2900" dirty="0">
                <a:ea typeface="Calibri"/>
                <a:cs typeface="Calibri"/>
              </a:rPr>
              <a:t> </a:t>
            </a:r>
            <a:r>
              <a:rPr lang="en-US" sz="2900" dirty="0" err="1">
                <a:ea typeface="Calibri"/>
                <a:cs typeface="Calibri"/>
              </a:rPr>
              <a:t>lyhyempi</a:t>
            </a:r>
            <a:r>
              <a:rPr lang="en-US" sz="2900" dirty="0">
                <a:ea typeface="Calibri"/>
                <a:cs typeface="Calibri"/>
              </a:rPr>
              <a:t>  </a:t>
            </a:r>
            <a:r>
              <a:rPr lang="en-US" sz="2900" dirty="0" err="1">
                <a:ea typeface="Calibri"/>
                <a:cs typeface="Calibri"/>
              </a:rPr>
              <a:t>linjaus</a:t>
            </a:r>
            <a:r>
              <a:rPr lang="en-US" sz="2900" dirty="0">
                <a:ea typeface="Calibri"/>
                <a:cs typeface="Calibri"/>
              </a:rPr>
              <a:t> </a:t>
            </a:r>
            <a:r>
              <a:rPr lang="en-US" sz="2900" dirty="0" err="1">
                <a:ea typeface="Calibri"/>
                <a:cs typeface="Calibri"/>
              </a:rPr>
              <a:t>lentoasemalta</a:t>
            </a:r>
            <a:r>
              <a:rPr lang="en-US" sz="2900" dirty="0">
                <a:ea typeface="Calibri"/>
                <a:cs typeface="Calibri"/>
              </a:rPr>
              <a:t> Korson </a:t>
            </a:r>
            <a:r>
              <a:rPr lang="en-US" sz="2900" dirty="0" err="1">
                <a:ea typeface="Calibri"/>
                <a:cs typeface="Calibri"/>
              </a:rPr>
              <a:t>kautta</a:t>
            </a:r>
            <a:r>
              <a:rPr lang="en-US" sz="2900" dirty="0">
                <a:ea typeface="Calibri"/>
                <a:cs typeface="Calibri"/>
              </a:rPr>
              <a:t> </a:t>
            </a:r>
            <a:r>
              <a:rPr lang="en-US" sz="2900" dirty="0" err="1">
                <a:ea typeface="Calibri"/>
                <a:cs typeface="Calibri"/>
              </a:rPr>
              <a:t>kohti</a:t>
            </a:r>
            <a:r>
              <a:rPr lang="en-US" sz="2900" dirty="0">
                <a:ea typeface="Calibri"/>
                <a:cs typeface="Calibri"/>
              </a:rPr>
              <a:t> </a:t>
            </a:r>
            <a:r>
              <a:rPr lang="en-US" sz="2900" dirty="0" err="1">
                <a:ea typeface="Calibri"/>
                <a:cs typeface="Calibri"/>
              </a:rPr>
              <a:t>päärataa</a:t>
            </a:r>
            <a:r>
              <a:rPr lang="en-US" sz="2900" dirty="0">
                <a:ea typeface="Calibri"/>
                <a:cs typeface="Calibri"/>
              </a:rPr>
              <a:t>. </a:t>
            </a:r>
          </a:p>
          <a:p>
            <a:r>
              <a:rPr lang="en-US" sz="2900" dirty="0" err="1">
                <a:ea typeface="Calibri"/>
                <a:cs typeface="Calibri"/>
              </a:rPr>
              <a:t>Myös</a:t>
            </a:r>
            <a:r>
              <a:rPr lang="en-US" sz="2900" dirty="0">
                <a:ea typeface="Calibri"/>
                <a:cs typeface="Calibri"/>
              </a:rPr>
              <a:t> </a:t>
            </a:r>
            <a:r>
              <a:rPr lang="en-US" sz="2900" dirty="0" err="1">
                <a:ea typeface="Calibri"/>
                <a:cs typeface="Calibri"/>
              </a:rPr>
              <a:t>Itärataa</a:t>
            </a:r>
            <a:r>
              <a:rPr lang="en-US" sz="2900" dirty="0">
                <a:ea typeface="Calibri"/>
                <a:cs typeface="Calibri"/>
              </a:rPr>
              <a:t> </a:t>
            </a:r>
            <a:r>
              <a:rPr lang="en-US" sz="2900" dirty="0" err="1">
                <a:ea typeface="Calibri"/>
                <a:cs typeface="Calibri"/>
              </a:rPr>
              <a:t>suunnittellaan</a:t>
            </a:r>
            <a:r>
              <a:rPr lang="en-US" sz="2900" dirty="0">
                <a:ea typeface="Calibri"/>
                <a:cs typeface="Calibri"/>
              </a:rPr>
              <a:t> </a:t>
            </a:r>
            <a:r>
              <a:rPr lang="en-US" sz="2900" dirty="0" err="1">
                <a:ea typeface="Calibri"/>
                <a:cs typeface="Calibri"/>
              </a:rPr>
              <a:t>uuden</a:t>
            </a:r>
            <a:r>
              <a:rPr lang="en-US" sz="2900" dirty="0">
                <a:ea typeface="Calibri"/>
                <a:cs typeface="Calibri"/>
              </a:rPr>
              <a:t>, </a:t>
            </a:r>
            <a:r>
              <a:rPr lang="en-US" sz="2900" dirty="0" err="1">
                <a:ea typeface="Calibri"/>
                <a:cs typeface="Calibri"/>
              </a:rPr>
              <a:t>eteläisemmän</a:t>
            </a:r>
            <a:r>
              <a:rPr lang="en-US" sz="2900" dirty="0">
                <a:ea typeface="Calibri"/>
                <a:cs typeface="Calibri"/>
              </a:rPr>
              <a:t> </a:t>
            </a:r>
            <a:r>
              <a:rPr lang="en-US" sz="2900" dirty="0" err="1">
                <a:ea typeface="Calibri"/>
                <a:cs typeface="Calibri"/>
              </a:rPr>
              <a:t>linjauksen</a:t>
            </a:r>
            <a:r>
              <a:rPr lang="en-US" sz="2900" dirty="0">
                <a:ea typeface="Calibri"/>
                <a:cs typeface="Calibri"/>
              </a:rPr>
              <a:t> </a:t>
            </a:r>
            <a:r>
              <a:rPr lang="en-US" sz="2900" dirty="0" err="1">
                <a:ea typeface="Calibri"/>
                <a:cs typeface="Calibri"/>
              </a:rPr>
              <a:t>pohjalta</a:t>
            </a:r>
            <a:r>
              <a:rPr lang="en-US" sz="2900" dirty="0">
                <a:ea typeface="Calibri"/>
                <a:cs typeface="Calibri"/>
              </a:rPr>
              <a:t>.</a:t>
            </a:r>
          </a:p>
          <a:p>
            <a:r>
              <a:rPr lang="en-US" sz="2900" dirty="0" err="1">
                <a:ea typeface="Calibri"/>
                <a:cs typeface="Calibri"/>
              </a:rPr>
              <a:t>Uusia</a:t>
            </a:r>
            <a:r>
              <a:rPr lang="en-US" sz="2900" dirty="0">
                <a:ea typeface="Calibri"/>
                <a:cs typeface="Calibri"/>
              </a:rPr>
              <a:t> </a:t>
            </a:r>
            <a:r>
              <a:rPr lang="en-US" sz="2900" dirty="0" err="1">
                <a:ea typeface="Calibri"/>
                <a:cs typeface="Calibri"/>
              </a:rPr>
              <a:t>linjauksia</a:t>
            </a:r>
            <a:r>
              <a:rPr lang="en-US" sz="2900" dirty="0">
                <a:ea typeface="Calibri"/>
                <a:cs typeface="Calibri"/>
              </a:rPr>
              <a:t> </a:t>
            </a:r>
            <a:r>
              <a:rPr lang="en-US" sz="2900" dirty="0" err="1">
                <a:ea typeface="Calibri"/>
                <a:cs typeface="Calibri"/>
              </a:rPr>
              <a:t>ei</a:t>
            </a:r>
            <a:r>
              <a:rPr lang="en-US" sz="2900" dirty="0">
                <a:ea typeface="Calibri"/>
                <a:cs typeface="Calibri"/>
              </a:rPr>
              <a:t> ole </a:t>
            </a:r>
            <a:r>
              <a:rPr lang="en-US" sz="2900" dirty="0" err="1">
                <a:ea typeface="Calibri"/>
                <a:cs typeface="Calibri"/>
              </a:rPr>
              <a:t>yleiskaavassa</a:t>
            </a:r>
            <a:r>
              <a:rPr lang="en-US" sz="2900" dirty="0">
                <a:ea typeface="Calibri"/>
                <a:cs typeface="Calibri"/>
              </a:rPr>
              <a:t>. </a:t>
            </a:r>
            <a:r>
              <a:rPr lang="en-US" sz="2900" dirty="0" err="1">
                <a:ea typeface="Calibri"/>
                <a:cs typeface="Calibri"/>
              </a:rPr>
              <a:t>Linjaukset</a:t>
            </a:r>
            <a:r>
              <a:rPr lang="en-US" sz="2900" dirty="0">
                <a:ea typeface="Calibri"/>
                <a:cs typeface="Calibri"/>
              </a:rPr>
              <a:t> </a:t>
            </a:r>
            <a:r>
              <a:rPr lang="en-US" sz="2900" dirty="0" err="1">
                <a:ea typeface="Calibri"/>
                <a:cs typeface="Calibri"/>
              </a:rPr>
              <a:t>kulkisivat</a:t>
            </a:r>
            <a:r>
              <a:rPr lang="en-US" sz="2900" dirty="0">
                <a:ea typeface="Calibri"/>
                <a:cs typeface="Calibri"/>
              </a:rPr>
              <a:t> </a:t>
            </a:r>
            <a:r>
              <a:rPr lang="en-US" sz="2900" dirty="0" err="1">
                <a:ea typeface="Calibri"/>
                <a:cs typeface="Calibri"/>
              </a:rPr>
              <a:t>tunnelissa</a:t>
            </a:r>
            <a:r>
              <a:rPr lang="en-US" sz="2900" dirty="0">
                <a:ea typeface="Calibri"/>
                <a:cs typeface="Calibri"/>
              </a:rPr>
              <a:t> Korson </a:t>
            </a:r>
            <a:r>
              <a:rPr lang="en-US" sz="2900" dirty="0" err="1">
                <a:ea typeface="Calibri"/>
                <a:cs typeface="Calibri"/>
              </a:rPr>
              <a:t>alueella</a:t>
            </a:r>
            <a:r>
              <a:rPr lang="en-US" sz="2900" dirty="0">
                <a:ea typeface="Calibri"/>
                <a:cs typeface="Calibri"/>
              </a:rPr>
              <a:t>. </a:t>
            </a:r>
          </a:p>
          <a:p>
            <a:r>
              <a:rPr lang="en-US" sz="2900" dirty="0" err="1">
                <a:ea typeface="Calibri"/>
                <a:cs typeface="Calibri"/>
              </a:rPr>
              <a:t>Raidehankkeiden</a:t>
            </a:r>
            <a:r>
              <a:rPr lang="en-US" sz="2900" dirty="0">
                <a:ea typeface="Calibri"/>
                <a:cs typeface="Calibri"/>
              </a:rPr>
              <a:t> </a:t>
            </a:r>
            <a:r>
              <a:rPr lang="en-US" sz="2900" dirty="0" err="1">
                <a:ea typeface="Calibri"/>
                <a:cs typeface="Calibri"/>
              </a:rPr>
              <a:t>yleis</a:t>
            </a:r>
            <a:r>
              <a:rPr lang="en-US" sz="2900" dirty="0">
                <a:ea typeface="Calibri"/>
                <a:cs typeface="Calibri"/>
              </a:rPr>
              <a:t>- ja </a:t>
            </a:r>
            <a:r>
              <a:rPr lang="en-US" sz="2900" dirty="0" err="1">
                <a:ea typeface="Calibri"/>
                <a:cs typeface="Calibri"/>
              </a:rPr>
              <a:t>ratasuunnitelman</a:t>
            </a:r>
            <a:r>
              <a:rPr lang="en-US" sz="2900" dirty="0">
                <a:ea typeface="Calibri"/>
                <a:cs typeface="Calibri"/>
              </a:rPr>
              <a:t> </a:t>
            </a:r>
            <a:r>
              <a:rPr lang="en-US" sz="2900" dirty="0" err="1">
                <a:ea typeface="Calibri"/>
                <a:cs typeface="Calibri"/>
              </a:rPr>
              <a:t>tulee</a:t>
            </a:r>
            <a:r>
              <a:rPr lang="en-US" sz="2900" dirty="0">
                <a:ea typeface="Calibri"/>
                <a:cs typeface="Calibri"/>
              </a:rPr>
              <a:t> </a:t>
            </a:r>
            <a:r>
              <a:rPr lang="en-US" sz="2900" dirty="0" err="1">
                <a:ea typeface="Calibri"/>
                <a:cs typeface="Calibri"/>
              </a:rPr>
              <a:t>perustua</a:t>
            </a:r>
            <a:r>
              <a:rPr lang="en-US" sz="2900" dirty="0">
                <a:ea typeface="Calibri"/>
                <a:cs typeface="Calibri"/>
              </a:rPr>
              <a:t> </a:t>
            </a:r>
            <a:r>
              <a:rPr lang="en-US" sz="2900" dirty="0" err="1">
                <a:ea typeface="Calibri"/>
                <a:cs typeface="Calibri"/>
              </a:rPr>
              <a:t>oikeusvaikutteiseen</a:t>
            </a:r>
            <a:r>
              <a:rPr lang="en-US" sz="2900" dirty="0">
                <a:ea typeface="Calibri"/>
                <a:cs typeface="Calibri"/>
              </a:rPr>
              <a:t> </a:t>
            </a:r>
            <a:r>
              <a:rPr lang="en-US" sz="2900" dirty="0" err="1">
                <a:ea typeface="Calibri"/>
                <a:cs typeface="Calibri"/>
              </a:rPr>
              <a:t>kaavaan</a:t>
            </a:r>
            <a:r>
              <a:rPr lang="en-US" sz="2900" dirty="0">
                <a:ea typeface="Calibri"/>
                <a:cs typeface="Calibri"/>
              </a:rPr>
              <a:t>.</a:t>
            </a:r>
          </a:p>
          <a:p>
            <a:r>
              <a:rPr lang="fi-FI" sz="2900" dirty="0">
                <a:ea typeface="Calibri"/>
                <a:cs typeface="Calibri"/>
              </a:rPr>
              <a:t>Osallistumis- ja arviointisuunnitelma julkaistaan huhtikuussa ja valmisteluaineisto (kaavaluonnos) asetetaan nähtäville kevään-kesän 2026 aikana.  </a:t>
            </a:r>
          </a:p>
          <a:p>
            <a:r>
              <a:rPr lang="fi-FI" sz="2900" dirty="0">
                <a:ea typeface="Calibri"/>
                <a:cs typeface="Calibri"/>
              </a:rPr>
              <a:t>Tarkoituksena on asettaa kaavaehdotus nähtäville ja hyväksyä kaava vuoden 2027 aikana.</a:t>
            </a:r>
            <a:endParaRPr lang="en-US" sz="2900" dirty="0">
              <a:ea typeface="Calibri"/>
              <a:cs typeface="Calibri"/>
            </a:endParaRPr>
          </a:p>
        </p:txBody>
      </p:sp>
      <p:sp>
        <p:nvSpPr>
          <p:cNvPr id="6" name="Tekstiruutu 5">
            <a:extLst>
              <a:ext uri="{FF2B5EF4-FFF2-40B4-BE49-F238E27FC236}">
                <a16:creationId xmlns:a16="http://schemas.microsoft.com/office/drawing/2014/main" id="{5742B3A3-8C21-D336-2C08-C016DF14CDE4}"/>
              </a:ext>
            </a:extLst>
          </p:cNvPr>
          <p:cNvSpPr txBox="1"/>
          <p:nvPr/>
        </p:nvSpPr>
        <p:spPr>
          <a:xfrm>
            <a:off x="951963" y="5266179"/>
            <a:ext cx="5198325" cy="307777"/>
          </a:xfrm>
          <a:prstGeom prst="rect">
            <a:avLst/>
          </a:prstGeom>
          <a:noFill/>
        </p:spPr>
        <p:txBody>
          <a:bodyPr wrap="square" rtlCol="0">
            <a:spAutoFit/>
          </a:bodyPr>
          <a:lstStyle/>
          <a:p>
            <a:r>
              <a:rPr lang="fi-FI" sz="1400" dirty="0"/>
              <a:t>Suunnittelualueen rajaus ja ratahankkeiden linjaukset</a:t>
            </a:r>
          </a:p>
        </p:txBody>
      </p:sp>
      <p:pic>
        <p:nvPicPr>
          <p:cNvPr id="7" name="Kuva 6">
            <a:extLst>
              <a:ext uri="{FF2B5EF4-FFF2-40B4-BE49-F238E27FC236}">
                <a16:creationId xmlns:a16="http://schemas.microsoft.com/office/drawing/2014/main" id="{AC23EB32-BBC0-F0BD-2AD7-FB5BFAA18FD9}"/>
              </a:ext>
            </a:extLst>
          </p:cNvPr>
          <p:cNvPicPr>
            <a:picLocks noChangeAspect="1"/>
          </p:cNvPicPr>
          <p:nvPr/>
        </p:nvPicPr>
        <p:blipFill>
          <a:blip r:embed="rId3" cstate="screen">
            <a:extLst>
              <a:ext uri="{28A0092B-C50C-407E-A947-70E740481C1C}">
                <a14:useLocalDpi xmlns:a14="http://schemas.microsoft.com/office/drawing/2010/main" val="0"/>
              </a:ext>
            </a:extLst>
          </a:blip>
          <a:srcRect t="9853"/>
          <a:stretch>
            <a:fillRect/>
          </a:stretch>
        </p:blipFill>
        <p:spPr>
          <a:xfrm>
            <a:off x="345809" y="1756061"/>
            <a:ext cx="5505524" cy="3510118"/>
          </a:xfrm>
          <a:prstGeom prst="rect">
            <a:avLst/>
          </a:prstGeom>
        </p:spPr>
      </p:pic>
    </p:spTree>
    <p:extLst>
      <p:ext uri="{BB962C8B-B14F-4D97-AF65-F5344CB8AC3E}">
        <p14:creationId xmlns:p14="http://schemas.microsoft.com/office/powerpoint/2010/main" val="9346487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B248D-A79C-0921-EE87-BC4FB4D380E5}"/>
            </a:ext>
          </a:extLst>
        </p:cNvPr>
        <p:cNvGrpSpPr/>
        <p:nvPr/>
      </p:nvGrpSpPr>
      <p:grpSpPr>
        <a:xfrm>
          <a:off x="0" y="0"/>
          <a:ext cx="0" cy="0"/>
          <a:chOff x="0" y="0"/>
          <a:chExt cx="0" cy="0"/>
        </a:xfrm>
      </p:grpSpPr>
      <p:sp>
        <p:nvSpPr>
          <p:cNvPr id="3" name="Otsikko 2">
            <a:extLst>
              <a:ext uri="{FF2B5EF4-FFF2-40B4-BE49-F238E27FC236}">
                <a16:creationId xmlns:a16="http://schemas.microsoft.com/office/drawing/2014/main" id="{D15A56E2-7B64-2DFE-1FAF-211F74147B53}"/>
              </a:ext>
            </a:extLst>
          </p:cNvPr>
          <p:cNvSpPr>
            <a:spLocks noGrp="1"/>
          </p:cNvSpPr>
          <p:nvPr>
            <p:ph type="title"/>
          </p:nvPr>
        </p:nvSpPr>
        <p:spPr/>
        <p:txBody>
          <a:bodyPr/>
          <a:lstStyle/>
          <a:p>
            <a:r>
              <a:rPr lang="fi-FI"/>
              <a:t>Runkomelu ja tärinä ilmiönä</a:t>
            </a:r>
          </a:p>
        </p:txBody>
      </p:sp>
      <p:sp>
        <p:nvSpPr>
          <p:cNvPr id="5" name="Tekstin paikkamerkki 4">
            <a:extLst>
              <a:ext uri="{FF2B5EF4-FFF2-40B4-BE49-F238E27FC236}">
                <a16:creationId xmlns:a16="http://schemas.microsoft.com/office/drawing/2014/main" id="{36E328E6-425A-87AC-5B62-BCBD63B2A70E}"/>
              </a:ext>
            </a:extLst>
          </p:cNvPr>
          <p:cNvSpPr>
            <a:spLocks noGrp="1"/>
          </p:cNvSpPr>
          <p:nvPr>
            <p:ph type="body" sz="quarter" idx="10"/>
          </p:nvPr>
        </p:nvSpPr>
        <p:spPr>
          <a:xfrm>
            <a:off x="388172" y="1246730"/>
            <a:ext cx="11232000" cy="4534232"/>
          </a:xfrm>
        </p:spPr>
        <p:txBody>
          <a:bodyPr vert="horz" lIns="0" tIns="45720" rIns="91440" bIns="45720" rtlCol="0" anchor="t">
            <a:noAutofit/>
          </a:bodyPr>
          <a:lstStyle/>
          <a:p>
            <a:pPr marL="0" indent="0">
              <a:buNone/>
            </a:pPr>
            <a:r>
              <a:rPr lang="fi-FI" sz="1800" b="1">
                <a:cs typeface="Calibri"/>
              </a:rPr>
              <a:t>Värähtely</a:t>
            </a:r>
          </a:p>
          <a:p>
            <a:pPr marL="285750" indent="-285750">
              <a:buFont typeface="Calibri" pitchFamily="2" charset="2"/>
              <a:buChar char="-"/>
            </a:pPr>
            <a:r>
              <a:rPr lang="fi-FI" sz="1800">
                <a:cs typeface="Calibri"/>
              </a:rPr>
              <a:t>Fysiikan ilmiö, jaksollista vaihtelua</a:t>
            </a:r>
          </a:p>
          <a:p>
            <a:pPr marL="0" indent="0">
              <a:buNone/>
            </a:pPr>
            <a:endParaRPr lang="fi-FI" sz="1800">
              <a:cs typeface="Calibri"/>
            </a:endParaRPr>
          </a:p>
          <a:p>
            <a:pPr marL="0" indent="0">
              <a:buNone/>
            </a:pPr>
            <a:r>
              <a:rPr lang="fi-FI" sz="1800" b="1">
                <a:cs typeface="Calibri"/>
              </a:rPr>
              <a:t>Ihmisen havainnot värähtelystä rakennuksessa</a:t>
            </a:r>
          </a:p>
          <a:p>
            <a:pPr marL="285750" indent="-285750">
              <a:buFont typeface="Calibri" pitchFamily="2" charset="2"/>
              <a:buChar char="-"/>
            </a:pPr>
            <a:r>
              <a:rPr lang="fi-FI" sz="1800" b="1">
                <a:cs typeface="Calibri"/>
              </a:rPr>
              <a:t>Tärinä</a:t>
            </a:r>
            <a:br>
              <a:rPr lang="fi-FI" sz="1800">
                <a:cs typeface="Calibri"/>
              </a:rPr>
            </a:br>
            <a:r>
              <a:rPr lang="fi-FI" sz="1800">
                <a:cs typeface="Calibri"/>
              </a:rPr>
              <a:t>Värähtely havaitaan tunto- tai muilla aisteilla </a:t>
            </a:r>
          </a:p>
          <a:p>
            <a:pPr marL="285750" indent="-285750">
              <a:buFont typeface="Calibri" pitchFamily="2" charset="2"/>
              <a:buChar char="-"/>
            </a:pPr>
            <a:r>
              <a:rPr lang="fi-FI" sz="1800" b="1">
                <a:cs typeface="Calibri"/>
              </a:rPr>
              <a:t>Runkomelu</a:t>
            </a:r>
            <a:endParaRPr lang="en-US" sz="1800">
              <a:cs typeface="Arial"/>
            </a:endParaRPr>
          </a:p>
          <a:p>
            <a:pPr marL="0" indent="0">
              <a:buNone/>
            </a:pPr>
            <a:r>
              <a:rPr lang="fi-FI" sz="1800">
                <a:cs typeface="Arial"/>
              </a:rPr>
              <a:t>  </a:t>
            </a:r>
            <a:r>
              <a:rPr lang="fi-FI" sz="1800">
                <a:cs typeface="Calibri"/>
              </a:rPr>
              <a:t>Värähtely havaitaan kuuloaistimuksena</a:t>
            </a:r>
            <a:endParaRPr lang="en-US" sz="1800">
              <a:cs typeface="Calibri"/>
            </a:endParaRPr>
          </a:p>
          <a:p>
            <a:pPr marL="0" indent="0">
              <a:buNone/>
            </a:pPr>
            <a:endParaRPr lang="fi-FI" sz="1800" b="1">
              <a:cs typeface="Calibri"/>
            </a:endParaRPr>
          </a:p>
        </p:txBody>
      </p:sp>
      <p:pic>
        <p:nvPicPr>
          <p:cNvPr id="2" name="Picture 1">
            <a:extLst>
              <a:ext uri="{FF2B5EF4-FFF2-40B4-BE49-F238E27FC236}">
                <a16:creationId xmlns:a16="http://schemas.microsoft.com/office/drawing/2014/main" id="{7577F32A-5459-5D87-7E97-9AB220EBB7E8}"/>
              </a:ext>
            </a:extLst>
          </p:cNvPr>
          <p:cNvPicPr>
            <a:picLocks noChangeAspect="1"/>
          </p:cNvPicPr>
          <p:nvPr/>
        </p:nvPicPr>
        <p:blipFill>
          <a:blip r:embed="rId2"/>
          <a:stretch>
            <a:fillRect/>
          </a:stretch>
        </p:blipFill>
        <p:spPr>
          <a:xfrm>
            <a:off x="5702301" y="1246188"/>
            <a:ext cx="6010275" cy="3436938"/>
          </a:xfrm>
          <a:prstGeom prst="rect">
            <a:avLst/>
          </a:prstGeom>
        </p:spPr>
      </p:pic>
    </p:spTree>
    <p:extLst>
      <p:ext uri="{BB962C8B-B14F-4D97-AF65-F5344CB8AC3E}">
        <p14:creationId xmlns:p14="http://schemas.microsoft.com/office/powerpoint/2010/main" val="4056651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81F39-1E00-A409-10A0-EB081020944E}"/>
            </a:ext>
          </a:extLst>
        </p:cNvPr>
        <p:cNvGrpSpPr/>
        <p:nvPr/>
      </p:nvGrpSpPr>
      <p:grpSpPr>
        <a:xfrm>
          <a:off x="0" y="0"/>
          <a:ext cx="0" cy="0"/>
          <a:chOff x="0" y="0"/>
          <a:chExt cx="0" cy="0"/>
        </a:xfrm>
      </p:grpSpPr>
      <p:sp>
        <p:nvSpPr>
          <p:cNvPr id="3" name="Otsikko 2">
            <a:extLst>
              <a:ext uri="{FF2B5EF4-FFF2-40B4-BE49-F238E27FC236}">
                <a16:creationId xmlns:a16="http://schemas.microsoft.com/office/drawing/2014/main" id="{CD5E1C91-09F9-9A36-C5FF-275842944E18}"/>
              </a:ext>
            </a:extLst>
          </p:cNvPr>
          <p:cNvSpPr>
            <a:spLocks noGrp="1"/>
          </p:cNvSpPr>
          <p:nvPr>
            <p:ph type="title"/>
          </p:nvPr>
        </p:nvSpPr>
        <p:spPr/>
        <p:txBody>
          <a:bodyPr/>
          <a:lstStyle/>
          <a:p>
            <a:r>
              <a:rPr lang="fi-FI"/>
              <a:t>Runkomelu, ohjearvot ja äänenpainetasot </a:t>
            </a:r>
          </a:p>
        </p:txBody>
      </p:sp>
      <p:sp>
        <p:nvSpPr>
          <p:cNvPr id="5" name="Tekstin paikkamerkki 4">
            <a:extLst>
              <a:ext uri="{FF2B5EF4-FFF2-40B4-BE49-F238E27FC236}">
                <a16:creationId xmlns:a16="http://schemas.microsoft.com/office/drawing/2014/main" id="{B63D150E-BDC2-F209-C752-863AABF94D82}"/>
              </a:ext>
            </a:extLst>
          </p:cNvPr>
          <p:cNvSpPr>
            <a:spLocks noGrp="1"/>
          </p:cNvSpPr>
          <p:nvPr>
            <p:ph type="body" sz="quarter" idx="10"/>
          </p:nvPr>
        </p:nvSpPr>
        <p:spPr>
          <a:xfrm>
            <a:off x="388172" y="1246730"/>
            <a:ext cx="11232000" cy="4534232"/>
          </a:xfrm>
        </p:spPr>
        <p:txBody>
          <a:bodyPr/>
          <a:lstStyle/>
          <a:p>
            <a:pPr marL="0" indent="0">
              <a:buNone/>
            </a:pPr>
            <a:r>
              <a:rPr lang="fi-FI" sz="1800"/>
              <a:t>Ohjeistus*: Liikenteen aiheuttamalle runkoäänelle on usein käytäntönä soveltaa VTT:n tiedotteessa </a:t>
            </a:r>
            <a:r>
              <a:rPr lang="fi-FI" sz="1800" i="1">
                <a:hlinkClick r:id="rId2"/>
              </a:rPr>
              <a:t>2468 Maaliikenteen aiheuttaman runkomelun arviointi </a:t>
            </a:r>
            <a:r>
              <a:rPr lang="fi-FI" sz="1800"/>
              <a:t>esitettyjä tavoitetasoja. Tämän lisäksi uuden asuinrakentamisen osalta sovelletaan </a:t>
            </a:r>
            <a:r>
              <a:rPr lang="fi-FI" sz="1800" i="1">
                <a:hlinkClick r:id="rId3"/>
              </a:rPr>
              <a:t>ympäristöministeriön ohjeessa rakennuksen ääniympäristöstä </a:t>
            </a:r>
            <a:r>
              <a:rPr lang="fi-FI" sz="1800"/>
              <a:t>esitettyjä ohjearvoja. Edellä mainittujen ohjeiden mukaan maaperäisen runkoäänen tunnusluvuksi esitetään </a:t>
            </a:r>
            <a:r>
              <a:rPr lang="fi-FI" sz="1800" err="1"/>
              <a:t>Lprm</a:t>
            </a:r>
            <a:r>
              <a:rPr lang="fi-FI" sz="1800"/>
              <a:t> 30 dB ja avoradoilla 35 dB. </a:t>
            </a:r>
          </a:p>
          <a:p>
            <a:endParaRPr lang="fi-FI"/>
          </a:p>
        </p:txBody>
      </p:sp>
      <p:pic>
        <p:nvPicPr>
          <p:cNvPr id="6" name="Kuva 5">
            <a:extLst>
              <a:ext uri="{FF2B5EF4-FFF2-40B4-BE49-F238E27FC236}">
                <a16:creationId xmlns:a16="http://schemas.microsoft.com/office/drawing/2014/main" id="{2F27B6F5-FA5D-E0CE-F6E0-3806177126F0}"/>
              </a:ext>
            </a:extLst>
          </p:cNvPr>
          <p:cNvPicPr>
            <a:picLocks noChangeAspect="1"/>
          </p:cNvPicPr>
          <p:nvPr/>
        </p:nvPicPr>
        <p:blipFill>
          <a:blip r:embed="rId4"/>
          <a:stretch>
            <a:fillRect/>
          </a:stretch>
        </p:blipFill>
        <p:spPr>
          <a:xfrm>
            <a:off x="237313" y="3161511"/>
            <a:ext cx="4117153" cy="2335610"/>
          </a:xfrm>
          <a:prstGeom prst="rect">
            <a:avLst/>
          </a:prstGeom>
        </p:spPr>
      </p:pic>
      <p:pic>
        <p:nvPicPr>
          <p:cNvPr id="7" name="Kuva 6" descr="Kuva, joka sisältää kohteen teksti, kuvakaappaus, Fontti, numero&#10;&#10;Tekoälyllä luotu sisältö saattaa olla virheellistä.">
            <a:extLst>
              <a:ext uri="{FF2B5EF4-FFF2-40B4-BE49-F238E27FC236}">
                <a16:creationId xmlns:a16="http://schemas.microsoft.com/office/drawing/2014/main" id="{8D40B524-F918-9D57-443F-49E54B375E8E}"/>
              </a:ext>
            </a:extLst>
          </p:cNvPr>
          <p:cNvPicPr>
            <a:picLocks noChangeAspect="1"/>
          </p:cNvPicPr>
          <p:nvPr/>
        </p:nvPicPr>
        <p:blipFill>
          <a:blip r:embed="rId5"/>
          <a:stretch>
            <a:fillRect/>
          </a:stretch>
        </p:blipFill>
        <p:spPr>
          <a:xfrm>
            <a:off x="4505325" y="3185294"/>
            <a:ext cx="4962642" cy="1940633"/>
          </a:xfrm>
          <a:prstGeom prst="rect">
            <a:avLst/>
          </a:prstGeom>
          <a:noFill/>
        </p:spPr>
      </p:pic>
      <p:sp>
        <p:nvSpPr>
          <p:cNvPr id="8" name="Tekstiruutu 7">
            <a:extLst>
              <a:ext uri="{FF2B5EF4-FFF2-40B4-BE49-F238E27FC236}">
                <a16:creationId xmlns:a16="http://schemas.microsoft.com/office/drawing/2014/main" id="{09D3150D-27C7-37F2-00F9-671659B17C46}"/>
              </a:ext>
            </a:extLst>
          </p:cNvPr>
          <p:cNvSpPr txBox="1"/>
          <p:nvPr/>
        </p:nvSpPr>
        <p:spPr>
          <a:xfrm>
            <a:off x="571828" y="5125927"/>
            <a:ext cx="2134163"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000000"/>
                </a:solidFill>
                <a:effectLst/>
                <a:uLnTx/>
                <a:uFillTx/>
                <a:latin typeface="Arial"/>
                <a:ea typeface="+mn-ea"/>
                <a:cs typeface="+mn-cs"/>
              </a:rPr>
              <a:t>Suositus runkomelutasojen raja-arvoiksi</a:t>
            </a:r>
          </a:p>
        </p:txBody>
      </p:sp>
      <p:pic>
        <p:nvPicPr>
          <p:cNvPr id="9" name="Kuva 8">
            <a:extLst>
              <a:ext uri="{FF2B5EF4-FFF2-40B4-BE49-F238E27FC236}">
                <a16:creationId xmlns:a16="http://schemas.microsoft.com/office/drawing/2014/main" id="{B6AD6337-919B-6D60-2228-DE67500B38AC}"/>
              </a:ext>
            </a:extLst>
          </p:cNvPr>
          <p:cNvPicPr>
            <a:picLocks noChangeAspect="1"/>
          </p:cNvPicPr>
          <p:nvPr/>
        </p:nvPicPr>
        <p:blipFill>
          <a:blip r:embed="rId6"/>
          <a:stretch>
            <a:fillRect/>
          </a:stretch>
        </p:blipFill>
        <p:spPr>
          <a:xfrm>
            <a:off x="9639890" y="2621658"/>
            <a:ext cx="2342147" cy="3557168"/>
          </a:xfrm>
          <a:prstGeom prst="rect">
            <a:avLst/>
          </a:prstGeom>
        </p:spPr>
      </p:pic>
      <p:sp>
        <p:nvSpPr>
          <p:cNvPr id="11" name="Tekstiruutu 10">
            <a:extLst>
              <a:ext uri="{FF2B5EF4-FFF2-40B4-BE49-F238E27FC236}">
                <a16:creationId xmlns:a16="http://schemas.microsoft.com/office/drawing/2014/main" id="{44EF625D-864B-7C86-3ED9-A21FD1540259}"/>
              </a:ext>
            </a:extLst>
          </p:cNvPr>
          <p:cNvSpPr txBox="1"/>
          <p:nvPr/>
        </p:nvSpPr>
        <p:spPr>
          <a:xfrm>
            <a:off x="-181090" y="6040327"/>
            <a:ext cx="9071112"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429895" marR="0" lvl="2" indent="0" algn="l" defTabSz="914400" rtl="0" eaLnBrk="1" fontAlgn="auto" latinLnBrk="0" hangingPunct="1">
              <a:lnSpc>
                <a:spcPct val="100000"/>
              </a:lnSpc>
              <a:spcBef>
                <a:spcPts val="0"/>
              </a:spcBef>
              <a:spcAft>
                <a:spcPts val="0"/>
              </a:spcAft>
              <a:buClrTx/>
              <a:buSzTx/>
              <a:buFontTx/>
              <a:buNone/>
              <a:tabLst/>
              <a:defRPr/>
            </a:pPr>
            <a:r>
              <a:rPr kumimoji="0" lang="fi-FI" sz="1200" b="0" i="1" u="none" strike="noStrike" kern="1200" cap="none" spc="0" normalizeH="0" baseline="0" noProof="0">
                <a:ln>
                  <a:noFill/>
                </a:ln>
                <a:solidFill>
                  <a:srgbClr val="000000"/>
                </a:solidFill>
                <a:effectLst/>
                <a:uLnTx/>
                <a:uFillTx/>
                <a:latin typeface="Arial"/>
                <a:ea typeface="+mn-ea"/>
                <a:cs typeface="Calibri"/>
              </a:rPr>
              <a:t>*</a:t>
            </a:r>
            <a:r>
              <a:rPr kumimoji="0" lang="fi-FI" sz="1200" b="0" i="1" u="none" strike="noStrike" kern="1200" cap="none" spc="0" normalizeH="0" baseline="0" noProof="0">
                <a:ln>
                  <a:noFill/>
                </a:ln>
                <a:solidFill>
                  <a:srgbClr val="FFFFFF"/>
                </a:solidFill>
                <a:effectLst/>
                <a:uLnTx/>
                <a:uFillTx/>
                <a:latin typeface="Arial"/>
                <a:ea typeface="+mn-ea"/>
                <a:cs typeface="Calibri"/>
              </a:rPr>
              <a:t>*</a:t>
            </a:r>
            <a:r>
              <a:rPr kumimoji="0" lang="fi-FI" sz="1200" b="0" i="1" u="none" strike="noStrike" kern="1200" cap="none" spc="0" normalizeH="0" baseline="0" noProof="0">
                <a:ln>
                  <a:noFill/>
                </a:ln>
                <a:solidFill>
                  <a:srgbClr val="FFFFFF"/>
                </a:solidFill>
                <a:effectLst/>
                <a:uLnTx/>
                <a:uFillTx/>
                <a:latin typeface="Arial"/>
                <a:ea typeface="+mn-ea"/>
                <a:cs typeface="+mn-cs"/>
                <a:hlinkClick r:id="rId7"/>
              </a:rPr>
              <a:t>Ratatekniset ohjeet (RATO) osa 20 Ympäristö ja rautatiealueet</a:t>
            </a:r>
            <a:endParaRPr kumimoji="0" lang="fi-FI" sz="1200" b="0" i="1" u="none" strike="noStrike" kern="1200" cap="none" spc="0" normalizeH="0" baseline="0" noProof="0">
              <a:ln>
                <a:noFill/>
              </a:ln>
              <a:solidFill>
                <a:srgbClr val="FFFFFF"/>
              </a:solidFill>
              <a:effectLst/>
              <a:uLnTx/>
              <a:uFillTx/>
              <a:latin typeface="Arial"/>
              <a:ea typeface="+mn-ea"/>
              <a:cs typeface="Calibri"/>
            </a:endParaRPr>
          </a:p>
        </p:txBody>
      </p:sp>
    </p:spTree>
    <p:extLst>
      <p:ext uri="{BB962C8B-B14F-4D97-AF65-F5344CB8AC3E}">
        <p14:creationId xmlns:p14="http://schemas.microsoft.com/office/powerpoint/2010/main" val="3957935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B5B7C4-3203-A70F-9DFF-6667C486DDD5}"/>
              </a:ext>
            </a:extLst>
          </p:cNvPr>
          <p:cNvSpPr>
            <a:spLocks noGrp="1"/>
          </p:cNvSpPr>
          <p:nvPr>
            <p:ph type="body" sz="quarter" idx="10"/>
          </p:nvPr>
        </p:nvSpPr>
        <p:spPr/>
        <p:txBody>
          <a:bodyPr vert="horz" lIns="0" tIns="45720" rIns="91440" bIns="45720" rtlCol="0" anchor="t">
            <a:noAutofit/>
          </a:bodyPr>
          <a:lstStyle/>
          <a:p>
            <a:pPr marL="271145" indent="-271145"/>
            <a:r>
              <a:rPr lang="fi-FI">
                <a:cs typeface="Calibri"/>
              </a:rPr>
              <a:t>Lentoradan yleissuunnitelman tärinä- ja runkomeluselvitys valmistuu syksyllä 2025</a:t>
            </a:r>
          </a:p>
          <a:p>
            <a:pPr marL="271145" indent="-271145"/>
            <a:r>
              <a:rPr lang="fi-FI">
                <a:cs typeface="Calibri"/>
              </a:rPr>
              <a:t>Selvityksessä päivitettiin ja tarkennettiin esiselvityksessä tehtyä runkomelumallinnusta</a:t>
            </a:r>
          </a:p>
          <a:p>
            <a:pPr marL="271145" indent="-271145"/>
            <a:r>
              <a:rPr lang="fi-FI">
                <a:cs typeface="Calibri"/>
              </a:rPr>
              <a:t>Mallinnuksessa hyödynnettiin muun muassa hanketta varten syksyllä 2024 tehtyjä lähtötietomittauksia</a:t>
            </a:r>
          </a:p>
          <a:p>
            <a:pPr marL="648970" lvl="2" indent="-219075">
              <a:buFont typeface="Wingdings" pitchFamily="2" charset="2"/>
              <a:buChar char="§"/>
            </a:pPr>
            <a:r>
              <a:rPr lang="fi-FI">
                <a:cs typeface="Calibri"/>
              </a:rPr>
              <a:t>Junien aiheuttaman runkomeluherätteen voimakkuus ja taajuussisältö tunneliolosuhteissa</a:t>
            </a:r>
            <a:endParaRPr lang="fi-FI"/>
          </a:p>
          <a:p>
            <a:pPr marL="648970" lvl="2" indent="-219075">
              <a:buFont typeface="Wingdings" pitchFamily="2" charset="2"/>
              <a:buChar char="§"/>
            </a:pPr>
            <a:r>
              <a:rPr lang="fi-FI">
                <a:cs typeface="Calibri"/>
              </a:rPr>
              <a:t>Tunnelivarjostusilmiö Suomen kallioperäolosuhteissa</a:t>
            </a:r>
          </a:p>
          <a:p>
            <a:pPr marL="271145" indent="-271145">
              <a:buFont typeface="Wingdings"/>
              <a:buChar char="§"/>
            </a:pPr>
            <a:r>
              <a:rPr lang="fi-FI">
                <a:cs typeface="Calibri"/>
              </a:rPr>
              <a:t>Mallinnusmenetelmään tehtyjen tarkennusten myötä arvioidut runkomelutasot ovat hieman pienempiä kuin aiemmin arvioitu</a:t>
            </a:r>
            <a:endParaRPr lang="fi-FI"/>
          </a:p>
          <a:p>
            <a:pPr marL="271145" indent="-271145">
              <a:buFont typeface="Wingdings"/>
              <a:buChar char="§"/>
            </a:pPr>
            <a:r>
              <a:rPr lang="fi-FI">
                <a:cs typeface="Calibri"/>
              </a:rPr>
              <a:t>Rakennusten perustamistapojen osalta päädyttiin olettamaan kaikki rakennukset kallionvaraisesti perustetuiksi</a:t>
            </a:r>
            <a:endParaRPr lang="fi-FI"/>
          </a:p>
          <a:p>
            <a:pPr marL="648970" lvl="2" indent="-219075">
              <a:buFont typeface="Wingdings"/>
              <a:buChar char="§"/>
            </a:pPr>
            <a:r>
              <a:rPr lang="fi-FI">
                <a:cs typeface="Calibri"/>
              </a:rPr>
              <a:t>Suurelle osalla pientaloja runkomelutasot näin ollen olisivat mallinnuksessa arvioituja pienempiä</a:t>
            </a:r>
            <a:endParaRPr lang="fi-FI"/>
          </a:p>
          <a:p>
            <a:pPr lvl="1" indent="-219075">
              <a:buFont typeface="Arial" pitchFamily="2" charset="2"/>
              <a:buChar char="•"/>
            </a:pPr>
            <a:endParaRPr lang="fi-FI"/>
          </a:p>
          <a:p>
            <a:pPr lvl="1" indent="-219075">
              <a:buFont typeface="Arial" pitchFamily="2" charset="2"/>
              <a:buChar char="•"/>
            </a:pPr>
            <a:endParaRPr lang="fi-FI"/>
          </a:p>
        </p:txBody>
      </p:sp>
      <p:sp>
        <p:nvSpPr>
          <p:cNvPr id="3" name="Title 2">
            <a:extLst>
              <a:ext uri="{FF2B5EF4-FFF2-40B4-BE49-F238E27FC236}">
                <a16:creationId xmlns:a16="http://schemas.microsoft.com/office/drawing/2014/main" id="{0399537F-DEBA-D3B2-9EA2-8EA81F3DCE36}"/>
              </a:ext>
            </a:extLst>
          </p:cNvPr>
          <p:cNvSpPr>
            <a:spLocks noGrp="1"/>
          </p:cNvSpPr>
          <p:nvPr>
            <p:ph type="title"/>
          </p:nvPr>
        </p:nvSpPr>
        <p:spPr/>
        <p:txBody>
          <a:bodyPr/>
          <a:lstStyle/>
          <a:p>
            <a:r>
              <a:rPr lang="fi-FI" dirty="0"/>
              <a:t>Lentoradan yleissuunnitelman tärinä- ja runkomeluselvitys</a:t>
            </a:r>
          </a:p>
        </p:txBody>
      </p:sp>
    </p:spTree>
    <p:extLst>
      <p:ext uri="{BB962C8B-B14F-4D97-AF65-F5344CB8AC3E}">
        <p14:creationId xmlns:p14="http://schemas.microsoft.com/office/powerpoint/2010/main" val="3209029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5D2EE74-94BB-38D6-A2CE-CA9C5522B267}"/>
              </a:ext>
            </a:extLst>
          </p:cNvPr>
          <p:cNvSpPr>
            <a:spLocks noGrp="1"/>
          </p:cNvSpPr>
          <p:nvPr>
            <p:ph type="title"/>
          </p:nvPr>
        </p:nvSpPr>
        <p:spPr/>
        <p:txBody>
          <a:bodyPr/>
          <a:lstStyle/>
          <a:p>
            <a:r>
              <a:rPr lang="fi-FI">
                <a:latin typeface="Arial Black"/>
              </a:rPr>
              <a:t>Esimerkkikartta</a:t>
            </a:r>
            <a:endParaRPr lang="fi-FI">
              <a:latin typeface="Arial Black" panose="020B0A04020102020204" pitchFamily="34" charset="0"/>
            </a:endParaRPr>
          </a:p>
        </p:txBody>
      </p:sp>
      <p:pic>
        <p:nvPicPr>
          <p:cNvPr id="3" name="Picture 2">
            <a:extLst>
              <a:ext uri="{FF2B5EF4-FFF2-40B4-BE49-F238E27FC236}">
                <a16:creationId xmlns:a16="http://schemas.microsoft.com/office/drawing/2014/main" id="{342D9E57-3C3E-F47D-EDE6-63B160B3A3C3}"/>
              </a:ext>
            </a:extLst>
          </p:cNvPr>
          <p:cNvPicPr>
            <a:picLocks noChangeAspect="1"/>
          </p:cNvPicPr>
          <p:nvPr/>
        </p:nvPicPr>
        <p:blipFill>
          <a:blip r:embed="rId2"/>
          <a:stretch>
            <a:fillRect/>
          </a:stretch>
        </p:blipFill>
        <p:spPr>
          <a:xfrm>
            <a:off x="598676" y="1318846"/>
            <a:ext cx="4730127" cy="4432789"/>
          </a:xfrm>
          <a:prstGeom prst="rect">
            <a:avLst/>
          </a:prstGeom>
        </p:spPr>
      </p:pic>
      <p:pic>
        <p:nvPicPr>
          <p:cNvPr id="4" name="Picture 3">
            <a:extLst>
              <a:ext uri="{FF2B5EF4-FFF2-40B4-BE49-F238E27FC236}">
                <a16:creationId xmlns:a16="http://schemas.microsoft.com/office/drawing/2014/main" id="{D908D361-06B3-EF9D-0D67-28333D9B2D4C}"/>
              </a:ext>
            </a:extLst>
          </p:cNvPr>
          <p:cNvPicPr>
            <a:picLocks noChangeAspect="1"/>
          </p:cNvPicPr>
          <p:nvPr/>
        </p:nvPicPr>
        <p:blipFill>
          <a:blip r:embed="rId3"/>
          <a:stretch>
            <a:fillRect/>
          </a:stretch>
        </p:blipFill>
        <p:spPr>
          <a:xfrm>
            <a:off x="5847859" y="3539747"/>
            <a:ext cx="6347298" cy="2243253"/>
          </a:xfrm>
          <a:prstGeom prst="rect">
            <a:avLst/>
          </a:prstGeom>
        </p:spPr>
      </p:pic>
      <p:sp>
        <p:nvSpPr>
          <p:cNvPr id="9" name="TextBox 8">
            <a:extLst>
              <a:ext uri="{FF2B5EF4-FFF2-40B4-BE49-F238E27FC236}">
                <a16:creationId xmlns:a16="http://schemas.microsoft.com/office/drawing/2014/main" id="{E057D26A-1E78-63CE-97A8-F0DEB50A0ECC}"/>
              </a:ext>
            </a:extLst>
          </p:cNvPr>
          <p:cNvSpPr txBox="1"/>
          <p:nvPr/>
        </p:nvSpPr>
        <p:spPr>
          <a:xfrm>
            <a:off x="5670960" y="1319280"/>
            <a:ext cx="5700345" cy="147732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a:buChar char="§"/>
              <a:tabLst/>
              <a:defRPr/>
            </a:pPr>
            <a:r>
              <a:rPr kumimoji="0" lang="fi-FI" sz="1800" b="0" i="0" u="none" strike="noStrike" kern="1200" cap="none" spc="0" normalizeH="0" baseline="0" noProof="0">
                <a:ln>
                  <a:noFill/>
                </a:ln>
                <a:solidFill>
                  <a:srgbClr val="000000"/>
                </a:solidFill>
                <a:effectLst/>
                <a:uLnTx/>
                <a:uFillTx/>
                <a:latin typeface="Arial"/>
                <a:ea typeface="+mn-ea"/>
                <a:cs typeface="Arial"/>
              </a:rPr>
              <a:t>Kartoilla esitetty rakennusten arvioitu runkomelu ilman radan vaimennustoimenpiteitä</a:t>
            </a:r>
            <a:endParaRPr kumimoji="0" lang="en-US" sz="1800" b="0" i="0" u="none" strike="noStrike" kern="1200" cap="none" spc="0" normalizeH="0" baseline="0" noProof="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a:buChar char="§"/>
              <a:tabLst/>
              <a:defRPr/>
            </a:pPr>
            <a:r>
              <a:rPr kumimoji="0" lang="fi-FI" sz="1800" b="0" i="0" u="none" strike="noStrike" kern="1200" cap="none" spc="0" normalizeH="0" baseline="0" noProof="0">
                <a:ln>
                  <a:noFill/>
                </a:ln>
                <a:solidFill>
                  <a:srgbClr val="000000"/>
                </a:solidFill>
                <a:effectLst/>
                <a:uLnTx/>
                <a:uFillTx/>
                <a:latin typeface="Arial"/>
                <a:ea typeface="+mn-ea"/>
                <a:cs typeface="Arial"/>
              </a:rPr>
              <a:t>Radan päällä esitetty tarvittava runkomeluvaimennus, jolla ohjearvot alittuvat</a:t>
            </a:r>
          </a:p>
          <a:p>
            <a:pPr marL="285750" marR="0" lvl="0" indent="-285750" algn="l" defTabSz="914400" rtl="0" eaLnBrk="1" fontAlgn="auto" latinLnBrk="0" hangingPunct="1">
              <a:lnSpc>
                <a:spcPct val="100000"/>
              </a:lnSpc>
              <a:spcBef>
                <a:spcPts val="0"/>
              </a:spcBef>
              <a:spcAft>
                <a:spcPts val="0"/>
              </a:spcAft>
              <a:buClrTx/>
              <a:buSzTx/>
              <a:buFont typeface="Wingdings"/>
              <a:buChar char="§"/>
              <a:tabLst/>
              <a:defRPr/>
            </a:pPr>
            <a:endParaRPr kumimoji="0" lang="fi-FI" sz="18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47884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65C3727-5E31-9735-086E-517D5F1A14A6}"/>
              </a:ext>
            </a:extLst>
          </p:cNvPr>
          <p:cNvSpPr>
            <a:spLocks noGrp="1"/>
          </p:cNvSpPr>
          <p:nvPr>
            <p:ph type="ctrTitle"/>
          </p:nvPr>
        </p:nvSpPr>
        <p:spPr/>
        <p:txBody>
          <a:bodyPr/>
          <a:lstStyle/>
          <a:p>
            <a:r>
              <a:rPr lang="fi-FI"/>
              <a:t>Kiitos!</a:t>
            </a:r>
          </a:p>
        </p:txBody>
      </p:sp>
    </p:spTree>
    <p:extLst>
      <p:ext uri="{BB962C8B-B14F-4D97-AF65-F5344CB8AC3E}">
        <p14:creationId xmlns:p14="http://schemas.microsoft.com/office/powerpoint/2010/main" val="3584503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66869AD-6C85-17AE-E9DF-999708A192CB}"/>
              </a:ext>
            </a:extLst>
          </p:cNvPr>
          <p:cNvSpPr>
            <a:spLocks noGrp="1"/>
          </p:cNvSpPr>
          <p:nvPr>
            <p:ph type="title"/>
          </p:nvPr>
        </p:nvSpPr>
        <p:spPr>
          <a:xfrm>
            <a:off x="914399" y="635001"/>
            <a:ext cx="7703507" cy="5606773"/>
          </a:xfrm>
        </p:spPr>
        <p:txBody>
          <a:bodyPr/>
          <a:lstStyle/>
          <a:p>
            <a:r>
              <a:rPr lang="fi-FI" dirty="0"/>
              <a:t>Kaavahankkeiden aikataulut</a:t>
            </a:r>
          </a:p>
        </p:txBody>
      </p:sp>
      <p:sp>
        <p:nvSpPr>
          <p:cNvPr id="3" name="Alaotsikko 2">
            <a:extLst>
              <a:ext uri="{FF2B5EF4-FFF2-40B4-BE49-F238E27FC236}">
                <a16:creationId xmlns:a16="http://schemas.microsoft.com/office/drawing/2014/main" id="{663F24BD-6A6D-FB32-8AE2-B2B02661EFB4}"/>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23575936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uora yhdysviiva 2">
            <a:extLst>
              <a:ext uri="{FF2B5EF4-FFF2-40B4-BE49-F238E27FC236}">
                <a16:creationId xmlns:a16="http://schemas.microsoft.com/office/drawing/2014/main" id="{9F67C134-03FC-793D-14D4-6B53408A1888}"/>
              </a:ext>
            </a:extLst>
          </p:cNvPr>
          <p:cNvCxnSpPr/>
          <p:nvPr/>
        </p:nvCxnSpPr>
        <p:spPr>
          <a:xfrm>
            <a:off x="2004458" y="2119353"/>
            <a:ext cx="9022619" cy="0"/>
          </a:xfrm>
          <a:prstGeom prst="line">
            <a:avLst/>
          </a:prstGeom>
        </p:spPr>
        <p:style>
          <a:lnRef idx="2">
            <a:schemeClr val="dk1"/>
          </a:lnRef>
          <a:fillRef idx="0">
            <a:schemeClr val="dk1"/>
          </a:fillRef>
          <a:effectRef idx="1">
            <a:schemeClr val="dk1"/>
          </a:effectRef>
          <a:fontRef idx="minor">
            <a:schemeClr val="tx1"/>
          </a:fontRef>
        </p:style>
      </p:cxnSp>
      <p:cxnSp>
        <p:nvCxnSpPr>
          <p:cNvPr id="5" name="Suora yhdysviiva 4">
            <a:extLst>
              <a:ext uri="{FF2B5EF4-FFF2-40B4-BE49-F238E27FC236}">
                <a16:creationId xmlns:a16="http://schemas.microsoft.com/office/drawing/2014/main" id="{E7E79645-5C29-1220-8F75-A405612D62EF}"/>
              </a:ext>
            </a:extLst>
          </p:cNvPr>
          <p:cNvCxnSpPr/>
          <p:nvPr/>
        </p:nvCxnSpPr>
        <p:spPr>
          <a:xfrm>
            <a:off x="2158206" y="4530778"/>
            <a:ext cx="9022619" cy="0"/>
          </a:xfrm>
          <a:prstGeom prst="line">
            <a:avLst/>
          </a:prstGeom>
        </p:spPr>
        <p:style>
          <a:lnRef idx="2">
            <a:schemeClr val="dk1"/>
          </a:lnRef>
          <a:fillRef idx="0">
            <a:schemeClr val="dk1"/>
          </a:fillRef>
          <a:effectRef idx="1">
            <a:schemeClr val="dk1"/>
          </a:effectRef>
          <a:fontRef idx="minor">
            <a:schemeClr val="tx1"/>
          </a:fontRef>
        </p:style>
      </p:cxnSp>
      <p:sp>
        <p:nvSpPr>
          <p:cNvPr id="7" name="Tekstiruutu 6">
            <a:extLst>
              <a:ext uri="{FF2B5EF4-FFF2-40B4-BE49-F238E27FC236}">
                <a16:creationId xmlns:a16="http://schemas.microsoft.com/office/drawing/2014/main" id="{6D0A7702-4156-A9EB-9F25-323677B2907E}"/>
              </a:ext>
            </a:extLst>
          </p:cNvPr>
          <p:cNvSpPr txBox="1"/>
          <p:nvPr/>
        </p:nvSpPr>
        <p:spPr>
          <a:xfrm>
            <a:off x="426510" y="1918502"/>
            <a:ext cx="1624163" cy="369332"/>
          </a:xfrm>
          <a:prstGeom prst="rect">
            <a:avLst/>
          </a:prstGeom>
          <a:noFill/>
        </p:spPr>
        <p:txBody>
          <a:bodyPr wrap="none" rtlCol="0">
            <a:spAutoFit/>
          </a:bodyPr>
          <a:lstStyle/>
          <a:p>
            <a:r>
              <a:rPr lang="fi-FI" b="1" dirty="0"/>
              <a:t>YLEISKAAVA</a:t>
            </a:r>
          </a:p>
        </p:txBody>
      </p:sp>
      <p:sp>
        <p:nvSpPr>
          <p:cNvPr id="8" name="Tekstiruutu 7">
            <a:extLst>
              <a:ext uri="{FF2B5EF4-FFF2-40B4-BE49-F238E27FC236}">
                <a16:creationId xmlns:a16="http://schemas.microsoft.com/office/drawing/2014/main" id="{88990A7A-50AA-5B22-D824-9639393C66A6}"/>
              </a:ext>
            </a:extLst>
          </p:cNvPr>
          <p:cNvSpPr txBox="1"/>
          <p:nvPr/>
        </p:nvSpPr>
        <p:spPr>
          <a:xfrm>
            <a:off x="403935" y="4346112"/>
            <a:ext cx="1842171" cy="369332"/>
          </a:xfrm>
          <a:prstGeom prst="rect">
            <a:avLst/>
          </a:prstGeom>
          <a:noFill/>
        </p:spPr>
        <p:txBody>
          <a:bodyPr wrap="none" rtlCol="0">
            <a:spAutoFit/>
          </a:bodyPr>
          <a:lstStyle/>
          <a:p>
            <a:r>
              <a:rPr lang="fi-FI" b="1" dirty="0"/>
              <a:t>ASEMAKAAVA</a:t>
            </a:r>
          </a:p>
        </p:txBody>
      </p:sp>
      <p:sp>
        <p:nvSpPr>
          <p:cNvPr id="9" name="Tekstiruutu 8">
            <a:extLst>
              <a:ext uri="{FF2B5EF4-FFF2-40B4-BE49-F238E27FC236}">
                <a16:creationId xmlns:a16="http://schemas.microsoft.com/office/drawing/2014/main" id="{B15630CC-12D4-6F20-99F7-A20B6280CB9C}"/>
              </a:ext>
            </a:extLst>
          </p:cNvPr>
          <p:cNvSpPr txBox="1"/>
          <p:nvPr/>
        </p:nvSpPr>
        <p:spPr>
          <a:xfrm>
            <a:off x="671769" y="2375395"/>
            <a:ext cx="2135521" cy="369332"/>
          </a:xfrm>
          <a:prstGeom prst="rect">
            <a:avLst/>
          </a:prstGeom>
          <a:noFill/>
        </p:spPr>
        <p:txBody>
          <a:bodyPr wrap="none" rtlCol="0">
            <a:spAutoFit/>
          </a:bodyPr>
          <a:lstStyle/>
          <a:p>
            <a:pPr algn="ctr"/>
            <a:r>
              <a:rPr lang="fi-FI" dirty="0"/>
              <a:t>VAIHEYLEISKAAVA</a:t>
            </a:r>
          </a:p>
        </p:txBody>
      </p:sp>
      <p:sp>
        <p:nvSpPr>
          <p:cNvPr id="10" name="Tekstiruutu 9">
            <a:extLst>
              <a:ext uri="{FF2B5EF4-FFF2-40B4-BE49-F238E27FC236}">
                <a16:creationId xmlns:a16="http://schemas.microsoft.com/office/drawing/2014/main" id="{382859F8-00A4-A6E2-23E7-2131292A6855}"/>
              </a:ext>
            </a:extLst>
          </p:cNvPr>
          <p:cNvSpPr txBox="1"/>
          <p:nvPr/>
        </p:nvSpPr>
        <p:spPr>
          <a:xfrm>
            <a:off x="426510" y="4782885"/>
            <a:ext cx="3770584" cy="646331"/>
          </a:xfrm>
          <a:prstGeom prst="rect">
            <a:avLst/>
          </a:prstGeom>
          <a:noFill/>
        </p:spPr>
        <p:txBody>
          <a:bodyPr wrap="none" rtlCol="0">
            <a:spAutoFit/>
          </a:bodyPr>
          <a:lstStyle/>
          <a:p>
            <a:pPr algn="ctr"/>
            <a:r>
              <a:rPr lang="fi-FI" dirty="0"/>
              <a:t>MAANPÄÄLLINEN KAAVAMUUTOS</a:t>
            </a:r>
          </a:p>
          <a:p>
            <a:pPr algn="ctr"/>
            <a:r>
              <a:rPr lang="fi-FI" dirty="0"/>
              <a:t>MAANALAINEN ASEMAKAAVA</a:t>
            </a:r>
          </a:p>
        </p:txBody>
      </p:sp>
      <p:sp>
        <p:nvSpPr>
          <p:cNvPr id="11" name="Tekstiruutu 10">
            <a:extLst>
              <a:ext uri="{FF2B5EF4-FFF2-40B4-BE49-F238E27FC236}">
                <a16:creationId xmlns:a16="http://schemas.microsoft.com/office/drawing/2014/main" id="{1A93A87D-C2E8-375C-229D-6ACFD2C6793D}"/>
              </a:ext>
            </a:extLst>
          </p:cNvPr>
          <p:cNvSpPr txBox="1"/>
          <p:nvPr/>
        </p:nvSpPr>
        <p:spPr>
          <a:xfrm>
            <a:off x="3369435" y="2320205"/>
            <a:ext cx="1261884" cy="369332"/>
          </a:xfrm>
          <a:prstGeom prst="rect">
            <a:avLst/>
          </a:prstGeom>
          <a:noFill/>
        </p:spPr>
        <p:txBody>
          <a:bodyPr wrap="none" rtlCol="0">
            <a:spAutoFit/>
          </a:bodyPr>
          <a:lstStyle/>
          <a:p>
            <a:r>
              <a:rPr lang="fi-FI" dirty="0"/>
              <a:t>LUONNOS</a:t>
            </a:r>
          </a:p>
        </p:txBody>
      </p:sp>
      <p:sp>
        <p:nvSpPr>
          <p:cNvPr id="12" name="Tekstiruutu 11">
            <a:extLst>
              <a:ext uri="{FF2B5EF4-FFF2-40B4-BE49-F238E27FC236}">
                <a16:creationId xmlns:a16="http://schemas.microsoft.com/office/drawing/2014/main" id="{6E80F262-B686-5257-01ED-3B861F17B300}"/>
              </a:ext>
            </a:extLst>
          </p:cNvPr>
          <p:cNvSpPr txBox="1"/>
          <p:nvPr/>
        </p:nvSpPr>
        <p:spPr>
          <a:xfrm>
            <a:off x="5711154" y="2304019"/>
            <a:ext cx="1225015" cy="646331"/>
          </a:xfrm>
          <a:prstGeom prst="rect">
            <a:avLst/>
          </a:prstGeom>
          <a:noFill/>
        </p:spPr>
        <p:txBody>
          <a:bodyPr wrap="none" rtlCol="0">
            <a:spAutoFit/>
          </a:bodyPr>
          <a:lstStyle/>
          <a:p>
            <a:pPr algn="ctr"/>
            <a:r>
              <a:rPr lang="fi-FI" dirty="0"/>
              <a:t>EHDOTUS</a:t>
            </a:r>
          </a:p>
          <a:p>
            <a:pPr algn="ctr"/>
            <a:r>
              <a:rPr lang="fi-FI" dirty="0"/>
              <a:t>KH</a:t>
            </a:r>
          </a:p>
        </p:txBody>
      </p:sp>
      <p:sp>
        <p:nvSpPr>
          <p:cNvPr id="13" name="Tekstiruutu 12">
            <a:extLst>
              <a:ext uri="{FF2B5EF4-FFF2-40B4-BE49-F238E27FC236}">
                <a16:creationId xmlns:a16="http://schemas.microsoft.com/office/drawing/2014/main" id="{564B2E21-B175-05EC-8443-CFD872B16291}"/>
              </a:ext>
            </a:extLst>
          </p:cNvPr>
          <p:cNvSpPr txBox="1"/>
          <p:nvPr/>
        </p:nvSpPr>
        <p:spPr>
          <a:xfrm>
            <a:off x="5711154" y="4765347"/>
            <a:ext cx="1225015" cy="646331"/>
          </a:xfrm>
          <a:prstGeom prst="rect">
            <a:avLst/>
          </a:prstGeom>
          <a:noFill/>
        </p:spPr>
        <p:txBody>
          <a:bodyPr wrap="none" rtlCol="0">
            <a:spAutoFit/>
          </a:bodyPr>
          <a:lstStyle/>
          <a:p>
            <a:pPr algn="ctr"/>
            <a:r>
              <a:rPr lang="fi-FI" dirty="0"/>
              <a:t>EHDOTUS</a:t>
            </a:r>
          </a:p>
          <a:p>
            <a:pPr algn="ctr"/>
            <a:r>
              <a:rPr lang="fi-FI" dirty="0"/>
              <a:t>KH</a:t>
            </a:r>
          </a:p>
        </p:txBody>
      </p:sp>
      <p:sp>
        <p:nvSpPr>
          <p:cNvPr id="14" name="Tekstiruutu 13">
            <a:extLst>
              <a:ext uri="{FF2B5EF4-FFF2-40B4-BE49-F238E27FC236}">
                <a16:creationId xmlns:a16="http://schemas.microsoft.com/office/drawing/2014/main" id="{84D771F1-EBB6-01FC-A947-8BC6665EC778}"/>
              </a:ext>
            </a:extLst>
          </p:cNvPr>
          <p:cNvSpPr txBox="1"/>
          <p:nvPr/>
        </p:nvSpPr>
        <p:spPr>
          <a:xfrm>
            <a:off x="8156158" y="2304019"/>
            <a:ext cx="1225015" cy="646331"/>
          </a:xfrm>
          <a:prstGeom prst="rect">
            <a:avLst/>
          </a:prstGeom>
          <a:noFill/>
        </p:spPr>
        <p:txBody>
          <a:bodyPr wrap="none" rtlCol="0">
            <a:spAutoFit/>
          </a:bodyPr>
          <a:lstStyle/>
          <a:p>
            <a:pPr algn="ctr"/>
            <a:r>
              <a:rPr lang="fi-FI" dirty="0"/>
              <a:t>EHDOTUS</a:t>
            </a:r>
          </a:p>
          <a:p>
            <a:pPr algn="ctr"/>
            <a:r>
              <a:rPr lang="fi-FI" dirty="0"/>
              <a:t>KV</a:t>
            </a:r>
          </a:p>
        </p:txBody>
      </p:sp>
      <p:sp>
        <p:nvSpPr>
          <p:cNvPr id="15" name="Tekstiruutu 14">
            <a:extLst>
              <a:ext uri="{FF2B5EF4-FFF2-40B4-BE49-F238E27FC236}">
                <a16:creationId xmlns:a16="http://schemas.microsoft.com/office/drawing/2014/main" id="{A5722CE4-C8F9-485D-2BC9-545BE42DE47E}"/>
              </a:ext>
            </a:extLst>
          </p:cNvPr>
          <p:cNvSpPr txBox="1"/>
          <p:nvPr/>
        </p:nvSpPr>
        <p:spPr>
          <a:xfrm>
            <a:off x="8156158" y="4765347"/>
            <a:ext cx="1225015" cy="646331"/>
          </a:xfrm>
          <a:prstGeom prst="rect">
            <a:avLst/>
          </a:prstGeom>
          <a:noFill/>
        </p:spPr>
        <p:txBody>
          <a:bodyPr wrap="none" rtlCol="0">
            <a:spAutoFit/>
          </a:bodyPr>
          <a:lstStyle/>
          <a:p>
            <a:pPr algn="ctr"/>
            <a:r>
              <a:rPr lang="fi-FI" dirty="0"/>
              <a:t>EHDOTUS</a:t>
            </a:r>
          </a:p>
          <a:p>
            <a:pPr algn="ctr"/>
            <a:r>
              <a:rPr lang="fi-FI" dirty="0"/>
              <a:t>KV</a:t>
            </a:r>
          </a:p>
        </p:txBody>
      </p:sp>
      <p:sp>
        <p:nvSpPr>
          <p:cNvPr id="17" name="Tekstiruutu 16">
            <a:extLst>
              <a:ext uri="{FF2B5EF4-FFF2-40B4-BE49-F238E27FC236}">
                <a16:creationId xmlns:a16="http://schemas.microsoft.com/office/drawing/2014/main" id="{CCE6CB4B-54DC-C0B9-4BB6-95B7575BE3D9}"/>
              </a:ext>
            </a:extLst>
          </p:cNvPr>
          <p:cNvSpPr txBox="1"/>
          <p:nvPr/>
        </p:nvSpPr>
        <p:spPr>
          <a:xfrm>
            <a:off x="7076323" y="2362961"/>
            <a:ext cx="939681" cy="246221"/>
          </a:xfrm>
          <a:prstGeom prst="rect">
            <a:avLst/>
          </a:prstGeom>
          <a:noFill/>
        </p:spPr>
        <p:txBody>
          <a:bodyPr wrap="none" rtlCol="0">
            <a:spAutoFit/>
          </a:bodyPr>
          <a:lstStyle/>
          <a:p>
            <a:r>
              <a:rPr lang="fi-FI" sz="1000" dirty="0"/>
              <a:t>(Nähtäville)</a:t>
            </a:r>
          </a:p>
        </p:txBody>
      </p:sp>
      <p:sp>
        <p:nvSpPr>
          <p:cNvPr id="18" name="Tekstiruutu 17">
            <a:extLst>
              <a:ext uri="{FF2B5EF4-FFF2-40B4-BE49-F238E27FC236}">
                <a16:creationId xmlns:a16="http://schemas.microsoft.com/office/drawing/2014/main" id="{FD646E53-71D9-63B5-436E-DD98181224A4}"/>
              </a:ext>
            </a:extLst>
          </p:cNvPr>
          <p:cNvSpPr txBox="1"/>
          <p:nvPr/>
        </p:nvSpPr>
        <p:spPr>
          <a:xfrm>
            <a:off x="4771473" y="2504871"/>
            <a:ext cx="939681" cy="246221"/>
          </a:xfrm>
          <a:prstGeom prst="rect">
            <a:avLst/>
          </a:prstGeom>
          <a:noFill/>
        </p:spPr>
        <p:txBody>
          <a:bodyPr wrap="none" rtlCol="0">
            <a:spAutoFit/>
          </a:bodyPr>
          <a:lstStyle/>
          <a:p>
            <a:r>
              <a:rPr lang="fi-FI" sz="1000" dirty="0"/>
              <a:t>(Nähtäville)</a:t>
            </a:r>
          </a:p>
        </p:txBody>
      </p:sp>
      <p:sp>
        <p:nvSpPr>
          <p:cNvPr id="19" name="Tekstiruutu 18">
            <a:extLst>
              <a:ext uri="{FF2B5EF4-FFF2-40B4-BE49-F238E27FC236}">
                <a16:creationId xmlns:a16="http://schemas.microsoft.com/office/drawing/2014/main" id="{5CBD876C-87A6-8C74-C976-ED0182CA7DD0}"/>
              </a:ext>
            </a:extLst>
          </p:cNvPr>
          <p:cNvSpPr txBox="1"/>
          <p:nvPr/>
        </p:nvSpPr>
        <p:spPr>
          <a:xfrm>
            <a:off x="7076323" y="4843137"/>
            <a:ext cx="939681" cy="246221"/>
          </a:xfrm>
          <a:prstGeom prst="rect">
            <a:avLst/>
          </a:prstGeom>
          <a:noFill/>
        </p:spPr>
        <p:txBody>
          <a:bodyPr wrap="none" rtlCol="0">
            <a:spAutoFit/>
          </a:bodyPr>
          <a:lstStyle/>
          <a:p>
            <a:r>
              <a:rPr lang="fi-FI" sz="1000" dirty="0"/>
              <a:t>(Nähtäville)</a:t>
            </a:r>
          </a:p>
        </p:txBody>
      </p:sp>
      <p:sp>
        <p:nvSpPr>
          <p:cNvPr id="22" name="Vapaamuotoinen: Muoto 21">
            <a:extLst>
              <a:ext uri="{FF2B5EF4-FFF2-40B4-BE49-F238E27FC236}">
                <a16:creationId xmlns:a16="http://schemas.microsoft.com/office/drawing/2014/main" id="{355BF196-EC51-026B-C878-34E32A026FDD}"/>
              </a:ext>
            </a:extLst>
          </p:cNvPr>
          <p:cNvSpPr/>
          <p:nvPr/>
        </p:nvSpPr>
        <p:spPr>
          <a:xfrm>
            <a:off x="3952061" y="2038432"/>
            <a:ext cx="0" cy="210393"/>
          </a:xfrm>
          <a:custGeom>
            <a:avLst/>
            <a:gdLst>
              <a:gd name="csX0" fmla="*/ 0 w 0"/>
              <a:gd name="csY0" fmla="*/ 0 h 210393"/>
              <a:gd name="csX1" fmla="*/ 0 w 0"/>
              <a:gd name="csY1" fmla="*/ 210393 h 210393"/>
            </a:gdLst>
            <a:ahLst/>
            <a:cxnLst>
              <a:cxn ang="0">
                <a:pos x="csX0" y="csY0"/>
              </a:cxn>
              <a:cxn ang="0">
                <a:pos x="csX1" y="csY1"/>
              </a:cxn>
            </a:cxnLst>
            <a:rect l="l" t="t" r="r" b="b"/>
            <a:pathLst>
              <a:path h="210393">
                <a:moveTo>
                  <a:pt x="0" y="0"/>
                </a:moveTo>
                <a:lnTo>
                  <a:pt x="0" y="210393"/>
                </a:lnTo>
              </a:path>
            </a:pathLst>
          </a:cu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3" name="Vapaamuotoinen: Muoto 22">
            <a:extLst>
              <a:ext uri="{FF2B5EF4-FFF2-40B4-BE49-F238E27FC236}">
                <a16:creationId xmlns:a16="http://schemas.microsoft.com/office/drawing/2014/main" id="{C1F36191-344C-7E57-7995-CFDF22D872A2}"/>
              </a:ext>
            </a:extLst>
          </p:cNvPr>
          <p:cNvSpPr/>
          <p:nvPr/>
        </p:nvSpPr>
        <p:spPr>
          <a:xfrm>
            <a:off x="6281219" y="2025207"/>
            <a:ext cx="0" cy="210393"/>
          </a:xfrm>
          <a:custGeom>
            <a:avLst/>
            <a:gdLst>
              <a:gd name="csX0" fmla="*/ 0 w 0"/>
              <a:gd name="csY0" fmla="*/ 0 h 210393"/>
              <a:gd name="csX1" fmla="*/ 0 w 0"/>
              <a:gd name="csY1" fmla="*/ 210393 h 210393"/>
            </a:gdLst>
            <a:ahLst/>
            <a:cxnLst>
              <a:cxn ang="0">
                <a:pos x="csX0" y="csY0"/>
              </a:cxn>
              <a:cxn ang="0">
                <a:pos x="csX1" y="csY1"/>
              </a:cxn>
            </a:cxnLst>
            <a:rect l="l" t="t" r="r" b="b"/>
            <a:pathLst>
              <a:path h="210393">
                <a:moveTo>
                  <a:pt x="0" y="0"/>
                </a:moveTo>
                <a:lnTo>
                  <a:pt x="0" y="210393"/>
                </a:lnTo>
              </a:path>
            </a:pathLst>
          </a:cu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4" name="Vapaamuotoinen: Muoto 23">
            <a:extLst>
              <a:ext uri="{FF2B5EF4-FFF2-40B4-BE49-F238E27FC236}">
                <a16:creationId xmlns:a16="http://schemas.microsoft.com/office/drawing/2014/main" id="{7E727119-95BB-8B1B-570F-433C9CAD3ED4}"/>
              </a:ext>
            </a:extLst>
          </p:cNvPr>
          <p:cNvSpPr/>
          <p:nvPr/>
        </p:nvSpPr>
        <p:spPr>
          <a:xfrm>
            <a:off x="8789749" y="2025207"/>
            <a:ext cx="0" cy="210393"/>
          </a:xfrm>
          <a:custGeom>
            <a:avLst/>
            <a:gdLst>
              <a:gd name="csX0" fmla="*/ 0 w 0"/>
              <a:gd name="csY0" fmla="*/ 0 h 210393"/>
              <a:gd name="csX1" fmla="*/ 0 w 0"/>
              <a:gd name="csY1" fmla="*/ 210393 h 210393"/>
            </a:gdLst>
            <a:ahLst/>
            <a:cxnLst>
              <a:cxn ang="0">
                <a:pos x="csX0" y="csY0"/>
              </a:cxn>
              <a:cxn ang="0">
                <a:pos x="csX1" y="csY1"/>
              </a:cxn>
            </a:cxnLst>
            <a:rect l="l" t="t" r="r" b="b"/>
            <a:pathLst>
              <a:path h="210393">
                <a:moveTo>
                  <a:pt x="0" y="0"/>
                </a:moveTo>
                <a:lnTo>
                  <a:pt x="0" y="210393"/>
                </a:lnTo>
              </a:path>
            </a:pathLst>
          </a:cu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5" name="Vapaamuotoinen: Muoto 24">
            <a:extLst>
              <a:ext uri="{FF2B5EF4-FFF2-40B4-BE49-F238E27FC236}">
                <a16:creationId xmlns:a16="http://schemas.microsoft.com/office/drawing/2014/main" id="{5C22C3E0-2227-675A-1971-8B8ED70A2D59}"/>
              </a:ext>
            </a:extLst>
          </p:cNvPr>
          <p:cNvSpPr/>
          <p:nvPr/>
        </p:nvSpPr>
        <p:spPr>
          <a:xfrm>
            <a:off x="6287962" y="4441766"/>
            <a:ext cx="0" cy="210393"/>
          </a:xfrm>
          <a:custGeom>
            <a:avLst/>
            <a:gdLst>
              <a:gd name="csX0" fmla="*/ 0 w 0"/>
              <a:gd name="csY0" fmla="*/ 0 h 210393"/>
              <a:gd name="csX1" fmla="*/ 0 w 0"/>
              <a:gd name="csY1" fmla="*/ 210393 h 210393"/>
            </a:gdLst>
            <a:ahLst/>
            <a:cxnLst>
              <a:cxn ang="0">
                <a:pos x="csX0" y="csY0"/>
              </a:cxn>
              <a:cxn ang="0">
                <a:pos x="csX1" y="csY1"/>
              </a:cxn>
            </a:cxnLst>
            <a:rect l="l" t="t" r="r" b="b"/>
            <a:pathLst>
              <a:path h="210393">
                <a:moveTo>
                  <a:pt x="0" y="0"/>
                </a:moveTo>
                <a:lnTo>
                  <a:pt x="0" y="210393"/>
                </a:lnTo>
              </a:path>
            </a:pathLst>
          </a:cu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6" name="Vapaamuotoinen: Muoto 25">
            <a:extLst>
              <a:ext uri="{FF2B5EF4-FFF2-40B4-BE49-F238E27FC236}">
                <a16:creationId xmlns:a16="http://schemas.microsoft.com/office/drawing/2014/main" id="{52207DA9-E181-A4F0-B264-03657217EED6}"/>
              </a:ext>
            </a:extLst>
          </p:cNvPr>
          <p:cNvSpPr/>
          <p:nvPr/>
        </p:nvSpPr>
        <p:spPr>
          <a:xfrm>
            <a:off x="8804584" y="4441766"/>
            <a:ext cx="0" cy="210393"/>
          </a:xfrm>
          <a:custGeom>
            <a:avLst/>
            <a:gdLst>
              <a:gd name="csX0" fmla="*/ 0 w 0"/>
              <a:gd name="csY0" fmla="*/ 0 h 210393"/>
              <a:gd name="csX1" fmla="*/ 0 w 0"/>
              <a:gd name="csY1" fmla="*/ 210393 h 210393"/>
            </a:gdLst>
            <a:ahLst/>
            <a:cxnLst>
              <a:cxn ang="0">
                <a:pos x="csX0" y="csY0"/>
              </a:cxn>
              <a:cxn ang="0">
                <a:pos x="csX1" y="csY1"/>
              </a:cxn>
            </a:cxnLst>
            <a:rect l="l" t="t" r="r" b="b"/>
            <a:pathLst>
              <a:path h="210393">
                <a:moveTo>
                  <a:pt x="0" y="0"/>
                </a:moveTo>
                <a:lnTo>
                  <a:pt x="0" y="210393"/>
                </a:lnTo>
              </a:path>
            </a:pathLst>
          </a:cu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Tekstiruutu 26">
            <a:extLst>
              <a:ext uri="{FF2B5EF4-FFF2-40B4-BE49-F238E27FC236}">
                <a16:creationId xmlns:a16="http://schemas.microsoft.com/office/drawing/2014/main" id="{5A307016-B45D-0FA2-ACCB-B7D6D76360E3}"/>
              </a:ext>
            </a:extLst>
          </p:cNvPr>
          <p:cNvSpPr txBox="1"/>
          <p:nvPr/>
        </p:nvSpPr>
        <p:spPr>
          <a:xfrm>
            <a:off x="3292491" y="1726074"/>
            <a:ext cx="1338828" cy="369332"/>
          </a:xfrm>
          <a:prstGeom prst="rect">
            <a:avLst/>
          </a:prstGeom>
          <a:noFill/>
        </p:spPr>
        <p:txBody>
          <a:bodyPr wrap="none" rtlCol="0">
            <a:spAutoFit/>
          </a:bodyPr>
          <a:lstStyle/>
          <a:p>
            <a:r>
              <a:rPr lang="fi-FI" dirty="0"/>
              <a:t>2026 kesä</a:t>
            </a:r>
          </a:p>
        </p:txBody>
      </p:sp>
      <p:sp>
        <p:nvSpPr>
          <p:cNvPr id="28" name="Tekstiruutu 27">
            <a:extLst>
              <a:ext uri="{FF2B5EF4-FFF2-40B4-BE49-F238E27FC236}">
                <a16:creationId xmlns:a16="http://schemas.microsoft.com/office/drawing/2014/main" id="{27E50823-46C3-B25E-C2E9-C0A6F0E2EEEE}"/>
              </a:ext>
            </a:extLst>
          </p:cNvPr>
          <p:cNvSpPr txBox="1"/>
          <p:nvPr/>
        </p:nvSpPr>
        <p:spPr>
          <a:xfrm>
            <a:off x="5523603" y="1681602"/>
            <a:ext cx="1412566" cy="369332"/>
          </a:xfrm>
          <a:prstGeom prst="rect">
            <a:avLst/>
          </a:prstGeom>
          <a:noFill/>
        </p:spPr>
        <p:txBody>
          <a:bodyPr wrap="none" rtlCol="0">
            <a:spAutoFit/>
          </a:bodyPr>
          <a:lstStyle/>
          <a:p>
            <a:r>
              <a:rPr lang="fi-FI" dirty="0"/>
              <a:t>2027 kevät</a:t>
            </a:r>
          </a:p>
        </p:txBody>
      </p:sp>
      <p:sp>
        <p:nvSpPr>
          <p:cNvPr id="29" name="Tekstiruutu 28">
            <a:extLst>
              <a:ext uri="{FF2B5EF4-FFF2-40B4-BE49-F238E27FC236}">
                <a16:creationId xmlns:a16="http://schemas.microsoft.com/office/drawing/2014/main" id="{620108FB-B38C-E778-1C64-2143AA89DF60}"/>
              </a:ext>
            </a:extLst>
          </p:cNvPr>
          <p:cNvSpPr txBox="1"/>
          <p:nvPr/>
        </p:nvSpPr>
        <p:spPr>
          <a:xfrm>
            <a:off x="5574936" y="4104852"/>
            <a:ext cx="1412566" cy="369332"/>
          </a:xfrm>
          <a:prstGeom prst="rect">
            <a:avLst/>
          </a:prstGeom>
          <a:noFill/>
        </p:spPr>
        <p:txBody>
          <a:bodyPr wrap="none" rtlCol="0">
            <a:spAutoFit/>
          </a:bodyPr>
          <a:lstStyle/>
          <a:p>
            <a:r>
              <a:rPr lang="fi-FI" dirty="0"/>
              <a:t>2027 kevät</a:t>
            </a:r>
          </a:p>
        </p:txBody>
      </p:sp>
      <p:sp>
        <p:nvSpPr>
          <p:cNvPr id="30" name="Tekstiruutu 29">
            <a:extLst>
              <a:ext uri="{FF2B5EF4-FFF2-40B4-BE49-F238E27FC236}">
                <a16:creationId xmlns:a16="http://schemas.microsoft.com/office/drawing/2014/main" id="{87178F98-1A9A-37C4-92B1-6CA8148B8C9C}"/>
              </a:ext>
            </a:extLst>
          </p:cNvPr>
          <p:cNvSpPr txBox="1"/>
          <p:nvPr/>
        </p:nvSpPr>
        <p:spPr>
          <a:xfrm>
            <a:off x="9388430" y="2327126"/>
            <a:ext cx="1351652" cy="246221"/>
          </a:xfrm>
          <a:prstGeom prst="rect">
            <a:avLst/>
          </a:prstGeom>
          <a:noFill/>
        </p:spPr>
        <p:txBody>
          <a:bodyPr wrap="none" rtlCol="0">
            <a:spAutoFit/>
          </a:bodyPr>
          <a:lstStyle/>
          <a:p>
            <a:r>
              <a:rPr lang="fi-FI" sz="1000" dirty="0"/>
              <a:t>(Valitusaika 30pv)</a:t>
            </a:r>
          </a:p>
        </p:txBody>
      </p:sp>
      <p:sp>
        <p:nvSpPr>
          <p:cNvPr id="31" name="Tekstiruutu 30">
            <a:extLst>
              <a:ext uri="{FF2B5EF4-FFF2-40B4-BE49-F238E27FC236}">
                <a16:creationId xmlns:a16="http://schemas.microsoft.com/office/drawing/2014/main" id="{876CACFA-75BE-5AE2-A34F-77BCA6F06599}"/>
              </a:ext>
            </a:extLst>
          </p:cNvPr>
          <p:cNvSpPr txBox="1"/>
          <p:nvPr/>
        </p:nvSpPr>
        <p:spPr>
          <a:xfrm>
            <a:off x="9381173" y="4842291"/>
            <a:ext cx="1351652" cy="246221"/>
          </a:xfrm>
          <a:prstGeom prst="rect">
            <a:avLst/>
          </a:prstGeom>
          <a:noFill/>
        </p:spPr>
        <p:txBody>
          <a:bodyPr wrap="none" rtlCol="0">
            <a:spAutoFit/>
          </a:bodyPr>
          <a:lstStyle/>
          <a:p>
            <a:r>
              <a:rPr lang="fi-FI" sz="1000" dirty="0"/>
              <a:t>(Valitusaika 30pv)</a:t>
            </a:r>
          </a:p>
        </p:txBody>
      </p:sp>
      <p:sp>
        <p:nvSpPr>
          <p:cNvPr id="32" name="Tekstiruutu 31">
            <a:extLst>
              <a:ext uri="{FF2B5EF4-FFF2-40B4-BE49-F238E27FC236}">
                <a16:creationId xmlns:a16="http://schemas.microsoft.com/office/drawing/2014/main" id="{5F813D53-673E-7B21-CADD-1A8496F1FA7D}"/>
              </a:ext>
            </a:extLst>
          </p:cNvPr>
          <p:cNvSpPr txBox="1"/>
          <p:nvPr/>
        </p:nvSpPr>
        <p:spPr>
          <a:xfrm>
            <a:off x="11209779" y="4780735"/>
            <a:ext cx="575799" cy="307777"/>
          </a:xfrm>
          <a:prstGeom prst="rect">
            <a:avLst/>
          </a:prstGeom>
          <a:noFill/>
        </p:spPr>
        <p:txBody>
          <a:bodyPr wrap="none" rtlCol="0">
            <a:spAutoFit/>
          </a:bodyPr>
          <a:lstStyle/>
          <a:p>
            <a:pPr algn="ctr"/>
            <a:r>
              <a:rPr lang="fi-FI" sz="1400" dirty="0"/>
              <a:t>HHO</a:t>
            </a:r>
          </a:p>
        </p:txBody>
      </p:sp>
      <p:sp>
        <p:nvSpPr>
          <p:cNvPr id="33" name="Tekstiruutu 32">
            <a:extLst>
              <a:ext uri="{FF2B5EF4-FFF2-40B4-BE49-F238E27FC236}">
                <a16:creationId xmlns:a16="http://schemas.microsoft.com/office/drawing/2014/main" id="{0CF8BCB2-2097-1092-E155-91D6366158DA}"/>
              </a:ext>
            </a:extLst>
          </p:cNvPr>
          <p:cNvSpPr txBox="1"/>
          <p:nvPr/>
        </p:nvSpPr>
        <p:spPr>
          <a:xfrm>
            <a:off x="11180825" y="2286385"/>
            <a:ext cx="575799" cy="307777"/>
          </a:xfrm>
          <a:prstGeom prst="rect">
            <a:avLst/>
          </a:prstGeom>
          <a:noFill/>
        </p:spPr>
        <p:txBody>
          <a:bodyPr wrap="none" rtlCol="0">
            <a:spAutoFit/>
          </a:bodyPr>
          <a:lstStyle/>
          <a:p>
            <a:pPr algn="ctr"/>
            <a:r>
              <a:rPr lang="fi-FI" sz="1400" dirty="0"/>
              <a:t>HHO</a:t>
            </a:r>
          </a:p>
        </p:txBody>
      </p:sp>
      <p:sp>
        <p:nvSpPr>
          <p:cNvPr id="34" name="Tekstiruutu 33">
            <a:extLst>
              <a:ext uri="{FF2B5EF4-FFF2-40B4-BE49-F238E27FC236}">
                <a16:creationId xmlns:a16="http://schemas.microsoft.com/office/drawing/2014/main" id="{611195E6-2AC1-246C-D0C0-1C8B670B6A39}"/>
              </a:ext>
            </a:extLst>
          </p:cNvPr>
          <p:cNvSpPr txBox="1"/>
          <p:nvPr/>
        </p:nvSpPr>
        <p:spPr>
          <a:xfrm>
            <a:off x="7968607" y="1655458"/>
            <a:ext cx="1444626" cy="369332"/>
          </a:xfrm>
          <a:prstGeom prst="rect">
            <a:avLst/>
          </a:prstGeom>
          <a:noFill/>
        </p:spPr>
        <p:txBody>
          <a:bodyPr wrap="none" rtlCol="0">
            <a:spAutoFit/>
          </a:bodyPr>
          <a:lstStyle/>
          <a:p>
            <a:r>
              <a:rPr lang="fi-FI" dirty="0"/>
              <a:t>2027 loppu</a:t>
            </a:r>
          </a:p>
        </p:txBody>
      </p:sp>
      <p:sp>
        <p:nvSpPr>
          <p:cNvPr id="35" name="Tekstiruutu 34">
            <a:extLst>
              <a:ext uri="{FF2B5EF4-FFF2-40B4-BE49-F238E27FC236}">
                <a16:creationId xmlns:a16="http://schemas.microsoft.com/office/drawing/2014/main" id="{B9A4D193-6ACF-3D0C-46EA-27E7401CA8B1}"/>
              </a:ext>
            </a:extLst>
          </p:cNvPr>
          <p:cNvSpPr txBox="1"/>
          <p:nvPr/>
        </p:nvSpPr>
        <p:spPr>
          <a:xfrm>
            <a:off x="8082271" y="4101125"/>
            <a:ext cx="1444626" cy="369332"/>
          </a:xfrm>
          <a:prstGeom prst="rect">
            <a:avLst/>
          </a:prstGeom>
          <a:noFill/>
        </p:spPr>
        <p:txBody>
          <a:bodyPr wrap="none" rtlCol="0">
            <a:spAutoFit/>
          </a:bodyPr>
          <a:lstStyle/>
          <a:p>
            <a:r>
              <a:rPr lang="fi-FI" dirty="0"/>
              <a:t>2027 loppu</a:t>
            </a:r>
          </a:p>
        </p:txBody>
      </p:sp>
      <p:cxnSp>
        <p:nvCxnSpPr>
          <p:cNvPr id="39" name="Suora nuoliyhdysviiva 38">
            <a:extLst>
              <a:ext uri="{FF2B5EF4-FFF2-40B4-BE49-F238E27FC236}">
                <a16:creationId xmlns:a16="http://schemas.microsoft.com/office/drawing/2014/main" id="{EE64FE6A-71C2-036A-2E70-890A76C3C8CB}"/>
              </a:ext>
            </a:extLst>
          </p:cNvPr>
          <p:cNvCxnSpPr/>
          <p:nvPr/>
        </p:nvCxnSpPr>
        <p:spPr>
          <a:xfrm>
            <a:off x="10732825" y="2450236"/>
            <a:ext cx="4480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0" name="Suora nuoliyhdysviiva 39">
            <a:extLst>
              <a:ext uri="{FF2B5EF4-FFF2-40B4-BE49-F238E27FC236}">
                <a16:creationId xmlns:a16="http://schemas.microsoft.com/office/drawing/2014/main" id="{E717CBE6-EFB9-5B70-75E1-435AB7819B15}"/>
              </a:ext>
            </a:extLst>
          </p:cNvPr>
          <p:cNvCxnSpPr/>
          <p:nvPr/>
        </p:nvCxnSpPr>
        <p:spPr>
          <a:xfrm>
            <a:off x="10732825" y="4965401"/>
            <a:ext cx="4480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 name="Otsikko 1">
            <a:extLst>
              <a:ext uri="{FF2B5EF4-FFF2-40B4-BE49-F238E27FC236}">
                <a16:creationId xmlns:a16="http://schemas.microsoft.com/office/drawing/2014/main" id="{5F9C4B98-5E95-8113-91C8-AF2ECFBA3676}"/>
              </a:ext>
            </a:extLst>
          </p:cNvPr>
          <p:cNvSpPr>
            <a:spLocks noGrp="1"/>
          </p:cNvSpPr>
          <p:nvPr>
            <p:ph type="title"/>
          </p:nvPr>
        </p:nvSpPr>
        <p:spPr>
          <a:xfrm>
            <a:off x="511477" y="293420"/>
            <a:ext cx="10515600" cy="1009651"/>
          </a:xfrm>
        </p:spPr>
        <p:txBody>
          <a:bodyPr/>
          <a:lstStyle/>
          <a:p>
            <a:r>
              <a:rPr lang="fi-FI" dirty="0"/>
              <a:t>Seuraavat vaiheet</a:t>
            </a:r>
          </a:p>
        </p:txBody>
      </p:sp>
    </p:spTree>
    <p:extLst>
      <p:ext uri="{BB962C8B-B14F-4D97-AF65-F5344CB8AC3E}">
        <p14:creationId xmlns:p14="http://schemas.microsoft.com/office/powerpoint/2010/main" val="3002129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latunnisteen paikkamerkki 2">
            <a:extLst>
              <a:ext uri="{FF2B5EF4-FFF2-40B4-BE49-F238E27FC236}">
                <a16:creationId xmlns:a16="http://schemas.microsoft.com/office/drawing/2014/main" id="{796DBC80-235F-EE77-84CE-D2DC218A9CE8}"/>
              </a:ext>
            </a:extLst>
          </p:cNvPr>
          <p:cNvSpPr>
            <a:spLocks noGrp="1"/>
          </p:cNvSpPr>
          <p:nvPr>
            <p:ph type="ftr" sz="quarter" idx="11"/>
          </p:nvPr>
        </p:nvSpPr>
        <p:spPr/>
        <p:txBody>
          <a:bodyPr/>
          <a:lstStyle/>
          <a:p>
            <a:r>
              <a:rPr lang="fi-FI"/>
              <a:t>7</a:t>
            </a:r>
          </a:p>
        </p:txBody>
      </p:sp>
      <p:sp>
        <p:nvSpPr>
          <p:cNvPr id="4" name="Sisällön paikkamerkki 3">
            <a:extLst>
              <a:ext uri="{FF2B5EF4-FFF2-40B4-BE49-F238E27FC236}">
                <a16:creationId xmlns:a16="http://schemas.microsoft.com/office/drawing/2014/main" id="{7137EF3A-C70D-9AE4-E335-B4782813FDA8}"/>
              </a:ext>
            </a:extLst>
          </p:cNvPr>
          <p:cNvSpPr>
            <a:spLocks noGrp="1"/>
          </p:cNvSpPr>
          <p:nvPr>
            <p:ph sz="quarter" idx="12"/>
          </p:nvPr>
        </p:nvSpPr>
        <p:spPr>
          <a:xfrm>
            <a:off x="369848" y="382973"/>
            <a:ext cx="11461596" cy="6338501"/>
          </a:xfrm>
        </p:spPr>
        <p:txBody>
          <a:bodyPr/>
          <a:lstStyle/>
          <a:p>
            <a:r>
              <a:rPr lang="fi-FI" sz="2000" b="1" dirty="0">
                <a:solidFill>
                  <a:schemeClr val="accent1"/>
                </a:solidFill>
              </a:rPr>
              <a:t>Yleiskaava</a:t>
            </a:r>
            <a:endParaRPr lang="fi-FI" sz="2000" dirty="0">
              <a:solidFill>
                <a:schemeClr val="accent1"/>
              </a:solidFill>
            </a:endParaRPr>
          </a:p>
          <a:p>
            <a:pPr marL="285750" indent="-285750">
              <a:buFont typeface="Arial" panose="020B0604020202020204" pitchFamily="34" charset="0"/>
              <a:buChar char="•"/>
            </a:pPr>
            <a:r>
              <a:rPr lang="fi-FI" dirty="0"/>
              <a:t>Korson raidehankkeiden vaiheyleiskaavan </a:t>
            </a:r>
            <a:r>
              <a:rPr lang="fi-FI" b="1" dirty="0"/>
              <a:t>OAS nähtävillä ja kommenteilla 31.5. saakka</a:t>
            </a:r>
          </a:p>
          <a:p>
            <a:pPr marL="285750" indent="-285750">
              <a:buFont typeface="Arial" panose="020B0604020202020204" pitchFamily="34" charset="0"/>
              <a:buChar char="•"/>
            </a:pPr>
            <a:r>
              <a:rPr lang="fi-FI" dirty="0"/>
              <a:t>Yleiskaavaluonnos tulee nähtäville kesällä, nähtävillä ja mielipiteitä voi jättää kirjaamoon </a:t>
            </a:r>
            <a:br>
              <a:rPr lang="fi-FI" dirty="0"/>
            </a:br>
            <a:r>
              <a:rPr lang="fi-FI" b="1" dirty="0"/>
              <a:t>1.9. saakka</a:t>
            </a:r>
            <a:r>
              <a:rPr lang="fi-FI" dirty="0"/>
              <a:t>, </a:t>
            </a:r>
            <a:r>
              <a:rPr lang="fi-FI" b="1" dirty="0"/>
              <a:t>asukastilaisuus 18.8. </a:t>
            </a:r>
            <a:r>
              <a:rPr lang="fi-FI" dirty="0"/>
              <a:t>(Lentorata ja Itärata mukana)</a:t>
            </a:r>
          </a:p>
          <a:p>
            <a:pPr marL="285750" indent="-285750">
              <a:buFont typeface="Arial" panose="020B0604020202020204" pitchFamily="34" charset="0"/>
              <a:buChar char="•"/>
            </a:pPr>
            <a:r>
              <a:rPr lang="fi-FI" dirty="0"/>
              <a:t>Yleiskaavaehdotus tulee nähtäville keväällä 2027, tavoitteena hyväksyminen 2027 loppuun mennessä</a:t>
            </a:r>
          </a:p>
          <a:p>
            <a:pPr marL="285750" indent="-285750">
              <a:buFont typeface="Arial" panose="020B0604020202020204" pitchFamily="34" charset="0"/>
              <a:buChar char="•"/>
            </a:pPr>
            <a:r>
              <a:rPr lang="fi-FI" dirty="0"/>
              <a:t>https://www.vantaa.fi/fi/kaavoitus/kaavat/korson-raidehankkeiden-vaiheyleiskaava</a:t>
            </a:r>
          </a:p>
          <a:p>
            <a:r>
              <a:rPr lang="fi-FI" sz="2000" b="1" dirty="0">
                <a:solidFill>
                  <a:schemeClr val="accent1"/>
                </a:solidFill>
              </a:rPr>
              <a:t>Asemakaava</a:t>
            </a:r>
            <a:r>
              <a:rPr lang="fi-FI" sz="2000" dirty="0">
                <a:solidFill>
                  <a:schemeClr val="accent1"/>
                </a:solidFill>
              </a:rPr>
              <a:t> </a:t>
            </a:r>
          </a:p>
          <a:p>
            <a:pPr marL="285750" indent="-285750">
              <a:buFont typeface="Arial" panose="020B0604020202020204" pitchFamily="34" charset="0"/>
              <a:buChar char="•"/>
            </a:pPr>
            <a:r>
              <a:rPr lang="fi-FI" dirty="0"/>
              <a:t>Lentorata osa 2 asemakaavan </a:t>
            </a:r>
            <a:r>
              <a:rPr lang="fi-FI" b="1" dirty="0"/>
              <a:t>OAS nähtävillä ja kommenteilla 31.5. saakka</a:t>
            </a:r>
          </a:p>
          <a:p>
            <a:pPr marL="285750" indent="-285750">
              <a:buFont typeface="Arial" panose="020B0604020202020204" pitchFamily="34" charset="0"/>
              <a:buChar char="•"/>
            </a:pPr>
            <a:r>
              <a:rPr lang="fi-FI" dirty="0"/>
              <a:t>Asemakaavaehdotus tulee nähtäville keväällä 2027, tavoitteena hyväksyminen 2027 loppuun mennessä  (kun yleiskaava hyväksytty)</a:t>
            </a:r>
          </a:p>
          <a:p>
            <a:pPr marL="285750" indent="-285750">
              <a:buFont typeface="Arial" panose="020B0604020202020204" pitchFamily="34" charset="0"/>
              <a:buChar char="•"/>
            </a:pPr>
            <a:r>
              <a:rPr lang="fi-FI" dirty="0"/>
              <a:t>https://www.vantaa.fi/fi/kaavoitus/kaavat/lentorata-osa-2-asemakaava</a:t>
            </a:r>
          </a:p>
          <a:p>
            <a:pPr marL="285750" indent="-285750">
              <a:buFont typeface="Arial" panose="020B0604020202020204" pitchFamily="34" charset="0"/>
              <a:buChar char="•"/>
            </a:pPr>
            <a:endParaRPr lang="fi-FI" dirty="0"/>
          </a:p>
        </p:txBody>
      </p:sp>
    </p:spTree>
    <p:extLst>
      <p:ext uri="{BB962C8B-B14F-4D97-AF65-F5344CB8AC3E}">
        <p14:creationId xmlns:p14="http://schemas.microsoft.com/office/powerpoint/2010/main" val="16752456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tsikko 6">
            <a:extLst>
              <a:ext uri="{FF2B5EF4-FFF2-40B4-BE49-F238E27FC236}">
                <a16:creationId xmlns:a16="http://schemas.microsoft.com/office/drawing/2014/main" id="{E10B3B57-25B3-8D87-921E-B5D6416E8E72}"/>
              </a:ext>
            </a:extLst>
          </p:cNvPr>
          <p:cNvSpPr>
            <a:spLocks noGrp="1"/>
          </p:cNvSpPr>
          <p:nvPr>
            <p:ph type="title"/>
          </p:nvPr>
        </p:nvSpPr>
        <p:spPr/>
        <p:txBody>
          <a:bodyPr/>
          <a:lstStyle/>
          <a:p>
            <a:r>
              <a:rPr lang="fi-FI" dirty="0"/>
              <a:t>Kiitos!</a:t>
            </a:r>
          </a:p>
        </p:txBody>
      </p:sp>
    </p:spTree>
    <p:extLst>
      <p:ext uri="{BB962C8B-B14F-4D97-AF65-F5344CB8AC3E}">
        <p14:creationId xmlns:p14="http://schemas.microsoft.com/office/powerpoint/2010/main" val="1263801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5197575-9B84-0BA8-C59A-87488D34EB36}"/>
              </a:ext>
            </a:extLst>
          </p:cNvPr>
          <p:cNvSpPr>
            <a:spLocks noGrp="1"/>
          </p:cNvSpPr>
          <p:nvPr>
            <p:ph type="title"/>
          </p:nvPr>
        </p:nvSpPr>
        <p:spPr>
          <a:xfrm>
            <a:off x="704385" y="245327"/>
            <a:ext cx="10515600" cy="1009651"/>
          </a:xfrm>
        </p:spPr>
        <p:txBody>
          <a:bodyPr/>
          <a:lstStyle/>
          <a:p>
            <a:r>
              <a:rPr lang="fi-FI" dirty="0"/>
              <a:t>Vaiheyleiskaavan aikataulu</a:t>
            </a:r>
          </a:p>
        </p:txBody>
      </p:sp>
      <p:sp>
        <p:nvSpPr>
          <p:cNvPr id="3" name="Alatunnisteen paikkamerkki 2">
            <a:extLst>
              <a:ext uri="{FF2B5EF4-FFF2-40B4-BE49-F238E27FC236}">
                <a16:creationId xmlns:a16="http://schemas.microsoft.com/office/drawing/2014/main" id="{456D6059-AE78-8C73-8AC1-AEA36E2F6A52}"/>
              </a:ext>
            </a:extLst>
          </p:cNvPr>
          <p:cNvSpPr>
            <a:spLocks noGrp="1"/>
          </p:cNvSpPr>
          <p:nvPr>
            <p:ph type="ftr" sz="quarter" idx="11"/>
          </p:nvPr>
        </p:nvSpPr>
        <p:spPr/>
        <p:txBody>
          <a:bodyPr/>
          <a:lstStyle/>
          <a:p>
            <a:r>
              <a:rPr lang="fi-FI"/>
              <a:t>7</a:t>
            </a:r>
          </a:p>
        </p:txBody>
      </p:sp>
      <p:graphicFrame>
        <p:nvGraphicFramePr>
          <p:cNvPr id="15" name="Sisällön paikkamerkki 14">
            <a:extLst>
              <a:ext uri="{FF2B5EF4-FFF2-40B4-BE49-F238E27FC236}">
                <a16:creationId xmlns:a16="http://schemas.microsoft.com/office/drawing/2014/main" id="{76DF0F35-1333-9C38-B3AE-380D95CAF957}"/>
              </a:ext>
            </a:extLst>
          </p:cNvPr>
          <p:cNvGraphicFramePr>
            <a:graphicFrameLocks noGrp="1"/>
          </p:cNvGraphicFramePr>
          <p:nvPr>
            <p:ph sz="quarter" idx="12"/>
            <p:extLst>
              <p:ext uri="{D42A27DB-BD31-4B8C-83A1-F6EECF244321}">
                <p14:modId xmlns:p14="http://schemas.microsoft.com/office/powerpoint/2010/main" val="3492932792"/>
              </p:ext>
            </p:extLst>
          </p:nvPr>
        </p:nvGraphicFramePr>
        <p:xfrm>
          <a:off x="414453" y="1094162"/>
          <a:ext cx="11363093" cy="44087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Tekstiruutu 15">
            <a:extLst>
              <a:ext uri="{FF2B5EF4-FFF2-40B4-BE49-F238E27FC236}">
                <a16:creationId xmlns:a16="http://schemas.microsoft.com/office/drawing/2014/main" id="{3ABB4BBA-CCFF-B639-5BFB-4D2238CAAD16}"/>
              </a:ext>
            </a:extLst>
          </p:cNvPr>
          <p:cNvSpPr txBox="1"/>
          <p:nvPr/>
        </p:nvSpPr>
        <p:spPr>
          <a:xfrm>
            <a:off x="547337" y="4792352"/>
            <a:ext cx="2252547" cy="1323439"/>
          </a:xfrm>
          <a:prstGeom prst="rect">
            <a:avLst/>
          </a:prstGeom>
          <a:noFill/>
        </p:spPr>
        <p:txBody>
          <a:bodyPr wrap="square" rtlCol="0">
            <a:spAutoFit/>
          </a:bodyPr>
          <a:lstStyle/>
          <a:p>
            <a:pPr marL="285750" indent="-285750">
              <a:buFont typeface="Arial" panose="020B0604020202020204" pitchFamily="34" charset="0"/>
              <a:buChar char="•"/>
            </a:pPr>
            <a:r>
              <a:rPr lang="fi-FI" sz="1600" dirty="0"/>
              <a:t>Rakennuskielto energiakaivoille tunneleiden suojavyöhykkeillä 23.3.-</a:t>
            </a:r>
          </a:p>
        </p:txBody>
      </p:sp>
      <p:sp>
        <p:nvSpPr>
          <p:cNvPr id="17" name="Tekstiruutu 16">
            <a:extLst>
              <a:ext uri="{FF2B5EF4-FFF2-40B4-BE49-F238E27FC236}">
                <a16:creationId xmlns:a16="http://schemas.microsoft.com/office/drawing/2014/main" id="{3534E825-DEC6-B614-CC97-4297A24A9161}"/>
              </a:ext>
            </a:extLst>
          </p:cNvPr>
          <p:cNvSpPr txBox="1"/>
          <p:nvPr/>
        </p:nvSpPr>
        <p:spPr>
          <a:xfrm>
            <a:off x="2767359" y="4800831"/>
            <a:ext cx="2252547" cy="830997"/>
          </a:xfrm>
          <a:prstGeom prst="rect">
            <a:avLst/>
          </a:prstGeom>
          <a:noFill/>
        </p:spPr>
        <p:txBody>
          <a:bodyPr wrap="square" rtlCol="0">
            <a:spAutoFit/>
          </a:bodyPr>
          <a:lstStyle/>
          <a:p>
            <a:pPr marL="285750" indent="-285750">
              <a:buFont typeface="Arial" panose="020B0604020202020204" pitchFamily="34" charset="0"/>
              <a:buChar char="•"/>
            </a:pPr>
            <a:r>
              <a:rPr lang="fi-FI" sz="1600" dirty="0"/>
              <a:t>OAS nähtävillä ja kommenteilla 31.5. saakka</a:t>
            </a:r>
          </a:p>
        </p:txBody>
      </p:sp>
      <p:sp>
        <p:nvSpPr>
          <p:cNvPr id="18" name="Tekstiruutu 17">
            <a:extLst>
              <a:ext uri="{FF2B5EF4-FFF2-40B4-BE49-F238E27FC236}">
                <a16:creationId xmlns:a16="http://schemas.microsoft.com/office/drawing/2014/main" id="{6C0046A3-3DFF-92F9-DB6B-D3E4ABEE4C2E}"/>
              </a:ext>
            </a:extLst>
          </p:cNvPr>
          <p:cNvSpPr txBox="1"/>
          <p:nvPr/>
        </p:nvSpPr>
        <p:spPr>
          <a:xfrm>
            <a:off x="5108186" y="4789680"/>
            <a:ext cx="2252547" cy="1569660"/>
          </a:xfrm>
          <a:prstGeom prst="rect">
            <a:avLst/>
          </a:prstGeom>
          <a:noFill/>
        </p:spPr>
        <p:txBody>
          <a:bodyPr wrap="square" rtlCol="0">
            <a:spAutoFit/>
          </a:bodyPr>
          <a:lstStyle/>
          <a:p>
            <a:pPr marL="285750" indent="-285750">
              <a:buFont typeface="Arial" panose="020B0604020202020204" pitchFamily="34" charset="0"/>
              <a:buChar char="•"/>
            </a:pPr>
            <a:r>
              <a:rPr lang="fi-FI" sz="1600" dirty="0"/>
              <a:t>Nähtäville kesän aikana</a:t>
            </a:r>
          </a:p>
          <a:p>
            <a:pPr marL="285750" indent="-285750">
              <a:buFont typeface="Arial" panose="020B0604020202020204" pitchFamily="34" charset="0"/>
              <a:buChar char="•"/>
            </a:pPr>
            <a:r>
              <a:rPr lang="fi-FI" sz="1600" dirty="0"/>
              <a:t>Mielipiteitä voi jättää 1.9. saakka</a:t>
            </a:r>
          </a:p>
          <a:p>
            <a:pPr marL="285750" indent="-285750">
              <a:buFont typeface="Arial" panose="020B0604020202020204" pitchFamily="34" charset="0"/>
              <a:buChar char="•"/>
            </a:pPr>
            <a:r>
              <a:rPr lang="fi-FI" sz="1600" dirty="0"/>
              <a:t>Asukastilaisuus 18.8.</a:t>
            </a:r>
          </a:p>
        </p:txBody>
      </p:sp>
      <p:sp>
        <p:nvSpPr>
          <p:cNvPr id="19" name="Tekstiruutu 18">
            <a:extLst>
              <a:ext uri="{FF2B5EF4-FFF2-40B4-BE49-F238E27FC236}">
                <a16:creationId xmlns:a16="http://schemas.microsoft.com/office/drawing/2014/main" id="{6A86272E-058C-D1BF-C9B6-5EB907C0CD58}"/>
              </a:ext>
            </a:extLst>
          </p:cNvPr>
          <p:cNvSpPr txBox="1"/>
          <p:nvPr/>
        </p:nvSpPr>
        <p:spPr>
          <a:xfrm>
            <a:off x="7549374" y="4686619"/>
            <a:ext cx="2040676" cy="1323439"/>
          </a:xfrm>
          <a:prstGeom prst="rect">
            <a:avLst/>
          </a:prstGeom>
          <a:noFill/>
        </p:spPr>
        <p:txBody>
          <a:bodyPr wrap="square" rtlCol="0">
            <a:spAutoFit/>
          </a:bodyPr>
          <a:lstStyle/>
          <a:p>
            <a:pPr marL="285750" indent="-285750">
              <a:buFont typeface="Arial" panose="020B0604020202020204" pitchFamily="34" charset="0"/>
              <a:buChar char="•"/>
            </a:pPr>
            <a:r>
              <a:rPr lang="fi-FI" sz="1600" dirty="0"/>
              <a:t>Nähtävillä keväällä 2027, muistutuksia voi jättää</a:t>
            </a:r>
          </a:p>
          <a:p>
            <a:pPr marL="285750" indent="-285750">
              <a:buFont typeface="Arial" panose="020B0604020202020204" pitchFamily="34" charset="0"/>
              <a:buChar char="•"/>
            </a:pPr>
            <a:r>
              <a:rPr lang="fi-FI" sz="1600" dirty="0"/>
              <a:t>Asukastilaisuus</a:t>
            </a:r>
          </a:p>
        </p:txBody>
      </p:sp>
      <p:sp>
        <p:nvSpPr>
          <p:cNvPr id="20" name="Tekstiruutu 19">
            <a:extLst>
              <a:ext uri="{FF2B5EF4-FFF2-40B4-BE49-F238E27FC236}">
                <a16:creationId xmlns:a16="http://schemas.microsoft.com/office/drawing/2014/main" id="{F6D10225-686F-DC65-5865-2F2A2EA353D5}"/>
              </a:ext>
            </a:extLst>
          </p:cNvPr>
          <p:cNvSpPr txBox="1"/>
          <p:nvPr/>
        </p:nvSpPr>
        <p:spPr>
          <a:xfrm>
            <a:off x="9967332" y="4686620"/>
            <a:ext cx="1975624" cy="830997"/>
          </a:xfrm>
          <a:prstGeom prst="rect">
            <a:avLst/>
          </a:prstGeom>
          <a:noFill/>
        </p:spPr>
        <p:txBody>
          <a:bodyPr wrap="square" rtlCol="0">
            <a:spAutoFit/>
          </a:bodyPr>
          <a:lstStyle/>
          <a:p>
            <a:pPr marL="285750" indent="-285750">
              <a:buFont typeface="Arial" panose="020B0604020202020204" pitchFamily="34" charset="0"/>
              <a:buChar char="•"/>
            </a:pPr>
            <a:r>
              <a:rPr lang="fi-FI" sz="1600" dirty="0"/>
              <a:t>Kaupungin-valtuusto hyväksyy</a:t>
            </a:r>
          </a:p>
        </p:txBody>
      </p:sp>
    </p:spTree>
    <p:extLst>
      <p:ext uri="{BB962C8B-B14F-4D97-AF65-F5344CB8AC3E}">
        <p14:creationId xmlns:p14="http://schemas.microsoft.com/office/powerpoint/2010/main" val="1912089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6DB77B6-0F2E-1C80-A2D7-93DEB953CEFC}"/>
              </a:ext>
            </a:extLst>
          </p:cNvPr>
          <p:cNvSpPr>
            <a:spLocks noGrp="1"/>
          </p:cNvSpPr>
          <p:nvPr>
            <p:ph type="title"/>
          </p:nvPr>
        </p:nvSpPr>
        <p:spPr>
          <a:xfrm>
            <a:off x="838200" y="410031"/>
            <a:ext cx="10515600" cy="1009651"/>
          </a:xfrm>
        </p:spPr>
        <p:txBody>
          <a:bodyPr/>
          <a:lstStyle/>
          <a:p>
            <a:r>
              <a:rPr lang="fi-FI" dirty="0"/>
              <a:t>Maakuntakaava</a:t>
            </a:r>
          </a:p>
        </p:txBody>
      </p:sp>
      <p:sp>
        <p:nvSpPr>
          <p:cNvPr id="4" name="Sisällön paikkamerkki 3">
            <a:extLst>
              <a:ext uri="{FF2B5EF4-FFF2-40B4-BE49-F238E27FC236}">
                <a16:creationId xmlns:a16="http://schemas.microsoft.com/office/drawing/2014/main" id="{BCE211F3-A86C-7183-3B0D-BE26E1641566}"/>
              </a:ext>
            </a:extLst>
          </p:cNvPr>
          <p:cNvSpPr>
            <a:spLocks noGrp="1"/>
          </p:cNvSpPr>
          <p:nvPr>
            <p:ph sz="quarter" idx="12"/>
          </p:nvPr>
        </p:nvSpPr>
        <p:spPr>
          <a:xfrm>
            <a:off x="8066969" y="1898367"/>
            <a:ext cx="3920592" cy="4465519"/>
          </a:xfrm>
        </p:spPr>
        <p:txBody>
          <a:bodyPr/>
          <a:lstStyle/>
          <a:p>
            <a:r>
              <a:rPr lang="fi-FI" dirty="0"/>
              <a:t>Kaava-alueella on voimassa Uusimaa-kaava 2050 kaavakokonaisuuteen kuuluva Helsingin seudun vaihemaakuntakaava. </a:t>
            </a:r>
          </a:p>
          <a:p>
            <a:endParaRPr lang="fi-FI" dirty="0"/>
          </a:p>
          <a:p>
            <a:r>
              <a:rPr lang="fi-FI" dirty="0"/>
              <a:t>Lentoradan linjaus on liikennetunnelin ohjeellinen linjaus -merkinnällä.</a:t>
            </a:r>
          </a:p>
          <a:p>
            <a:endParaRPr lang="fi-FI" dirty="0"/>
          </a:p>
        </p:txBody>
      </p:sp>
      <p:pic>
        <p:nvPicPr>
          <p:cNvPr id="3" name="Kuva 2">
            <a:extLst>
              <a:ext uri="{FF2B5EF4-FFF2-40B4-BE49-F238E27FC236}">
                <a16:creationId xmlns:a16="http://schemas.microsoft.com/office/drawing/2014/main" id="{66674C58-F6FB-75FC-3994-92382B0AF8F9}"/>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1803748"/>
            <a:ext cx="7956395" cy="5056813"/>
          </a:xfrm>
          <a:prstGeom prst="rect">
            <a:avLst/>
          </a:prstGeom>
        </p:spPr>
      </p:pic>
    </p:spTree>
    <p:extLst>
      <p:ext uri="{BB962C8B-B14F-4D97-AF65-F5344CB8AC3E}">
        <p14:creationId xmlns:p14="http://schemas.microsoft.com/office/powerpoint/2010/main" val="3685050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B4DF3F0F-1FDC-6E0D-10F8-0F9C9F62697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54260" y="1895862"/>
            <a:ext cx="7107571" cy="4460488"/>
          </a:xfrm>
          <a:prstGeom prst="rect">
            <a:avLst/>
          </a:prstGeom>
        </p:spPr>
      </p:pic>
      <p:sp>
        <p:nvSpPr>
          <p:cNvPr id="2" name="Otsikko 1">
            <a:extLst>
              <a:ext uri="{FF2B5EF4-FFF2-40B4-BE49-F238E27FC236}">
                <a16:creationId xmlns:a16="http://schemas.microsoft.com/office/drawing/2014/main" id="{9BBD0C34-971F-EAA9-4458-D5ACA3C92741}"/>
              </a:ext>
            </a:extLst>
          </p:cNvPr>
          <p:cNvSpPr>
            <a:spLocks noGrp="1"/>
          </p:cNvSpPr>
          <p:nvPr>
            <p:ph type="title"/>
          </p:nvPr>
        </p:nvSpPr>
        <p:spPr/>
        <p:txBody>
          <a:bodyPr/>
          <a:lstStyle/>
          <a:p>
            <a:r>
              <a:rPr lang="fi-FI" dirty="0"/>
              <a:t>VISIO-vaihemaakuntakaava</a:t>
            </a:r>
          </a:p>
        </p:txBody>
      </p:sp>
      <p:sp>
        <p:nvSpPr>
          <p:cNvPr id="3" name="Alatunnisteen paikkamerkki 2">
            <a:extLst>
              <a:ext uri="{FF2B5EF4-FFF2-40B4-BE49-F238E27FC236}">
                <a16:creationId xmlns:a16="http://schemas.microsoft.com/office/drawing/2014/main" id="{32966E44-7D61-A61D-D5B1-1B664CB227D9}"/>
              </a:ext>
            </a:extLst>
          </p:cNvPr>
          <p:cNvSpPr>
            <a:spLocks noGrp="1"/>
          </p:cNvSpPr>
          <p:nvPr>
            <p:ph type="ftr" sz="quarter" idx="11"/>
          </p:nvPr>
        </p:nvSpPr>
        <p:spPr/>
        <p:txBody>
          <a:bodyPr/>
          <a:lstStyle/>
          <a:p>
            <a:r>
              <a:rPr lang="fi-FI" dirty="0"/>
              <a:t>7</a:t>
            </a:r>
          </a:p>
        </p:txBody>
      </p:sp>
      <p:sp>
        <p:nvSpPr>
          <p:cNvPr id="4" name="Sisällön paikkamerkki 3">
            <a:extLst>
              <a:ext uri="{FF2B5EF4-FFF2-40B4-BE49-F238E27FC236}">
                <a16:creationId xmlns:a16="http://schemas.microsoft.com/office/drawing/2014/main" id="{6F00AA04-2D7B-F340-68EB-505D305C13A3}"/>
              </a:ext>
            </a:extLst>
          </p:cNvPr>
          <p:cNvSpPr>
            <a:spLocks noGrp="1"/>
          </p:cNvSpPr>
          <p:nvPr>
            <p:ph sz="quarter" idx="12"/>
          </p:nvPr>
        </p:nvSpPr>
        <p:spPr>
          <a:xfrm>
            <a:off x="7427934" y="1690688"/>
            <a:ext cx="4246324" cy="4097338"/>
          </a:xfrm>
        </p:spPr>
        <p:txBody>
          <a:bodyPr/>
          <a:lstStyle/>
          <a:p>
            <a:r>
              <a:rPr lang="fi-FI" dirty="0"/>
              <a:t>VISIO-vaihemaakuntakaava on vireillä. Kaavaluonnos oli nähtävillä 11.3.-8.5.2026. Lentoradan uusi linjaus Vantaan alueella on osoitettu Liikennetunneli-merkinnällä.</a:t>
            </a:r>
          </a:p>
          <a:p>
            <a:r>
              <a:rPr lang="fi-FI" dirty="0"/>
              <a:t>Itäradan alustavan yleissuunnitelman ratalinjausvaihtoehdot esitetty Liikennetunnelin vaihtoehtoinen linjaus -merkinnällä.</a:t>
            </a:r>
          </a:p>
          <a:p>
            <a:r>
              <a:rPr lang="fi-FI" dirty="0"/>
              <a:t> Maakuntakaavaehdotus keväällä 2027, hyväksyminen 2027 loppuun mennessä.</a:t>
            </a:r>
          </a:p>
          <a:p>
            <a:endParaRPr lang="fi-FI" dirty="0"/>
          </a:p>
        </p:txBody>
      </p:sp>
    </p:spTree>
    <p:extLst>
      <p:ext uri="{BB962C8B-B14F-4D97-AF65-F5344CB8AC3E}">
        <p14:creationId xmlns:p14="http://schemas.microsoft.com/office/powerpoint/2010/main" val="24204462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2600C11-F559-8E60-CD07-6893E1D5FC25}"/>
              </a:ext>
            </a:extLst>
          </p:cNvPr>
          <p:cNvSpPr>
            <a:spLocks noGrp="1"/>
          </p:cNvSpPr>
          <p:nvPr>
            <p:ph type="title"/>
          </p:nvPr>
        </p:nvSpPr>
        <p:spPr>
          <a:xfrm>
            <a:off x="628033" y="563879"/>
            <a:ext cx="10515600" cy="921499"/>
          </a:xfrm>
        </p:spPr>
        <p:txBody>
          <a:bodyPr/>
          <a:lstStyle/>
          <a:p>
            <a:r>
              <a:rPr lang="fi-FI" dirty="0"/>
              <a:t>Vaiheyleiskaavan sisältö ja tavoitteet</a:t>
            </a:r>
          </a:p>
        </p:txBody>
      </p:sp>
      <p:sp>
        <p:nvSpPr>
          <p:cNvPr id="6" name="Sisällön paikkamerkki 5">
            <a:extLst>
              <a:ext uri="{FF2B5EF4-FFF2-40B4-BE49-F238E27FC236}">
                <a16:creationId xmlns:a16="http://schemas.microsoft.com/office/drawing/2014/main" id="{9BAF8F49-4E96-4DEB-A876-70D4637161E0}"/>
              </a:ext>
            </a:extLst>
          </p:cNvPr>
          <p:cNvSpPr>
            <a:spLocks noGrp="1"/>
          </p:cNvSpPr>
          <p:nvPr>
            <p:ph sz="quarter" idx="13"/>
          </p:nvPr>
        </p:nvSpPr>
        <p:spPr>
          <a:xfrm>
            <a:off x="463463" y="2079625"/>
            <a:ext cx="5457217" cy="4097338"/>
          </a:xfrm>
        </p:spPr>
        <p:txBody>
          <a:bodyPr/>
          <a:lstStyle/>
          <a:p>
            <a:pPr marL="285750" indent="-285750">
              <a:lnSpc>
                <a:spcPct val="100000"/>
              </a:lnSpc>
              <a:buFont typeface="Arial" panose="020B0604020202020204" pitchFamily="34" charset="0"/>
              <a:buChar char="•"/>
            </a:pPr>
            <a:r>
              <a:rPr lang="fi-FI" sz="1600" dirty="0"/>
              <a:t>Mahdollistetaan Lentorata - uusi linjaus ei ole maakuntakaavan vastainen.</a:t>
            </a:r>
          </a:p>
          <a:p>
            <a:pPr marL="285750" indent="-285750">
              <a:lnSpc>
                <a:spcPct val="100000"/>
              </a:lnSpc>
              <a:buFont typeface="Arial" panose="020B0604020202020204" pitchFamily="34" charset="0"/>
              <a:buChar char="•"/>
            </a:pPr>
            <a:r>
              <a:rPr lang="fi-FI" sz="1600" dirty="0"/>
              <a:t>Mahdollistetaan Itärata, mikäli sen mukaan ottaminen ei viivytä kaavaa. Aikataulu arvioidaan luonnosvaiheen jälkeen.</a:t>
            </a:r>
          </a:p>
          <a:p>
            <a:pPr marL="285750" indent="-285750">
              <a:lnSpc>
                <a:spcPct val="100000"/>
              </a:lnSpc>
              <a:buFont typeface="Arial" panose="020B0604020202020204" pitchFamily="34" charset="0"/>
              <a:buChar char="•"/>
            </a:pPr>
            <a:r>
              <a:rPr lang="fi-FI" sz="1600" dirty="0"/>
              <a:t>Laaditaan oikeusvaikutteisen vaiheyleiskaava, jossa osoitetaan ratalinjaukset tunnelissa. </a:t>
            </a:r>
          </a:p>
          <a:p>
            <a:pPr marL="285750" indent="-285750">
              <a:lnSpc>
                <a:spcPct val="100000"/>
              </a:lnSpc>
              <a:buFont typeface="Arial" panose="020B0604020202020204" pitchFamily="34" charset="0"/>
              <a:buChar char="•"/>
            </a:pPr>
            <a:r>
              <a:rPr lang="fi-FI" sz="1600" dirty="0"/>
              <a:t>Yleiskaavan maankäyttömerkinnät pysyvät ennallaan</a:t>
            </a:r>
          </a:p>
          <a:p>
            <a:pPr marL="285750" indent="-285750">
              <a:lnSpc>
                <a:spcPct val="100000"/>
              </a:lnSpc>
              <a:buFont typeface="Arial" panose="020B0604020202020204" pitchFamily="34" charset="0"/>
              <a:buChar char="•"/>
            </a:pPr>
            <a:r>
              <a:rPr lang="fi-FI" sz="1600" dirty="0"/>
              <a:t>Asemakaavoissa osoitetaan tarkemmin ratatunnelit sekä maanpäälliset rakenteet ja ajoyhteydet.</a:t>
            </a:r>
          </a:p>
          <a:p>
            <a:endParaRPr lang="fi-FI" dirty="0"/>
          </a:p>
        </p:txBody>
      </p:sp>
      <p:pic>
        <p:nvPicPr>
          <p:cNvPr id="5" name="Kuva 4" descr="Kuva, joka sisältää kohteen kartta, teksti, diagrammi&#10;&#10;Tekoälyllä luotu sisältö voi olla virheellistä.">
            <a:extLst>
              <a:ext uri="{FF2B5EF4-FFF2-40B4-BE49-F238E27FC236}">
                <a16:creationId xmlns:a16="http://schemas.microsoft.com/office/drawing/2014/main" id="{6722B2BC-3EFD-450C-1988-30ACE1811869}"/>
              </a:ext>
            </a:extLst>
          </p:cNvPr>
          <p:cNvPicPr>
            <a:picLocks noChangeAspect="1"/>
          </p:cNvPicPr>
          <p:nvPr/>
        </p:nvPicPr>
        <p:blipFill>
          <a:blip r:embed="rId2"/>
          <a:stretch>
            <a:fillRect/>
          </a:stretch>
        </p:blipFill>
        <p:spPr>
          <a:xfrm>
            <a:off x="5885833" y="1856887"/>
            <a:ext cx="6101375" cy="3869518"/>
          </a:xfrm>
          <a:prstGeom prst="rect">
            <a:avLst/>
          </a:prstGeom>
          <a:ln>
            <a:solidFill>
              <a:schemeClr val="bg1">
                <a:lumMod val="65000"/>
              </a:schemeClr>
            </a:solidFill>
          </a:ln>
        </p:spPr>
      </p:pic>
      <p:sp>
        <p:nvSpPr>
          <p:cNvPr id="4" name="Tekstiruutu 3">
            <a:extLst>
              <a:ext uri="{FF2B5EF4-FFF2-40B4-BE49-F238E27FC236}">
                <a16:creationId xmlns:a16="http://schemas.microsoft.com/office/drawing/2014/main" id="{037E025A-8DA8-53E2-28C7-D18F92027C3E}"/>
              </a:ext>
            </a:extLst>
          </p:cNvPr>
          <p:cNvSpPr txBox="1"/>
          <p:nvPr/>
        </p:nvSpPr>
        <p:spPr>
          <a:xfrm>
            <a:off x="6788883" y="5827201"/>
            <a:ext cx="5198325" cy="523220"/>
          </a:xfrm>
          <a:prstGeom prst="rect">
            <a:avLst/>
          </a:prstGeom>
          <a:noFill/>
        </p:spPr>
        <p:txBody>
          <a:bodyPr wrap="square" rtlCol="0">
            <a:spAutoFit/>
          </a:bodyPr>
          <a:lstStyle/>
          <a:p>
            <a:r>
              <a:rPr lang="fi-FI" sz="1400" dirty="0"/>
              <a:t>Suunnittelualueen rajaus ja ratahankkeiden linjaukset sekä voimassa oleva yleiskaava</a:t>
            </a:r>
          </a:p>
        </p:txBody>
      </p:sp>
    </p:spTree>
    <p:extLst>
      <p:ext uri="{BB962C8B-B14F-4D97-AF65-F5344CB8AC3E}">
        <p14:creationId xmlns:p14="http://schemas.microsoft.com/office/powerpoint/2010/main" val="3543313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D6D75DB-A468-82F0-9EAE-3FE897512A2C}"/>
              </a:ext>
            </a:extLst>
          </p:cNvPr>
          <p:cNvSpPr>
            <a:spLocks noGrp="1"/>
          </p:cNvSpPr>
          <p:nvPr>
            <p:ph type="title"/>
          </p:nvPr>
        </p:nvSpPr>
        <p:spPr>
          <a:xfrm>
            <a:off x="838200" y="332694"/>
            <a:ext cx="7542887" cy="1009651"/>
          </a:xfrm>
        </p:spPr>
        <p:txBody>
          <a:bodyPr/>
          <a:lstStyle/>
          <a:p>
            <a:r>
              <a:rPr lang="fi-FI" dirty="0"/>
              <a:t>Ote yleiskaavasta </a:t>
            </a:r>
            <a:r>
              <a:rPr lang="fi-FI" dirty="0" err="1"/>
              <a:t>Aviapoliksen</a:t>
            </a:r>
            <a:r>
              <a:rPr lang="fi-FI" dirty="0"/>
              <a:t> alueella</a:t>
            </a:r>
          </a:p>
        </p:txBody>
      </p:sp>
      <p:sp>
        <p:nvSpPr>
          <p:cNvPr id="3" name="Sisällön paikkamerkki 2">
            <a:extLst>
              <a:ext uri="{FF2B5EF4-FFF2-40B4-BE49-F238E27FC236}">
                <a16:creationId xmlns:a16="http://schemas.microsoft.com/office/drawing/2014/main" id="{6C8150B3-86F3-B4E2-FC4C-BCA1768B05C5}"/>
              </a:ext>
            </a:extLst>
          </p:cNvPr>
          <p:cNvSpPr>
            <a:spLocks noGrp="1"/>
          </p:cNvSpPr>
          <p:nvPr>
            <p:ph sz="quarter" idx="12"/>
          </p:nvPr>
        </p:nvSpPr>
        <p:spPr>
          <a:xfrm>
            <a:off x="528191" y="2152472"/>
            <a:ext cx="7542887" cy="2553055"/>
          </a:xfrm>
        </p:spPr>
        <p:txBody>
          <a:bodyPr/>
          <a:lstStyle/>
          <a:p>
            <a:r>
              <a:rPr lang="fi-FI" dirty="0"/>
              <a:t>Vantaan yleiskaava 2020:ssa Lentorata ja Tallinna-tunneli on osoitettu </a:t>
            </a:r>
            <a:r>
              <a:rPr lang="fi-FI" i="1" dirty="0"/>
              <a:t>Raskaan raideliikenteen tunnelin ohjeellinen linjaus </a:t>
            </a:r>
            <a:r>
              <a:rPr lang="fi-FI" dirty="0"/>
              <a:t>–merkinnällä </a:t>
            </a:r>
            <a:r>
              <a:rPr lang="fi-FI" dirty="0" err="1"/>
              <a:t>Aviapoliksen</a:t>
            </a:r>
            <a:r>
              <a:rPr lang="fi-FI" dirty="0"/>
              <a:t> alueella.</a:t>
            </a:r>
          </a:p>
        </p:txBody>
      </p:sp>
      <p:pic>
        <p:nvPicPr>
          <p:cNvPr id="5" name="Kuva 4" descr="Kuva, joka sisältää kohteen piirros, kartta, taide&#10;&#10;Tekoälyllä luotu sisältö voi olla virheellistä.">
            <a:extLst>
              <a:ext uri="{FF2B5EF4-FFF2-40B4-BE49-F238E27FC236}">
                <a16:creationId xmlns:a16="http://schemas.microsoft.com/office/drawing/2014/main" id="{545D30FE-BA01-E4BB-32F3-50B89CF608BB}"/>
              </a:ext>
            </a:extLst>
          </p:cNvPr>
          <p:cNvPicPr>
            <a:picLocks noChangeAspect="1"/>
          </p:cNvPicPr>
          <p:nvPr/>
        </p:nvPicPr>
        <p:blipFill>
          <a:blip r:embed="rId2"/>
          <a:stretch>
            <a:fillRect/>
          </a:stretch>
        </p:blipFill>
        <p:spPr>
          <a:xfrm>
            <a:off x="8381087" y="0"/>
            <a:ext cx="3810913" cy="6858000"/>
          </a:xfrm>
          <a:prstGeom prst="rect">
            <a:avLst/>
          </a:prstGeom>
        </p:spPr>
      </p:pic>
      <p:pic>
        <p:nvPicPr>
          <p:cNvPr id="7" name="Kuva 6" descr="Kuva, joka sisältää kohteen teksti, kuvakaappaus, Fontti, viiva&#10;&#10;Tekoälyllä luotu sisältö voi olla virheellistä.">
            <a:extLst>
              <a:ext uri="{FF2B5EF4-FFF2-40B4-BE49-F238E27FC236}">
                <a16:creationId xmlns:a16="http://schemas.microsoft.com/office/drawing/2014/main" id="{396A10EE-9AE2-06FB-B4BD-808D0E047A9E}"/>
              </a:ext>
            </a:extLst>
          </p:cNvPr>
          <p:cNvPicPr>
            <a:picLocks noChangeAspect="1"/>
          </p:cNvPicPr>
          <p:nvPr/>
        </p:nvPicPr>
        <p:blipFill>
          <a:blip r:embed="rId3"/>
          <a:stretch>
            <a:fillRect/>
          </a:stretch>
        </p:blipFill>
        <p:spPr>
          <a:xfrm>
            <a:off x="308607" y="3273666"/>
            <a:ext cx="7779288" cy="1431861"/>
          </a:xfrm>
          <a:prstGeom prst="rect">
            <a:avLst/>
          </a:prstGeom>
        </p:spPr>
      </p:pic>
      <p:sp>
        <p:nvSpPr>
          <p:cNvPr id="4" name="Tekstiruutu 3">
            <a:extLst>
              <a:ext uri="{FF2B5EF4-FFF2-40B4-BE49-F238E27FC236}">
                <a16:creationId xmlns:a16="http://schemas.microsoft.com/office/drawing/2014/main" id="{09BB1063-3131-2ADD-07E0-8460210BF30F}"/>
              </a:ext>
            </a:extLst>
          </p:cNvPr>
          <p:cNvSpPr txBox="1"/>
          <p:nvPr/>
        </p:nvSpPr>
        <p:spPr>
          <a:xfrm>
            <a:off x="2230244" y="5226556"/>
            <a:ext cx="5497551" cy="1200329"/>
          </a:xfrm>
          <a:prstGeom prst="rect">
            <a:avLst/>
          </a:prstGeom>
          <a:noFill/>
        </p:spPr>
        <p:txBody>
          <a:bodyPr wrap="square" rtlCol="0">
            <a:spAutoFit/>
          </a:bodyPr>
          <a:lstStyle/>
          <a:p>
            <a:r>
              <a:rPr lang="fi-FI" dirty="0" err="1"/>
              <a:t>Aviapoliksen</a:t>
            </a:r>
            <a:r>
              <a:rPr lang="fi-FI" dirty="0"/>
              <a:t> suuralueella on vireillä Lentorata 1 -asemakaava (002641ma). </a:t>
            </a:r>
            <a:br>
              <a:rPr lang="fi-FI" dirty="0"/>
            </a:br>
            <a:r>
              <a:rPr lang="fi-FI" dirty="0"/>
              <a:t>Kaavaehdotus tavoitteena 12/2026</a:t>
            </a:r>
          </a:p>
          <a:p>
            <a:endParaRPr lang="fi-FI" dirty="0"/>
          </a:p>
        </p:txBody>
      </p:sp>
    </p:spTree>
    <p:extLst>
      <p:ext uri="{BB962C8B-B14F-4D97-AF65-F5344CB8AC3E}">
        <p14:creationId xmlns:p14="http://schemas.microsoft.com/office/powerpoint/2010/main" val="32269153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CONTAINEDIMAGEPATH" val="C:\Users\SURH\AppData\Local\Templafy\AddIns\PowerPointVsto\ef96faf6-e7f1-4fad-bdcb-8a79538aaab0.jpeg"/>
</p:tagLst>
</file>

<file path=ppt/theme/theme1.xml><?xml version="1.0" encoding="utf-8"?>
<a:theme xmlns:a="http://schemas.openxmlformats.org/drawingml/2006/main" name="Vantaa uusi pohja">
  <a:themeElements>
    <a:clrScheme name="Vantaan värit">
      <a:dk1>
        <a:sysClr val="windowText" lastClr="000000"/>
      </a:dk1>
      <a:lt1>
        <a:sysClr val="window" lastClr="FFFFFF"/>
      </a:lt1>
      <a:dk2>
        <a:srgbClr val="0E2841"/>
      </a:dk2>
      <a:lt2>
        <a:srgbClr val="E8E8E8"/>
      </a:lt2>
      <a:accent1>
        <a:srgbClr val="152B96"/>
      </a:accent1>
      <a:accent2>
        <a:srgbClr val="B8CDFF"/>
      </a:accent2>
      <a:accent3>
        <a:srgbClr val="006173"/>
      </a:accent3>
      <a:accent4>
        <a:srgbClr val="A2E4B8"/>
      </a:accent4>
      <a:accent5>
        <a:srgbClr val="F2A6DB"/>
      </a:accent5>
      <a:accent6>
        <a:srgbClr val="450099"/>
      </a:accent6>
      <a:hlink>
        <a:srgbClr val="467886"/>
      </a:hlink>
      <a:folHlink>
        <a:srgbClr val="96607D"/>
      </a:folHlink>
    </a:clrScheme>
    <a:fontScheme name="Vantaan diapohja">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Vantaa uusi pohja" id="{FDD7FA78-50EE-4601-B8B6-7F8247E468D4}" vid="{0D19176B-C469-45D0-A97F-3CC8BFFE0503}"/>
    </a:ext>
  </a:extLst>
</a:theme>
</file>

<file path=ppt/theme/theme2.xml><?xml version="1.0" encoding="utf-8"?>
<a:theme xmlns:a="http://schemas.openxmlformats.org/drawingml/2006/main" name="1_Suomirata Grid 16:9">
  <a:themeElements>
    <a:clrScheme name="Lentorata ppt värit 23">
      <a:dk1>
        <a:srgbClr val="000000"/>
      </a:dk1>
      <a:lt1>
        <a:srgbClr val="FFFFFF"/>
      </a:lt1>
      <a:dk2>
        <a:srgbClr val="0033CC"/>
      </a:dk2>
      <a:lt2>
        <a:srgbClr val="F2F2F2"/>
      </a:lt2>
      <a:accent1>
        <a:srgbClr val="00124C"/>
      </a:accent1>
      <a:accent2>
        <a:srgbClr val="00228E"/>
      </a:accent2>
      <a:accent3>
        <a:srgbClr val="10A1D8"/>
      </a:accent3>
      <a:accent4>
        <a:srgbClr val="9999FF"/>
      </a:accent4>
      <a:accent5>
        <a:srgbClr val="33CCCC"/>
      </a:accent5>
      <a:accent6>
        <a:srgbClr val="FF5712"/>
      </a:accent6>
      <a:hlink>
        <a:srgbClr val="00218E"/>
      </a:hlink>
      <a:folHlink>
        <a:srgbClr val="10A0D7"/>
      </a:folHlink>
    </a:clrScheme>
    <a:fontScheme name="Custom 6">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Lentorata_PowerPoint_template_2024" id="{97B48A1A-522F-4509-8F40-672BDF15AD59}" vid="{3AF275D7-05EB-4A94-97AB-250F41C28269}"/>
    </a:ext>
  </a:extLst>
</a:theme>
</file>

<file path=ppt/theme/theme3.xml><?xml version="1.0" encoding="utf-8"?>
<a:theme xmlns:a="http://schemas.openxmlformats.org/drawingml/2006/main" name="Suomirata Grid 16:9">
  <a:themeElements>
    <a:clrScheme name="Lentorata ppt värit 23">
      <a:dk1>
        <a:srgbClr val="000000"/>
      </a:dk1>
      <a:lt1>
        <a:srgbClr val="FFFFFF"/>
      </a:lt1>
      <a:dk2>
        <a:srgbClr val="0033CC"/>
      </a:dk2>
      <a:lt2>
        <a:srgbClr val="F2F2F2"/>
      </a:lt2>
      <a:accent1>
        <a:srgbClr val="00124C"/>
      </a:accent1>
      <a:accent2>
        <a:srgbClr val="00228E"/>
      </a:accent2>
      <a:accent3>
        <a:srgbClr val="10A1D8"/>
      </a:accent3>
      <a:accent4>
        <a:srgbClr val="9999FF"/>
      </a:accent4>
      <a:accent5>
        <a:srgbClr val="33CCCC"/>
      </a:accent5>
      <a:accent6>
        <a:srgbClr val="FF5712"/>
      </a:accent6>
      <a:hlink>
        <a:srgbClr val="00218E"/>
      </a:hlink>
      <a:folHlink>
        <a:srgbClr val="10A0D7"/>
      </a:folHlink>
    </a:clrScheme>
    <a:fontScheme name="Custom 6">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Asiakirja" ma:contentTypeID="0x0101002A6D465AD9AFF04E88CD995E6F7C2D1D" ma:contentTypeVersion="0" ma:contentTypeDescription="Luo uusi asiakirja." ma:contentTypeScope="" ma:versionID="6ae347d19f42ea605fa0ad264a91d12e">
  <xsd:schema xmlns:xsd="http://www.w3.org/2001/XMLSchema" xmlns:xs="http://www.w3.org/2001/XMLSchema" xmlns:p="http://schemas.microsoft.com/office/2006/metadata/properties" targetNamespace="http://schemas.microsoft.com/office/2006/metadata/properties" ma:root="true" ma:fieldsID="791b1d96e1b89a79bf338ceec24a3b0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F3B4216-3AFE-44AB-B6FF-BE82B8936C4B}">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dcmitype/"/>
    <ds:schemaRef ds:uri="http://purl.org/dc/term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78251365-DB2A-4D77-9131-896A48F37894}">
  <ds:schemaRefs>
    <ds:schemaRef ds:uri="http://schemas.microsoft.com/sharepoint/v3/contenttype/forms"/>
  </ds:schemaRefs>
</ds:datastoreItem>
</file>

<file path=customXml/itemProps3.xml><?xml version="1.0" encoding="utf-8"?>
<ds:datastoreItem xmlns:ds="http://schemas.openxmlformats.org/officeDocument/2006/customXml" ds:itemID="{7D6813FB-397F-4DDF-95B5-517E274A35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Vantaa uusi pohja</Template>
  <TotalTime>5915</TotalTime>
  <Words>2452</Words>
  <Application>Microsoft Office PowerPoint</Application>
  <PresentationFormat>Laajakuva</PresentationFormat>
  <Paragraphs>454</Paragraphs>
  <Slides>48</Slides>
  <Notes>6</Notes>
  <HiddenSlides>0</HiddenSlides>
  <MMClips>0</MMClips>
  <ScaleCrop>false</ScaleCrop>
  <HeadingPairs>
    <vt:vector size="8" baseType="variant">
      <vt:variant>
        <vt:lpstr>Käytetyt fontit</vt:lpstr>
      </vt:variant>
      <vt:variant>
        <vt:i4>10</vt:i4>
      </vt:variant>
      <vt:variant>
        <vt:lpstr>Teema</vt:lpstr>
      </vt:variant>
      <vt:variant>
        <vt:i4>3</vt:i4>
      </vt:variant>
      <vt:variant>
        <vt:lpstr>Upotetut OLE-palvelimet</vt:lpstr>
      </vt:variant>
      <vt:variant>
        <vt:i4>1</vt:i4>
      </vt:variant>
      <vt:variant>
        <vt:lpstr>Dian otsikot</vt:lpstr>
      </vt:variant>
      <vt:variant>
        <vt:i4>48</vt:i4>
      </vt:variant>
    </vt:vector>
  </HeadingPairs>
  <TitlesOfParts>
    <vt:vector size="62" baseType="lpstr">
      <vt:lpstr>Arial</vt:lpstr>
      <vt:lpstr>Arial Black</vt:lpstr>
      <vt:lpstr>Calibri</vt:lpstr>
      <vt:lpstr>Calibri Light</vt:lpstr>
      <vt:lpstr>Gilroy</vt:lpstr>
      <vt:lpstr>Gilroy ExtraBold</vt:lpstr>
      <vt:lpstr>Poppins</vt:lpstr>
      <vt:lpstr>Trebuchet MS</vt:lpstr>
      <vt:lpstr>Verdana</vt:lpstr>
      <vt:lpstr>Wingdings</vt:lpstr>
      <vt:lpstr>Vantaa uusi pohja</vt:lpstr>
      <vt:lpstr>1_Suomirata Grid 16:9</vt:lpstr>
      <vt:lpstr>Suomirata Grid 16:9</vt:lpstr>
      <vt:lpstr>think-cell Slide</vt:lpstr>
      <vt:lpstr>Kaavoituksen asukastilaisuus</vt:lpstr>
      <vt:lpstr>Illan ohjelma</vt:lpstr>
      <vt:lpstr>Korson raidehankkeiden vaiheyleiskaava YK0056</vt:lpstr>
      <vt:lpstr>Korson raidehankkeiden vaihe-yleiskaava YK0056</vt:lpstr>
      <vt:lpstr>Vaiheyleiskaavan aikataulu</vt:lpstr>
      <vt:lpstr>Maakuntakaava</vt:lpstr>
      <vt:lpstr>VISIO-vaihemaakuntakaava</vt:lpstr>
      <vt:lpstr>Vaiheyleiskaavan sisältö ja tavoitteet</vt:lpstr>
      <vt:lpstr>Ote yleiskaavasta Aviapoliksen alueella</vt:lpstr>
      <vt:lpstr>Yleiskaava ja yleissuunnitelma</vt:lpstr>
      <vt:lpstr>Rakennuskielto</vt:lpstr>
      <vt:lpstr>Työryhmä  Juha Nurmi Yleiskaavapäällikkö  Anna-Mari Kangas Yleiskaavasuunnittelija  Eeva Juusela Kaavatekninen koordinaattori  Joonas Stenroth Liikenneinsinööri</vt:lpstr>
      <vt:lpstr>Lentorata osa 2 002653</vt:lpstr>
      <vt:lpstr>Alustavat kuilualueet</vt:lpstr>
      <vt:lpstr>PowerPoint-esitys</vt:lpstr>
      <vt:lpstr>PowerPoint-esitys</vt:lpstr>
      <vt:lpstr>PowerPoint-esitys</vt:lpstr>
      <vt:lpstr>PowerPoint-esitys</vt:lpstr>
      <vt:lpstr>PowerPoint-esitys</vt:lpstr>
      <vt:lpstr>PowerPoint-esitys</vt:lpstr>
      <vt:lpstr>PowerPoint-esitys</vt:lpstr>
      <vt:lpstr>PowerPoint-esitys</vt:lpstr>
      <vt:lpstr> Lentorata –  suunnittelu etenee</vt:lpstr>
      <vt:lpstr>Lentorata Oy</vt:lpstr>
      <vt:lpstr>Hankkeen tavoitteet </vt:lpstr>
      <vt:lpstr>Lentorata lyhyesti</vt:lpstr>
      <vt:lpstr>PowerPoint-esitys</vt:lpstr>
      <vt:lpstr>Yleissuunnitelman nähtäville asettaminen ja hyväksymismenettely</vt:lpstr>
      <vt:lpstr>Ratasuunnitelman lähtökohdat</vt:lpstr>
      <vt:lpstr>Ympäristövaikutusten arviointi yleissuunnitelmassa</vt:lpstr>
      <vt:lpstr>Matkustajamääräennusteet</vt:lpstr>
      <vt:lpstr>Rata tunnelissa</vt:lpstr>
      <vt:lpstr>Lentoradan asema</vt:lpstr>
      <vt:lpstr>Tunneliosuuden maanpintarakenteet: kuilut </vt:lpstr>
      <vt:lpstr>PowerPoint-esitys</vt:lpstr>
      <vt:lpstr>Kuilut ja ajotunnelit</vt:lpstr>
      <vt:lpstr>Kalliotunnelin rakentaminen</vt:lpstr>
      <vt:lpstr>Maalämpökaivot</vt:lpstr>
      <vt:lpstr>Runkomelu</vt:lpstr>
      <vt:lpstr>Runkomelu ja tärinä ilmiönä</vt:lpstr>
      <vt:lpstr>Runkomelu, ohjearvot ja äänenpainetasot </vt:lpstr>
      <vt:lpstr>Lentoradan yleissuunnitelman tärinä- ja runkomeluselvitys</vt:lpstr>
      <vt:lpstr>Esimerkkikartta</vt:lpstr>
      <vt:lpstr>Kiitos!</vt:lpstr>
      <vt:lpstr>Kaavahankkeiden aikataulut</vt:lpstr>
      <vt:lpstr>Seuraavat vaiheet</vt:lpstr>
      <vt:lpstr>PowerPoint-esitys</vt:lpstr>
      <vt:lpstr>Kiito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ngas Anna-Mari</dc:creator>
  <cp:lastModifiedBy>Kangas Anna-Mari</cp:lastModifiedBy>
  <cp:revision>95</cp:revision>
  <cp:lastPrinted>2018-05-09T08:07:56Z</cp:lastPrinted>
  <dcterms:created xsi:type="dcterms:W3CDTF">2025-09-22T09:17:51Z</dcterms:created>
  <dcterms:modified xsi:type="dcterms:W3CDTF">2026-05-21T05:5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6D465AD9AFF04E88CD995E6F7C2D1D</vt:lpwstr>
  </property>
</Properties>
</file>